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4" r:id="rId4"/>
    <p:sldMasterId id="2147484423" r:id="rId5"/>
  </p:sldMasterIdLst>
  <p:notesMasterIdLst>
    <p:notesMasterId r:id="rId19"/>
  </p:notesMasterIdLst>
  <p:handoutMasterIdLst>
    <p:handoutMasterId r:id="rId20"/>
  </p:handoutMasterIdLst>
  <p:sldIdLst>
    <p:sldId id="635" r:id="rId6"/>
    <p:sldId id="716" r:id="rId7"/>
    <p:sldId id="717" r:id="rId8"/>
    <p:sldId id="711" r:id="rId9"/>
    <p:sldId id="710" r:id="rId10"/>
    <p:sldId id="708" r:id="rId11"/>
    <p:sldId id="707" r:id="rId12"/>
    <p:sldId id="714" r:id="rId13"/>
    <p:sldId id="712" r:id="rId14"/>
    <p:sldId id="713" r:id="rId15"/>
    <p:sldId id="715" r:id="rId16"/>
    <p:sldId id="718" r:id="rId17"/>
    <p:sldId id="703" r:id="rId18"/>
  </p:sldIdLst>
  <p:sldSz cx="9144000" cy="5143500" type="screen16x9"/>
  <p:notesSz cx="6858000" cy="9144000"/>
  <p:custDataLst>
    <p:tags r:id="rId21"/>
  </p:custData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Paillacar Oyarzo Paulo Ignacio (Codelco-Casa Matriz)" initials="PM" lastIdx="1" clrIdx="6">
    <p:extLst>
      <p:ext uri="{19B8F6BF-5375-455C-9EA6-DF929625EA0E}">
        <p15:presenceInfo xmlns:p15="http://schemas.microsoft.com/office/powerpoint/2012/main" userId="S::ppail001@codelco.cl::3f9c4ec0-dfff-4bc5-ba03-192dd672e537" providerId="AD"/>
      </p:ext>
    </p:extLst>
  </p:cmAuthor>
  <p:cmAuthor id="1" name="Mery Carrasco Mauricio (Codelco-Casa Matriz)" initials="MM" lastIdx="50" clrIdx="0">
    <p:extLst>
      <p:ext uri="{19B8F6BF-5375-455C-9EA6-DF929625EA0E}">
        <p15:presenceInfo xmlns:p15="http://schemas.microsoft.com/office/powerpoint/2012/main" userId="S::mmery004@codelco.cl::a0378191-74de-4d59-9b37-aa421303daba" providerId="AD"/>
      </p:ext>
    </p:extLst>
  </p:cmAuthor>
  <p:cmAuthor id="8" name="Herrera Bustamante Cristian (Codelco-Casa Matriz)" initials="HM" lastIdx="1" clrIdx="7">
    <p:extLst>
      <p:ext uri="{19B8F6BF-5375-455C-9EA6-DF929625EA0E}">
        <p15:presenceInfo xmlns:p15="http://schemas.microsoft.com/office/powerpoint/2012/main" userId="S::cherr058@codelco.cl::2c6d9cd6-c296-4612-8f6b-c05dbcd0c76b" providerId="AD"/>
      </p:ext>
    </p:extLst>
  </p:cmAuthor>
  <p:cmAuthor id="2" name="Angelucci  Leonardo (Codelco-Casa Matriz)" initials="AM" lastIdx="1" clrIdx="1">
    <p:extLst>
      <p:ext uri="{19B8F6BF-5375-455C-9EA6-DF929625EA0E}">
        <p15:presenceInfo xmlns:p15="http://schemas.microsoft.com/office/powerpoint/2012/main" userId="S::lange007@codelco.cl::67910a7c-3553-4984-b4fd-9871197fd3b8" providerId="AD"/>
      </p:ext>
    </p:extLst>
  </p:cmAuthor>
  <p:cmAuthor id="9" name="Quinteros Neira Maria (Codelco-Casa Matriz)" initials="QM" lastIdx="3" clrIdx="8">
    <p:extLst>
      <p:ext uri="{19B8F6BF-5375-455C-9EA6-DF929625EA0E}">
        <p15:presenceInfo xmlns:p15="http://schemas.microsoft.com/office/powerpoint/2012/main" userId="S::mquin014@codelco.cl::a4ae7fe5-426e-44eb-a852-ef946c9bccc2" providerId="AD"/>
      </p:ext>
    </p:extLst>
  </p:cmAuthor>
  <p:cmAuthor id="3" name="Angelucci  Leonardo (Codelco-Casa Matriz)" initials="AL(M" lastIdx="1" clrIdx="2">
    <p:extLst>
      <p:ext uri="{19B8F6BF-5375-455C-9EA6-DF929625EA0E}">
        <p15:presenceInfo xmlns:p15="http://schemas.microsoft.com/office/powerpoint/2012/main" userId="Angelucci  Leonardo (Codelco-Casa Matriz)" providerId="None"/>
      </p:ext>
    </p:extLst>
  </p:cmAuthor>
  <p:cmAuthor id="10" name="Carrillo Rojas Daniela (Codelco-Chuquicamata)" initials="CRD(" lastIdx="5" clrIdx="9">
    <p:extLst>
      <p:ext uri="{19B8F6BF-5375-455C-9EA6-DF929625EA0E}">
        <p15:presenceInfo xmlns:p15="http://schemas.microsoft.com/office/powerpoint/2012/main" userId="S-1-5-21-1721241593-170228758-6498272-210703" providerId="AD"/>
      </p:ext>
    </p:extLst>
  </p:cmAuthor>
  <p:cmAuthor id="4" name="Valdes Yevenes Manuel (Codelco-Casa Matriz)" initials="VM" lastIdx="2" clrIdx="3">
    <p:extLst>
      <p:ext uri="{19B8F6BF-5375-455C-9EA6-DF929625EA0E}">
        <p15:presenceInfo xmlns:p15="http://schemas.microsoft.com/office/powerpoint/2012/main" userId="S::mvald041@codelco.cl::9597302f-8680-41d2-bf87-3871ce028aea" providerId="AD"/>
      </p:ext>
    </p:extLst>
  </p:cmAuthor>
  <p:cmAuthor id="11" name="Gajardo Cea Gabriel (Codelco-Casa Matriz)" initials="GCG(M" lastIdx="2" clrIdx="10">
    <p:extLst>
      <p:ext uri="{19B8F6BF-5375-455C-9EA6-DF929625EA0E}">
        <p15:presenceInfo xmlns:p15="http://schemas.microsoft.com/office/powerpoint/2012/main" userId="S-1-5-21-1721241593-170228758-6498272-215760" providerId="AD"/>
      </p:ext>
    </p:extLst>
  </p:cmAuthor>
  <p:cmAuthor id="5" name="Carrillo Rojas Daniela (Codelco-Chuquicamata)" initials="C(" lastIdx="1" clrIdx="4">
    <p:extLst>
      <p:ext uri="{19B8F6BF-5375-455C-9EA6-DF929625EA0E}">
        <p15:presenceInfo xmlns:p15="http://schemas.microsoft.com/office/powerpoint/2012/main" userId="S::dcarr014@codelco.cl::b6c6fc0c-fc39-4bf0-8e9d-fb82d681f847" providerId="AD"/>
      </p:ext>
    </p:extLst>
  </p:cmAuthor>
  <p:cmAuthor id="6" name="Quezada Castaneda Rene (Codelco-Chuquicamata)" initials="Q(" lastIdx="1" clrIdx="5">
    <p:extLst>
      <p:ext uri="{19B8F6BF-5375-455C-9EA6-DF929625EA0E}">
        <p15:presenceInfo xmlns:p15="http://schemas.microsoft.com/office/powerpoint/2012/main" userId="S::fquez002@codelco.cl::ef8fb00d-8882-4f44-b64d-1ed74a0273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5300"/>
    <a:srgbClr val="0098AA"/>
    <a:srgbClr val="FF872B"/>
    <a:srgbClr val="F2F2F2"/>
    <a:srgbClr val="008998"/>
    <a:srgbClr val="34B2E3"/>
    <a:srgbClr val="20A5B5"/>
    <a:srgbClr val="065280"/>
    <a:srgbClr val="8C103D"/>
    <a:srgbClr val="FFE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67C880-AF40-4BF7-A0EA-80088A2F7ABC}" v="33" dt="2023-11-07T14:48:39.87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Énfasis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3786" autoAdjust="0"/>
  </p:normalViewPr>
  <p:slideViewPr>
    <p:cSldViewPr snapToGrid="0">
      <p:cViewPr varScale="1">
        <p:scale>
          <a:sx n="88" d="100"/>
          <a:sy n="88" d="100"/>
        </p:scale>
        <p:origin x="688" y="6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ry Carrasco Mauricio (Codelco-Casa Matriz)" userId="S::mmery004@codelco.cl::a0378191-74de-4d59-9b37-aa421303daba" providerId="AD" clId="Web-{C2BBCD49-58EA-ADF3-1D6B-465138A0F7DF}"/>
    <pc:docChg chg="modSld">
      <pc:chgData name="Mery Carrasco Mauricio (Codelco-Casa Matriz)" userId="S::mmery004@codelco.cl::a0378191-74de-4d59-9b37-aa421303daba" providerId="AD" clId="Web-{C2BBCD49-58EA-ADF3-1D6B-465138A0F7DF}" dt="2020-11-05T12:44:01.773" v="19" actId="20577"/>
      <pc:docMkLst>
        <pc:docMk/>
      </pc:docMkLst>
      <pc:sldChg chg="modSp">
        <pc:chgData name="Mery Carrasco Mauricio (Codelco-Casa Matriz)" userId="S::mmery004@codelco.cl::a0378191-74de-4d59-9b37-aa421303daba" providerId="AD" clId="Web-{C2BBCD49-58EA-ADF3-1D6B-465138A0F7DF}" dt="2020-11-05T12:44:01.773" v="19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C2BBCD49-58EA-ADF3-1D6B-465138A0F7DF}" dt="2020-11-05T12:44:01.773" v="19" actId="20577"/>
          <ac:spMkLst>
            <pc:docMk/>
            <pc:sldMk cId="1259302253" sldId="353"/>
            <ac:spMk id="11" creationId="{DB92C4CF-7AC4-4BFA-9A29-156AEC1C5231}"/>
          </ac:spMkLst>
        </pc:spChg>
      </pc:sldChg>
    </pc:docChg>
  </pc:docChgLst>
  <pc:docChgLst>
    <pc:chgData name="Sepulveda Masferrer Ivan (Codelco-Casa Matriz)" userId="S::isepu004@codelco.cl::f0567dff-420e-4d09-834c-804720bcdca6" providerId="AD" clId="Web-{8E2132DD-1A75-EDD5-D120-B59FBE456614}"/>
    <pc:docChg chg="addSld delSld modSld sldOrd">
      <pc:chgData name="Sepulveda Masferrer Ivan (Codelco-Casa Matriz)" userId="S::isepu004@codelco.cl::f0567dff-420e-4d09-834c-804720bcdca6" providerId="AD" clId="Web-{8E2132DD-1A75-EDD5-D120-B59FBE456614}" dt="2022-04-13T20:19:04.584" v="283" actId="1076"/>
      <pc:docMkLst>
        <pc:docMk/>
      </pc:docMkLst>
      <pc:sldChg chg="addSp delSp modSp">
        <pc:chgData name="Sepulveda Masferrer Ivan (Codelco-Casa Matriz)" userId="S::isepu004@codelco.cl::f0567dff-420e-4d09-834c-804720bcdca6" providerId="AD" clId="Web-{8E2132DD-1A75-EDD5-D120-B59FBE456614}" dt="2022-04-13T19:18:13.227" v="21"/>
        <pc:sldMkLst>
          <pc:docMk/>
          <pc:sldMk cId="2220647586" sldId="637"/>
        </pc:sldMkLst>
        <pc:spChg chg="mod">
          <ac:chgData name="Sepulveda Masferrer Ivan (Codelco-Casa Matriz)" userId="S::isepu004@codelco.cl::f0567dff-420e-4d09-834c-804720bcdca6" providerId="AD" clId="Web-{8E2132DD-1A75-EDD5-D120-B59FBE456614}" dt="2022-04-13T19:05:47.276" v="0" actId="20577"/>
          <ac:spMkLst>
            <pc:docMk/>
            <pc:sldMk cId="2220647586" sldId="637"/>
            <ac:spMk id="24" creationId="{EBECBFD3-16AD-070E-F19D-7E5ED4D06D38}"/>
          </ac:spMkLst>
        </pc:spChg>
        <pc:picChg chg="add mod">
          <ac:chgData name="Sepulveda Masferrer Ivan (Codelco-Casa Matriz)" userId="S::isepu004@codelco.cl::f0567dff-420e-4d09-834c-804720bcdca6" providerId="AD" clId="Web-{8E2132DD-1A75-EDD5-D120-B59FBE456614}" dt="2022-04-13T19:09:35.624" v="4" actId="1076"/>
          <ac:picMkLst>
            <pc:docMk/>
            <pc:sldMk cId="2220647586" sldId="637"/>
            <ac:picMk id="3" creationId="{FFBB0B9D-C237-3608-8B3C-A311C4BFCAB6}"/>
          </ac:picMkLst>
        </pc:picChg>
        <pc:picChg chg="add del mod">
          <ac:chgData name="Sepulveda Masferrer Ivan (Codelco-Casa Matriz)" userId="S::isepu004@codelco.cl::f0567dff-420e-4d09-834c-804720bcdca6" providerId="AD" clId="Web-{8E2132DD-1A75-EDD5-D120-B59FBE456614}" dt="2022-04-13T19:18:13.227" v="21"/>
          <ac:picMkLst>
            <pc:docMk/>
            <pc:sldMk cId="2220647586" sldId="637"/>
            <ac:picMk id="4" creationId="{A7BBA3B6-2859-43EE-A9F1-006C2B35E98D}"/>
          </ac:picMkLst>
        </pc:picChg>
        <pc:picChg chg="mod">
          <ac:chgData name="Sepulveda Masferrer Ivan (Codelco-Casa Matriz)" userId="S::isepu004@codelco.cl::f0567dff-420e-4d09-834c-804720bcdca6" providerId="AD" clId="Web-{8E2132DD-1A75-EDD5-D120-B59FBE456614}" dt="2022-04-13T19:11:12.579" v="5" actId="14100"/>
          <ac:picMkLst>
            <pc:docMk/>
            <pc:sldMk cId="2220647586" sldId="637"/>
            <ac:picMk id="7" creationId="{A2D0C66A-AD93-4738-A9D4-F19F958A642A}"/>
          </ac:picMkLst>
        </pc:picChg>
        <pc:picChg chg="del">
          <ac:chgData name="Sepulveda Masferrer Ivan (Codelco-Casa Matriz)" userId="S::isepu004@codelco.cl::f0567dff-420e-4d09-834c-804720bcdca6" providerId="AD" clId="Web-{8E2132DD-1A75-EDD5-D120-B59FBE456614}" dt="2022-04-13T19:08:41.294" v="1"/>
          <ac:picMkLst>
            <pc:docMk/>
            <pc:sldMk cId="2220647586" sldId="637"/>
            <ac:picMk id="21" creationId="{1886360C-1E51-A029-6C83-746F5845AE80}"/>
          </ac:picMkLst>
        </pc:picChg>
      </pc:sldChg>
      <pc:sldChg chg="addSp delSp modSp">
        <pc:chgData name="Sepulveda Masferrer Ivan (Codelco-Casa Matriz)" userId="S::isepu004@codelco.cl::f0567dff-420e-4d09-834c-804720bcdca6" providerId="AD" clId="Web-{8E2132DD-1A75-EDD5-D120-B59FBE456614}" dt="2022-04-13T20:19:04.584" v="283" actId="1076"/>
        <pc:sldMkLst>
          <pc:docMk/>
          <pc:sldMk cId="417169339" sldId="658"/>
        </pc:sldMkLst>
        <pc:spChg chg="mod">
          <ac:chgData name="Sepulveda Masferrer Ivan (Codelco-Casa Matriz)" userId="S::isepu004@codelco.cl::f0567dff-420e-4d09-834c-804720bcdca6" providerId="AD" clId="Web-{8E2132DD-1A75-EDD5-D120-B59FBE456614}" dt="2022-04-13T20:19:00.709" v="282" actId="14100"/>
          <ac:spMkLst>
            <pc:docMk/>
            <pc:sldMk cId="417169339" sldId="658"/>
            <ac:spMk id="3" creationId="{00000000-0000-0000-0000-000000000000}"/>
          </ac:spMkLst>
        </pc:spChg>
        <pc:picChg chg="add del mod">
          <ac:chgData name="Sepulveda Masferrer Ivan (Codelco-Casa Matriz)" userId="S::isepu004@codelco.cl::f0567dff-420e-4d09-834c-804720bcdca6" providerId="AD" clId="Web-{8E2132DD-1A75-EDD5-D120-B59FBE456614}" dt="2022-04-13T20:02:29.445" v="44"/>
          <ac:picMkLst>
            <pc:docMk/>
            <pc:sldMk cId="417169339" sldId="658"/>
            <ac:picMk id="4" creationId="{11378E22-1D92-07B9-4ABF-85F0738B6713}"/>
          </ac:picMkLst>
        </pc:picChg>
        <pc:picChg chg="add mod">
          <ac:chgData name="Sepulveda Masferrer Ivan (Codelco-Casa Matriz)" userId="S::isepu004@codelco.cl::f0567dff-420e-4d09-834c-804720bcdca6" providerId="AD" clId="Web-{8E2132DD-1A75-EDD5-D120-B59FBE456614}" dt="2022-04-13T20:19:04.584" v="283" actId="1076"/>
          <ac:picMkLst>
            <pc:docMk/>
            <pc:sldMk cId="417169339" sldId="658"/>
            <ac:picMk id="6" creationId="{D329EE78-6BB3-8110-0F2A-CC3F8F09DB51}"/>
          </ac:picMkLst>
        </pc:picChg>
      </pc:sldChg>
      <pc:sldChg chg="modSp">
        <pc:chgData name="Sepulveda Masferrer Ivan (Codelco-Casa Matriz)" userId="S::isepu004@codelco.cl::f0567dff-420e-4d09-834c-804720bcdca6" providerId="AD" clId="Web-{8E2132DD-1A75-EDD5-D120-B59FBE456614}" dt="2022-04-13T19:33:05.103" v="38" actId="1076"/>
        <pc:sldMkLst>
          <pc:docMk/>
          <pc:sldMk cId="2742973127" sldId="662"/>
        </pc:sldMkLst>
        <pc:spChg chg="mod">
          <ac:chgData name="Sepulveda Masferrer Ivan (Codelco-Casa Matriz)" userId="S::isepu004@codelco.cl::f0567dff-420e-4d09-834c-804720bcdca6" providerId="AD" clId="Web-{8E2132DD-1A75-EDD5-D120-B59FBE456614}" dt="2022-04-13T19:33:04.994" v="37" actId="20577"/>
          <ac:spMkLst>
            <pc:docMk/>
            <pc:sldMk cId="2742973127" sldId="662"/>
            <ac:spMk id="4" creationId="{00000000-0000-0000-0000-000000000000}"/>
          </ac:spMkLst>
        </pc:spChg>
        <pc:spChg chg="mod">
          <ac:chgData name="Sepulveda Masferrer Ivan (Codelco-Casa Matriz)" userId="S::isepu004@codelco.cl::f0567dff-420e-4d09-834c-804720bcdca6" providerId="AD" clId="Web-{8E2132DD-1A75-EDD5-D120-B59FBE456614}" dt="2022-04-13T19:33:05.103" v="38" actId="1076"/>
          <ac:spMkLst>
            <pc:docMk/>
            <pc:sldMk cId="2742973127" sldId="662"/>
            <ac:spMk id="9" creationId="{00000000-0000-0000-0000-000000000000}"/>
          </ac:spMkLst>
        </pc:spChg>
      </pc:sldChg>
      <pc:sldChg chg="addSp delSp modSp del ord">
        <pc:chgData name="Sepulveda Masferrer Ivan (Codelco-Casa Matriz)" userId="S::isepu004@codelco.cl::f0567dff-420e-4d09-834c-804720bcdca6" providerId="AD" clId="Web-{8E2132DD-1A75-EDD5-D120-B59FBE456614}" dt="2022-04-13T19:15:26.880" v="17"/>
        <pc:sldMkLst>
          <pc:docMk/>
          <pc:sldMk cId="2373420957" sldId="668"/>
        </pc:sldMkLst>
        <pc:spChg chg="del">
          <ac:chgData name="Sepulveda Masferrer Ivan (Codelco-Casa Matriz)" userId="S::isepu004@codelco.cl::f0567dff-420e-4d09-834c-804720bcdca6" providerId="AD" clId="Web-{8E2132DD-1A75-EDD5-D120-B59FBE456614}" dt="2022-04-13T19:15:26.193" v="11"/>
          <ac:spMkLst>
            <pc:docMk/>
            <pc:sldMk cId="2373420957" sldId="668"/>
            <ac:spMk id="2" creationId="{A8B5192C-B622-3D53-58FB-7FD656A47961}"/>
          </ac:spMkLst>
        </pc:spChg>
        <pc:spChg chg="del">
          <ac:chgData name="Sepulveda Masferrer Ivan (Codelco-Casa Matriz)" userId="S::isepu004@codelco.cl::f0567dff-420e-4d09-834c-804720bcdca6" providerId="AD" clId="Web-{8E2132DD-1A75-EDD5-D120-B59FBE456614}" dt="2022-04-13T19:15:26.177" v="10"/>
          <ac:spMkLst>
            <pc:docMk/>
            <pc:sldMk cId="2373420957" sldId="668"/>
            <ac:spMk id="3" creationId="{C893588A-8CEC-7217-7522-2FF3F4729551}"/>
          </ac:spMkLst>
        </pc:spChg>
        <pc:spChg chg="del">
          <ac:chgData name="Sepulveda Masferrer Ivan (Codelco-Casa Matriz)" userId="S::isepu004@codelco.cl::f0567dff-420e-4d09-834c-804720bcdca6" providerId="AD" clId="Web-{8E2132DD-1A75-EDD5-D120-B59FBE456614}" dt="2022-04-13T19:15:26.271" v="12"/>
          <ac:spMkLst>
            <pc:docMk/>
            <pc:sldMk cId="2373420957" sldId="668"/>
            <ac:spMk id="4" creationId="{5E713F1A-14E8-333C-B6EA-7B70932A5B49}"/>
          </ac:spMkLst>
        </pc:spChg>
        <pc:picChg chg="add del mod">
          <ac:chgData name="Sepulveda Masferrer Ivan (Codelco-Casa Matriz)" userId="S::isepu004@codelco.cl::f0567dff-420e-4d09-834c-804720bcdca6" providerId="AD" clId="Web-{8E2132DD-1A75-EDD5-D120-B59FBE456614}" dt="2022-04-13T19:15:26.849" v="16"/>
          <ac:picMkLst>
            <pc:docMk/>
            <pc:sldMk cId="2373420957" sldId="668"/>
            <ac:picMk id="6" creationId="{604D9240-CB4F-E06D-56BB-8BBEE9195186}"/>
          </ac:picMkLst>
        </pc:picChg>
      </pc:sldChg>
      <pc:sldChg chg="add del replId">
        <pc:chgData name="Sepulveda Masferrer Ivan (Codelco-Casa Matriz)" userId="S::isepu004@codelco.cl::f0567dff-420e-4d09-834c-804720bcdca6" providerId="AD" clId="Web-{8E2132DD-1A75-EDD5-D120-B59FBE456614}" dt="2022-04-13T19:19:25.947" v="28"/>
        <pc:sldMkLst>
          <pc:docMk/>
          <pc:sldMk cId="3653129117" sldId="669"/>
        </pc:sldMkLst>
      </pc:sldChg>
      <pc:sldChg chg="delSp modSp add del replId">
        <pc:chgData name="Sepulveda Masferrer Ivan (Codelco-Casa Matriz)" userId="S::isepu004@codelco.cl::f0567dff-420e-4d09-834c-804720bcdca6" providerId="AD" clId="Web-{8E2132DD-1A75-EDD5-D120-B59FBE456614}" dt="2022-04-13T19:19:02.806" v="27"/>
        <pc:sldMkLst>
          <pc:docMk/>
          <pc:sldMk cId="541179628" sldId="670"/>
        </pc:sldMkLst>
        <pc:picChg chg="mod">
          <ac:chgData name="Sepulveda Masferrer Ivan (Codelco-Casa Matriz)" userId="S::isepu004@codelco.cl::f0567dff-420e-4d09-834c-804720bcdca6" providerId="AD" clId="Web-{8E2132DD-1A75-EDD5-D120-B59FBE456614}" dt="2022-04-13T19:19:02.588" v="24" actId="1076"/>
          <ac:picMkLst>
            <pc:docMk/>
            <pc:sldMk cId="541179628" sldId="670"/>
            <ac:picMk id="3" creationId="{FFBB0B9D-C237-3608-8B3C-A311C4BFCAB6}"/>
          </ac:picMkLst>
        </pc:picChg>
        <pc:picChg chg="mod">
          <ac:chgData name="Sepulveda Masferrer Ivan (Codelco-Casa Matriz)" userId="S::isepu004@codelco.cl::f0567dff-420e-4d09-834c-804720bcdca6" providerId="AD" clId="Web-{8E2132DD-1A75-EDD5-D120-B59FBE456614}" dt="2022-04-13T19:19:02.744" v="26" actId="14100"/>
          <ac:picMkLst>
            <pc:docMk/>
            <pc:sldMk cId="541179628" sldId="670"/>
            <ac:picMk id="4" creationId="{A7BBA3B6-2859-43EE-A9F1-006C2B35E98D}"/>
          </ac:picMkLst>
        </pc:picChg>
        <pc:picChg chg="del">
          <ac:chgData name="Sepulveda Masferrer Ivan (Codelco-Casa Matriz)" userId="S::isepu004@codelco.cl::f0567dff-420e-4d09-834c-804720bcdca6" providerId="AD" clId="Web-{8E2132DD-1A75-EDD5-D120-B59FBE456614}" dt="2022-04-13T19:18:29.399" v="22"/>
          <ac:picMkLst>
            <pc:docMk/>
            <pc:sldMk cId="541179628" sldId="670"/>
            <ac:picMk id="7" creationId="{A2D0C66A-AD93-4738-A9D4-F19F958A642A}"/>
          </ac:picMkLst>
        </pc:picChg>
      </pc:sldChg>
    </pc:docChg>
  </pc:docChgLst>
  <pc:docChgLst>
    <pc:chgData name="Allende Bustamante Jose (Codelco-Casa Matriz)" userId="S::jalle011@codelco.cl::54345eee-8770-43bf-b080-e3e333067d62" providerId="AD" clId="Web-{559D17D1-6A5A-1364-980C-13DA18A5F8D8}"/>
    <pc:docChg chg="addSld delSld modSld sldOrd addMainMaster modMainMaster">
      <pc:chgData name="Allende Bustamante Jose (Codelco-Casa Matriz)" userId="S::jalle011@codelco.cl::54345eee-8770-43bf-b080-e3e333067d62" providerId="AD" clId="Web-{559D17D1-6A5A-1364-980C-13DA18A5F8D8}" dt="2021-04-15T15:58:29.611" v="231" actId="1076"/>
      <pc:docMkLst>
        <pc:docMk/>
      </pc:docMkLst>
      <pc:sldChg chg="addSp modSp">
        <pc:chgData name="Allende Bustamante Jose (Codelco-Casa Matriz)" userId="S::jalle011@codelco.cl::54345eee-8770-43bf-b080-e3e333067d62" providerId="AD" clId="Web-{559D17D1-6A5A-1364-980C-13DA18A5F8D8}" dt="2021-04-15T15:50:50.019" v="49" actId="14100"/>
        <pc:sldMkLst>
          <pc:docMk/>
          <pc:sldMk cId="3216171305" sldId="458"/>
        </pc:sldMkLst>
        <pc:spChg chg="mod">
          <ac:chgData name="Allende Bustamante Jose (Codelco-Casa Matriz)" userId="S::jalle011@codelco.cl::54345eee-8770-43bf-b080-e3e333067d62" providerId="AD" clId="Web-{559D17D1-6A5A-1364-980C-13DA18A5F8D8}" dt="2021-04-15T15:47:01.255" v="18" actId="20577"/>
          <ac:spMkLst>
            <pc:docMk/>
            <pc:sldMk cId="3216171305" sldId="458"/>
            <ac:spMk id="145" creationId="{3F302836-4F68-4641-BD29-64B0A72CA38E}"/>
          </ac:spMkLst>
        </pc:spChg>
        <pc:picChg chg="add mod modCrop">
          <ac:chgData name="Allende Bustamante Jose (Codelco-Casa Matriz)" userId="S::jalle011@codelco.cl::54345eee-8770-43bf-b080-e3e333067d62" providerId="AD" clId="Web-{559D17D1-6A5A-1364-980C-13DA18A5F8D8}" dt="2021-04-15T15:50:50.019" v="49" actId="14100"/>
          <ac:picMkLst>
            <pc:docMk/>
            <pc:sldMk cId="3216171305" sldId="458"/>
            <ac:picMk id="2" creationId="{19EC7EFD-114F-4AE1-8A0D-2EE0E70E4F7D}"/>
          </ac:picMkLst>
        </pc:picChg>
      </pc:sldChg>
      <pc:sldChg chg="modSp">
        <pc:chgData name="Allende Bustamante Jose (Codelco-Casa Matriz)" userId="S::jalle011@codelco.cl::54345eee-8770-43bf-b080-e3e333067d62" providerId="AD" clId="Web-{559D17D1-6A5A-1364-980C-13DA18A5F8D8}" dt="2021-04-15T15:52:43.417" v="168" actId="20577"/>
        <pc:sldMkLst>
          <pc:docMk/>
          <pc:sldMk cId="2685714109" sldId="472"/>
        </pc:sldMkLst>
        <pc:spChg chg="mod">
          <ac:chgData name="Allende Bustamante Jose (Codelco-Casa Matriz)" userId="S::jalle011@codelco.cl::54345eee-8770-43bf-b080-e3e333067d62" providerId="AD" clId="Web-{559D17D1-6A5A-1364-980C-13DA18A5F8D8}" dt="2021-04-15T15:51:34.725" v="53"/>
          <ac:spMkLst>
            <pc:docMk/>
            <pc:sldMk cId="2685714109" sldId="472"/>
            <ac:spMk id="103" creationId="{5C577B30-F0E8-4BE8-AB4E-F37FAD45924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1:34.757" v="54"/>
          <ac:spMkLst>
            <pc:docMk/>
            <pc:sldMk cId="2685714109" sldId="472"/>
            <ac:spMk id="104" creationId="{58CB2160-5EFE-4B62-83A6-5BBDA04B0407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1:34.694" v="52"/>
          <ac:spMkLst>
            <pc:docMk/>
            <pc:sldMk cId="2685714109" sldId="472"/>
            <ac:spMk id="112" creationId="{3A7DFB67-84FF-452B-9A2B-E578657A2F21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743" v="111"/>
          <ac:spMkLst>
            <pc:docMk/>
            <pc:sldMk cId="2685714109" sldId="472"/>
            <ac:spMk id="140" creationId="{4CED734A-5C64-4BAA-B63E-F1CD3261C072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774" v="112"/>
          <ac:spMkLst>
            <pc:docMk/>
            <pc:sldMk cId="2685714109" sldId="472"/>
            <ac:spMk id="141" creationId="{32388CD8-92F0-434E-900C-1974270FABFD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805" v="113"/>
          <ac:spMkLst>
            <pc:docMk/>
            <pc:sldMk cId="2685714109" sldId="472"/>
            <ac:spMk id="142" creationId="{E74C3ABA-B4FB-4DCA-963F-CF90752954F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836" v="114"/>
          <ac:spMkLst>
            <pc:docMk/>
            <pc:sldMk cId="2685714109" sldId="472"/>
            <ac:spMk id="143" creationId="{F44B579C-2198-4D00-A487-6F0D5A2B763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852" v="115"/>
          <ac:spMkLst>
            <pc:docMk/>
            <pc:sldMk cId="2685714109" sldId="472"/>
            <ac:spMk id="144" creationId="{AC0DBF0D-8998-4905-B134-06E1B53B5185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1:24.147" v="51" actId="1076"/>
          <ac:spMkLst>
            <pc:docMk/>
            <pc:sldMk cId="2685714109" sldId="472"/>
            <ac:spMk id="145" creationId="{3F302836-4F68-4641-BD29-64B0A72CA38E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883" v="116"/>
          <ac:spMkLst>
            <pc:docMk/>
            <pc:sldMk cId="2685714109" sldId="472"/>
            <ac:spMk id="146" creationId="{1A89CECD-7531-463A-8626-C5A9253A658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915" v="117"/>
          <ac:spMkLst>
            <pc:docMk/>
            <pc:sldMk cId="2685714109" sldId="472"/>
            <ac:spMk id="147" creationId="{605BF9D0-45EB-4450-A11E-E386EE25D6ED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946" v="118"/>
          <ac:spMkLst>
            <pc:docMk/>
            <pc:sldMk cId="2685714109" sldId="472"/>
            <ac:spMk id="148" creationId="{C43B5A5A-2DF5-4D0E-BD70-96BA362CA45B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0.977" v="119"/>
          <ac:spMkLst>
            <pc:docMk/>
            <pc:sldMk cId="2685714109" sldId="472"/>
            <ac:spMk id="149" creationId="{ED266248-BABA-440D-B9CB-1613529BDBE9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008" v="120"/>
          <ac:spMkLst>
            <pc:docMk/>
            <pc:sldMk cId="2685714109" sldId="472"/>
            <ac:spMk id="150" creationId="{0C89EF60-29FA-4507-A412-57D533617F6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040" v="121"/>
          <ac:spMkLst>
            <pc:docMk/>
            <pc:sldMk cId="2685714109" sldId="472"/>
            <ac:spMk id="151" creationId="{5A6C62B6-FA3C-445E-B1F8-6A8CF5FA734B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071" v="122"/>
          <ac:spMkLst>
            <pc:docMk/>
            <pc:sldMk cId="2685714109" sldId="472"/>
            <ac:spMk id="152" creationId="{D3609B33-AECD-4DFE-80A3-93E03914C4D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23.072" v="167"/>
          <ac:spMkLst>
            <pc:docMk/>
            <pc:sldMk cId="2685714109" sldId="472"/>
            <ac:spMk id="153" creationId="{07EDEF4B-EC2B-4972-9485-560B7360EF72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118" v="124"/>
          <ac:spMkLst>
            <pc:docMk/>
            <pc:sldMk cId="2685714109" sldId="472"/>
            <ac:spMk id="154" creationId="{5AF06B3A-34EB-44E2-8548-A96973A0C82E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149" v="125"/>
          <ac:spMkLst>
            <pc:docMk/>
            <pc:sldMk cId="2685714109" sldId="472"/>
            <ac:spMk id="155" creationId="{26C24B27-C1CB-4E14-97A2-AE7E9CB022B2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180" v="126"/>
          <ac:spMkLst>
            <pc:docMk/>
            <pc:sldMk cId="2685714109" sldId="472"/>
            <ac:spMk id="156" creationId="{513B4761-E769-4E59-905B-30F7562D4596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211" v="127"/>
          <ac:spMkLst>
            <pc:docMk/>
            <pc:sldMk cId="2685714109" sldId="472"/>
            <ac:spMk id="165" creationId="{8A842FB8-4143-4172-8C00-B6094EF606A3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243" v="128"/>
          <ac:spMkLst>
            <pc:docMk/>
            <pc:sldMk cId="2685714109" sldId="472"/>
            <ac:spMk id="176" creationId="{A7F078C4-5C2A-4811-AFF5-E11EAF6FD439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274" v="129"/>
          <ac:spMkLst>
            <pc:docMk/>
            <pc:sldMk cId="2685714109" sldId="472"/>
            <ac:spMk id="177" creationId="{0F74F595-9399-42EF-BC8F-726297F8E667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305" v="130"/>
          <ac:spMkLst>
            <pc:docMk/>
            <pc:sldMk cId="2685714109" sldId="472"/>
            <ac:spMk id="178" creationId="{DBF57D64-8ED6-4401-8BA4-A7693A8D2B49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336" v="131"/>
          <ac:spMkLst>
            <pc:docMk/>
            <pc:sldMk cId="2685714109" sldId="472"/>
            <ac:spMk id="179" creationId="{BDE408AE-F0A6-4C9C-BA7B-A2B4640B0D15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368" v="132"/>
          <ac:spMkLst>
            <pc:docMk/>
            <pc:sldMk cId="2685714109" sldId="472"/>
            <ac:spMk id="180" creationId="{D7B8C9DB-91B8-4E90-B9D4-05FC1F5E58B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399" v="133"/>
          <ac:spMkLst>
            <pc:docMk/>
            <pc:sldMk cId="2685714109" sldId="472"/>
            <ac:spMk id="181" creationId="{86F694E2-3A7F-443D-8B62-DC5E1170B38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430" v="134"/>
          <ac:spMkLst>
            <pc:docMk/>
            <pc:sldMk cId="2685714109" sldId="472"/>
            <ac:spMk id="182" creationId="{D1119592-BDD1-4518-80E7-2241C8A72761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461" v="135"/>
          <ac:spMkLst>
            <pc:docMk/>
            <pc:sldMk cId="2685714109" sldId="472"/>
            <ac:spMk id="183" creationId="{BA7BF928-AE55-4E43-AEA8-BD8ED90022C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493" v="136"/>
          <ac:spMkLst>
            <pc:docMk/>
            <pc:sldMk cId="2685714109" sldId="472"/>
            <ac:spMk id="184" creationId="{1F09B35D-C30F-4A04-90F0-20DD87FC5F75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524" v="137"/>
          <ac:spMkLst>
            <pc:docMk/>
            <pc:sldMk cId="2685714109" sldId="472"/>
            <ac:spMk id="185" creationId="{4E3AE72A-4CAA-4D10-BA15-878F22581A3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555" v="138"/>
          <ac:spMkLst>
            <pc:docMk/>
            <pc:sldMk cId="2685714109" sldId="472"/>
            <ac:spMk id="186" creationId="{CFF9A0F2-B07F-4BEC-ADCD-1CF5A0C3B04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571" v="139"/>
          <ac:spMkLst>
            <pc:docMk/>
            <pc:sldMk cId="2685714109" sldId="472"/>
            <ac:spMk id="187" creationId="{B23854FF-7373-4B60-AE63-51A01FC1CF6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602" v="140"/>
          <ac:spMkLst>
            <pc:docMk/>
            <pc:sldMk cId="2685714109" sldId="472"/>
            <ac:spMk id="188" creationId="{2BA020F7-647F-4C8F-853D-929455E3E03D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633" v="141"/>
          <ac:spMkLst>
            <pc:docMk/>
            <pc:sldMk cId="2685714109" sldId="472"/>
            <ac:spMk id="189" creationId="{1FDD669C-316B-4302-8E3C-0C8FA806AF2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665" v="142"/>
          <ac:spMkLst>
            <pc:docMk/>
            <pc:sldMk cId="2685714109" sldId="472"/>
            <ac:spMk id="190" creationId="{89C50F79-4729-4656-850B-B52A0FF69611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696" v="143"/>
          <ac:spMkLst>
            <pc:docMk/>
            <pc:sldMk cId="2685714109" sldId="472"/>
            <ac:spMk id="191" creationId="{2AC8CDB2-4C72-4144-9DC4-B2940FBB2AF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711" v="144"/>
          <ac:spMkLst>
            <pc:docMk/>
            <pc:sldMk cId="2685714109" sldId="472"/>
            <ac:spMk id="192" creationId="{66DA191A-7C46-4735-A9C6-C517F0DFA385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743" v="145"/>
          <ac:spMkLst>
            <pc:docMk/>
            <pc:sldMk cId="2685714109" sldId="472"/>
            <ac:spMk id="193" creationId="{58A31D5D-37B8-450C-B1DB-F7009960E84A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774" v="146"/>
          <ac:spMkLst>
            <pc:docMk/>
            <pc:sldMk cId="2685714109" sldId="472"/>
            <ac:spMk id="194" creationId="{9EAD0CA1-0D2D-4C8C-A117-7010D93217B5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805" v="147"/>
          <ac:spMkLst>
            <pc:docMk/>
            <pc:sldMk cId="2685714109" sldId="472"/>
            <ac:spMk id="195" creationId="{587CD527-AFE9-4B6F-8D6F-947F989921B7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836" v="148"/>
          <ac:spMkLst>
            <pc:docMk/>
            <pc:sldMk cId="2685714109" sldId="472"/>
            <ac:spMk id="196" creationId="{348AF210-6A19-44EA-82A1-37000746BD82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852" v="149"/>
          <ac:spMkLst>
            <pc:docMk/>
            <pc:sldMk cId="2685714109" sldId="472"/>
            <ac:spMk id="197" creationId="{AF78D2C8-2382-4C29-B4E9-EA45955FC7F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883" v="150"/>
          <ac:spMkLst>
            <pc:docMk/>
            <pc:sldMk cId="2685714109" sldId="472"/>
            <ac:spMk id="198" creationId="{6689914A-6D03-47B7-AE25-39F6179844C9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43.417" v="168" actId="20577"/>
          <ac:spMkLst>
            <pc:docMk/>
            <pc:sldMk cId="2685714109" sldId="472"/>
            <ac:spMk id="199" creationId="{ED05B371-1F1D-4C17-85FE-3252B0B8FD2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946" v="152"/>
          <ac:spMkLst>
            <pc:docMk/>
            <pc:sldMk cId="2685714109" sldId="472"/>
            <ac:spMk id="200" creationId="{28BAD35F-28D3-46EB-88FB-B93CBE6059AE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961" v="153"/>
          <ac:spMkLst>
            <pc:docMk/>
            <pc:sldMk cId="2685714109" sldId="472"/>
            <ac:spMk id="201" creationId="{9AC79F9A-F251-4BCF-B4FC-894E3CAE3C24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1.993" v="154"/>
          <ac:spMkLst>
            <pc:docMk/>
            <pc:sldMk cId="2685714109" sldId="472"/>
            <ac:spMk id="202" creationId="{D190E6A1-7D5C-471C-8F05-38A0CF15179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024" v="155"/>
          <ac:spMkLst>
            <pc:docMk/>
            <pc:sldMk cId="2685714109" sldId="472"/>
            <ac:spMk id="203" creationId="{C609C557-B909-400B-BE4E-091C8880AA96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055" v="156"/>
          <ac:spMkLst>
            <pc:docMk/>
            <pc:sldMk cId="2685714109" sldId="472"/>
            <ac:spMk id="204" creationId="{F60CC067-6DED-4B40-880D-57E196FBCA7F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086" v="157"/>
          <ac:spMkLst>
            <pc:docMk/>
            <pc:sldMk cId="2685714109" sldId="472"/>
            <ac:spMk id="205" creationId="{6E7C46D9-0B7E-4902-988B-583AFF754CFE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102" v="158"/>
          <ac:spMkLst>
            <pc:docMk/>
            <pc:sldMk cId="2685714109" sldId="472"/>
            <ac:spMk id="206" creationId="{E4EBD3E0-690E-42B7-9C9B-EB41AF3B999A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133" v="159"/>
          <ac:spMkLst>
            <pc:docMk/>
            <pc:sldMk cId="2685714109" sldId="472"/>
            <ac:spMk id="207" creationId="{30D55D43-D970-4B46-8C45-AE771E1FE42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165" v="160"/>
          <ac:spMkLst>
            <pc:docMk/>
            <pc:sldMk cId="2685714109" sldId="472"/>
            <ac:spMk id="208" creationId="{8C8DCA50-1620-4317-99BA-BB5221C700A1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196" v="161"/>
          <ac:spMkLst>
            <pc:docMk/>
            <pc:sldMk cId="2685714109" sldId="472"/>
            <ac:spMk id="209" creationId="{D69C062E-9D91-4A5C-B67E-E0C287CCDCA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227" v="162"/>
          <ac:spMkLst>
            <pc:docMk/>
            <pc:sldMk cId="2685714109" sldId="472"/>
            <ac:spMk id="210" creationId="{5AF22FC7-C915-4AAE-8A73-5E5B5A20124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258" v="163"/>
          <ac:spMkLst>
            <pc:docMk/>
            <pc:sldMk cId="2685714109" sldId="472"/>
            <ac:spMk id="211" creationId="{18F3A9D0-64EC-427F-A314-33EC84853A1B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274" v="164"/>
          <ac:spMkLst>
            <pc:docMk/>
            <pc:sldMk cId="2685714109" sldId="472"/>
            <ac:spMk id="212" creationId="{008F7FAA-5E7A-4A2C-9DE2-0C5AF898132D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305" v="165"/>
          <ac:spMkLst>
            <pc:docMk/>
            <pc:sldMk cId="2685714109" sldId="472"/>
            <ac:spMk id="213" creationId="{DC179DB4-248D-4C1D-8D72-3530B415068C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2:02.337" v="166"/>
          <ac:spMkLst>
            <pc:docMk/>
            <pc:sldMk cId="2685714109" sldId="472"/>
            <ac:spMk id="214" creationId="{AF78D2C8-2382-4C29-B4E9-EA45955FC7FF}"/>
          </ac:spMkLst>
        </pc:spChg>
      </pc:sldChg>
      <pc:sldChg chg="del">
        <pc:chgData name="Allende Bustamante Jose (Codelco-Casa Matriz)" userId="S::jalle011@codelco.cl::54345eee-8770-43bf-b080-e3e333067d62" providerId="AD" clId="Web-{559D17D1-6A5A-1364-980C-13DA18A5F8D8}" dt="2021-04-15T15:48:22.104" v="39"/>
        <pc:sldMkLst>
          <pc:docMk/>
          <pc:sldMk cId="1033074773" sldId="480"/>
        </pc:sldMkLst>
      </pc:sldChg>
      <pc:sldChg chg="ord">
        <pc:chgData name="Allende Bustamante Jose (Codelco-Casa Matriz)" userId="S::jalle011@codelco.cl::54345eee-8770-43bf-b080-e3e333067d62" providerId="AD" clId="Web-{559D17D1-6A5A-1364-980C-13DA18A5F8D8}" dt="2021-04-15T15:48:43.433" v="40"/>
        <pc:sldMkLst>
          <pc:docMk/>
          <pc:sldMk cId="483616472" sldId="483"/>
        </pc:sldMkLst>
      </pc:sldChg>
      <pc:sldChg chg="modSp ord">
        <pc:chgData name="Allende Bustamante Jose (Codelco-Casa Matriz)" userId="S::jalle011@codelco.cl::54345eee-8770-43bf-b080-e3e333067d62" providerId="AD" clId="Web-{559D17D1-6A5A-1364-980C-13DA18A5F8D8}" dt="2021-04-15T15:50:02.891" v="43" actId="14100"/>
        <pc:sldMkLst>
          <pc:docMk/>
          <pc:sldMk cId="3181890570" sldId="484"/>
        </pc:sldMkLst>
        <pc:cxnChg chg="mod">
          <ac:chgData name="Allende Bustamante Jose (Codelco-Casa Matriz)" userId="S::jalle011@codelco.cl::54345eee-8770-43bf-b080-e3e333067d62" providerId="AD" clId="Web-{559D17D1-6A5A-1364-980C-13DA18A5F8D8}" dt="2021-04-15T15:49:56.547" v="42" actId="14100"/>
          <ac:cxnSpMkLst>
            <pc:docMk/>
            <pc:sldMk cId="3181890570" sldId="484"/>
            <ac:cxnSpMk id="4" creationId="{00000000-0000-0000-0000-000000000000}"/>
          </ac:cxnSpMkLst>
        </pc:cxnChg>
        <pc:cxnChg chg="mod">
          <ac:chgData name="Allende Bustamante Jose (Codelco-Casa Matriz)" userId="S::jalle011@codelco.cl::54345eee-8770-43bf-b080-e3e333067d62" providerId="AD" clId="Web-{559D17D1-6A5A-1364-980C-13DA18A5F8D8}" dt="2021-04-15T15:50:02.891" v="43" actId="14100"/>
          <ac:cxnSpMkLst>
            <pc:docMk/>
            <pc:sldMk cId="3181890570" sldId="484"/>
            <ac:cxnSpMk id="21" creationId="{00000000-0000-0000-0000-000000000000}"/>
          </ac:cxnSpMkLst>
        </pc:cxnChg>
      </pc:sldChg>
      <pc:sldChg chg="del">
        <pc:chgData name="Allende Bustamante Jose (Codelco-Casa Matriz)" userId="S::jalle011@codelco.cl::54345eee-8770-43bf-b080-e3e333067d62" providerId="AD" clId="Web-{559D17D1-6A5A-1364-980C-13DA18A5F8D8}" dt="2021-04-15T15:47:06.818" v="19"/>
        <pc:sldMkLst>
          <pc:docMk/>
          <pc:sldMk cId="2573296503" sldId="488"/>
        </pc:sldMkLst>
      </pc:sldChg>
      <pc:sldChg chg="del">
        <pc:chgData name="Allende Bustamante Jose (Codelco-Casa Matriz)" userId="S::jalle011@codelco.cl::54345eee-8770-43bf-b080-e3e333067d62" providerId="AD" clId="Web-{559D17D1-6A5A-1364-980C-13DA18A5F8D8}" dt="2021-04-15T15:48:19.119" v="38"/>
        <pc:sldMkLst>
          <pc:docMk/>
          <pc:sldMk cId="380446219" sldId="489"/>
        </pc:sldMkLst>
      </pc:sldChg>
      <pc:sldChg chg="addSp delSp modSp add replId">
        <pc:chgData name="Allende Bustamante Jose (Codelco-Casa Matriz)" userId="S::jalle011@codelco.cl::54345eee-8770-43bf-b080-e3e333067d62" providerId="AD" clId="Web-{559D17D1-6A5A-1364-980C-13DA18A5F8D8}" dt="2021-04-15T15:50:45.957" v="46" actId="1076"/>
        <pc:sldMkLst>
          <pc:docMk/>
          <pc:sldMk cId="3375657157" sldId="491"/>
        </pc:sldMkLst>
        <pc:spChg chg="mod">
          <ac:chgData name="Allende Bustamante Jose (Codelco-Casa Matriz)" userId="S::jalle011@codelco.cl::54345eee-8770-43bf-b080-e3e333067d62" providerId="AD" clId="Web-{559D17D1-6A5A-1364-980C-13DA18A5F8D8}" dt="2021-04-15T15:48:15.963" v="37" actId="20577"/>
          <ac:spMkLst>
            <pc:docMk/>
            <pc:sldMk cId="3375657157" sldId="491"/>
            <ac:spMk id="145" creationId="{3F302836-4F68-4641-BD29-64B0A72CA38E}"/>
          </ac:spMkLst>
        </pc:spChg>
        <pc:picChg chg="del">
          <ac:chgData name="Allende Bustamante Jose (Codelco-Casa Matriz)" userId="S::jalle011@codelco.cl::54345eee-8770-43bf-b080-e3e333067d62" providerId="AD" clId="Web-{559D17D1-6A5A-1364-980C-13DA18A5F8D8}" dt="2021-04-15T15:47:29.772" v="24"/>
          <ac:picMkLst>
            <pc:docMk/>
            <pc:sldMk cId="3375657157" sldId="491"/>
            <ac:picMk id="2" creationId="{19EC7EFD-114F-4AE1-8A0D-2EE0E70E4F7D}"/>
          </ac:picMkLst>
        </pc:picChg>
        <pc:picChg chg="add mod modCrop">
          <ac:chgData name="Allende Bustamante Jose (Codelco-Casa Matriz)" userId="S::jalle011@codelco.cl::54345eee-8770-43bf-b080-e3e333067d62" providerId="AD" clId="Web-{559D17D1-6A5A-1364-980C-13DA18A5F8D8}" dt="2021-04-15T15:50:45.957" v="46" actId="1076"/>
          <ac:picMkLst>
            <pc:docMk/>
            <pc:sldMk cId="3375657157" sldId="491"/>
            <ac:picMk id="3" creationId="{31CC1425-2174-4155-8FDB-B0CCFC98558A}"/>
          </ac:picMkLst>
        </pc:picChg>
      </pc:sldChg>
      <pc:sldChg chg="modSp add del">
        <pc:chgData name="Allende Bustamante Jose (Codelco-Casa Matriz)" userId="S::jalle011@codelco.cl::54345eee-8770-43bf-b080-e3e333067d62" providerId="AD" clId="Web-{559D17D1-6A5A-1364-980C-13DA18A5F8D8}" dt="2021-04-15T15:58:19.329" v="230"/>
        <pc:sldMkLst>
          <pc:docMk/>
          <pc:sldMk cId="2384071042" sldId="493"/>
        </pc:sldMkLst>
        <pc:spChg chg="mod">
          <ac:chgData name="Allende Bustamante Jose (Codelco-Casa Matriz)" userId="S::jalle011@codelco.cl::54345eee-8770-43bf-b080-e3e333067d62" providerId="AD" clId="Web-{559D17D1-6A5A-1364-980C-13DA18A5F8D8}" dt="2021-04-15T15:55:57.148" v="196"/>
          <ac:spMkLst>
            <pc:docMk/>
            <pc:sldMk cId="2384071042" sldId="493"/>
            <ac:spMk id="4" creationId="{00000000-0000-0000-0000-000000000000}"/>
          </ac:spMkLst>
        </pc:spChg>
      </pc:sldChg>
      <pc:sldChg chg="add del replId">
        <pc:chgData name="Allende Bustamante Jose (Codelco-Casa Matriz)" userId="S::jalle011@codelco.cl::54345eee-8770-43bf-b080-e3e333067d62" providerId="AD" clId="Web-{559D17D1-6A5A-1364-980C-13DA18A5F8D8}" dt="2021-04-15T15:55:26.240" v="172"/>
        <pc:sldMkLst>
          <pc:docMk/>
          <pc:sldMk cId="3127485652" sldId="494"/>
        </pc:sldMkLst>
      </pc:sldChg>
      <pc:sldChg chg="addSp delSp modSp add replId">
        <pc:chgData name="Allende Bustamante Jose (Codelco-Casa Matriz)" userId="S::jalle011@codelco.cl::54345eee-8770-43bf-b080-e3e333067d62" providerId="AD" clId="Web-{559D17D1-6A5A-1364-980C-13DA18A5F8D8}" dt="2021-04-15T15:58:29.611" v="231" actId="1076"/>
        <pc:sldMkLst>
          <pc:docMk/>
          <pc:sldMk cId="2558767317" sldId="495"/>
        </pc:sldMkLst>
        <pc:spChg chg="del">
          <ac:chgData name="Allende Bustamante Jose (Codelco-Casa Matriz)" userId="S::jalle011@codelco.cl::54345eee-8770-43bf-b080-e3e333067d62" providerId="AD" clId="Web-{559D17D1-6A5A-1364-980C-13DA18A5F8D8}" dt="2021-04-15T15:55:49.242" v="188"/>
          <ac:spMkLst>
            <pc:docMk/>
            <pc:sldMk cId="2558767317" sldId="495"/>
            <ac:spMk id="6" creationId="{9AA6A32C-4BEC-44BD-851C-6FF380B408D2}"/>
          </ac:spMkLst>
        </pc:spChg>
        <pc:spChg chg="del">
          <ac:chgData name="Allende Bustamante Jose (Codelco-Casa Matriz)" userId="S::jalle011@codelco.cl::54345eee-8770-43bf-b080-e3e333067d62" providerId="AD" clId="Web-{559D17D1-6A5A-1364-980C-13DA18A5F8D8}" dt="2021-04-15T15:55:49.242" v="181"/>
          <ac:spMkLst>
            <pc:docMk/>
            <pc:sldMk cId="2558767317" sldId="495"/>
            <ac:spMk id="8" creationId="{8E0B67C4-E96C-450D-ABEB-AAA036FC7740}"/>
          </ac:spMkLst>
        </pc:spChg>
        <pc:spChg chg="add del mod">
          <ac:chgData name="Allende Bustamante Jose (Codelco-Casa Matriz)" userId="S::jalle011@codelco.cl::54345eee-8770-43bf-b080-e3e333067d62" providerId="AD" clId="Web-{559D17D1-6A5A-1364-980C-13DA18A5F8D8}" dt="2021-04-15T15:56:39.120" v="200"/>
          <ac:spMkLst>
            <pc:docMk/>
            <pc:sldMk cId="2558767317" sldId="495"/>
            <ac:spMk id="9" creationId="{5E8B75D5-6A26-424F-965D-28B5DB719547}"/>
          </ac:spMkLst>
        </pc:spChg>
        <pc:spChg chg="del">
          <ac:chgData name="Allende Bustamante Jose (Codelco-Casa Matriz)" userId="S::jalle011@codelco.cl::54345eee-8770-43bf-b080-e3e333067d62" providerId="AD" clId="Web-{559D17D1-6A5A-1364-980C-13DA18A5F8D8}" dt="2021-04-15T15:55:49.242" v="186"/>
          <ac:spMkLst>
            <pc:docMk/>
            <pc:sldMk cId="2558767317" sldId="495"/>
            <ac:spMk id="12" creationId="{3C152AE5-1D6F-4E50-8C5A-1D841105FC77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8:19.189" v="228" actId="20577"/>
          <ac:spMkLst>
            <pc:docMk/>
            <pc:sldMk cId="2558767317" sldId="495"/>
            <ac:spMk id="13" creationId="{F8B1AB08-0CAE-4A49-A34E-DA1996B9EF15}"/>
          </ac:spMkLst>
        </pc:spChg>
        <pc:spChg chg="del">
          <ac:chgData name="Allende Bustamante Jose (Codelco-Casa Matriz)" userId="S::jalle011@codelco.cl::54345eee-8770-43bf-b080-e3e333067d62" providerId="AD" clId="Web-{559D17D1-6A5A-1364-980C-13DA18A5F8D8}" dt="2021-04-15T15:55:49.242" v="184"/>
          <ac:spMkLst>
            <pc:docMk/>
            <pc:sldMk cId="2558767317" sldId="495"/>
            <ac:spMk id="15" creationId="{40D49044-A4E1-4BAD-91F8-FD00AA06121D}"/>
          </ac:spMkLst>
        </pc:spChg>
        <pc:spChg chg="del">
          <ac:chgData name="Allende Bustamante Jose (Codelco-Casa Matriz)" userId="S::jalle011@codelco.cl::54345eee-8770-43bf-b080-e3e333067d62" providerId="AD" clId="Web-{559D17D1-6A5A-1364-980C-13DA18A5F8D8}" dt="2021-04-15T15:55:49.242" v="182"/>
          <ac:spMkLst>
            <pc:docMk/>
            <pc:sldMk cId="2558767317" sldId="495"/>
            <ac:spMk id="17" creationId="{82F73D48-0801-4D37-8FCD-A0A6EAE21614}"/>
          </ac:spMkLst>
        </pc:spChg>
        <pc:spChg chg="add mod">
          <ac:chgData name="Allende Bustamante Jose (Codelco-Casa Matriz)" userId="S::jalle011@codelco.cl::54345eee-8770-43bf-b080-e3e333067d62" providerId="AD" clId="Web-{559D17D1-6A5A-1364-980C-13DA18A5F8D8}" dt="2021-04-15T15:58:29.611" v="231" actId="1076"/>
          <ac:spMkLst>
            <pc:docMk/>
            <pc:sldMk cId="2558767317" sldId="495"/>
            <ac:spMk id="25" creationId="{CBF0B7A6-8682-402E-87A9-235E688B60C7}"/>
          </ac:spMkLst>
        </pc:spChg>
        <pc:spChg chg="add del">
          <ac:chgData name="Allende Bustamante Jose (Codelco-Casa Matriz)" userId="S::jalle011@codelco.cl::54345eee-8770-43bf-b080-e3e333067d62" providerId="AD" clId="Web-{559D17D1-6A5A-1364-980C-13DA18A5F8D8}" dt="2021-04-15T15:58:19.298" v="229"/>
          <ac:spMkLst>
            <pc:docMk/>
            <pc:sldMk cId="2558767317" sldId="495"/>
            <ac:spMk id="27" creationId="{CD0A7A53-69EC-4C1B-BE17-61BB51FD2E00}"/>
          </ac:spMkLst>
        </pc:spChg>
        <pc:spChg chg="mod">
          <ac:chgData name="Allende Bustamante Jose (Codelco-Casa Matriz)" userId="S::jalle011@codelco.cl::54345eee-8770-43bf-b080-e3e333067d62" providerId="AD" clId="Web-{559D17D1-6A5A-1364-980C-13DA18A5F8D8}" dt="2021-04-15T15:58:09.047" v="225" actId="20577"/>
          <ac:spMkLst>
            <pc:docMk/>
            <pc:sldMk cId="2558767317" sldId="495"/>
            <ac:spMk id="145" creationId="{3F302836-4F68-4641-BD29-64B0A72CA38E}"/>
          </ac:spMkLst>
        </pc:spChg>
        <pc:picChg chg="del">
          <ac:chgData name="Allende Bustamante Jose (Codelco-Casa Matriz)" userId="S::jalle011@codelco.cl::54345eee-8770-43bf-b080-e3e333067d62" providerId="AD" clId="Web-{559D17D1-6A5A-1364-980C-13DA18A5F8D8}" dt="2021-04-15T15:55:49.242" v="191"/>
          <ac:picMkLst>
            <pc:docMk/>
            <pc:sldMk cId="2558767317" sldId="495"/>
            <ac:picMk id="2" creationId="{4F722F35-2A5E-4037-AFD5-848CA774E7F7}"/>
          </ac:picMkLst>
        </pc:picChg>
        <pc:picChg chg="del">
          <ac:chgData name="Allende Bustamante Jose (Codelco-Casa Matriz)" userId="S::jalle011@codelco.cl::54345eee-8770-43bf-b080-e3e333067d62" providerId="AD" clId="Web-{559D17D1-6A5A-1364-980C-13DA18A5F8D8}" dt="2021-04-15T15:55:49.242" v="190"/>
          <ac:picMkLst>
            <pc:docMk/>
            <pc:sldMk cId="2558767317" sldId="495"/>
            <ac:picMk id="3" creationId="{CA3BE132-BD3F-46D6-9287-D2678F8AC96E}"/>
          </ac:picMkLst>
        </pc:picChg>
        <pc:picChg chg="del">
          <ac:chgData name="Allende Bustamante Jose (Codelco-Casa Matriz)" userId="S::jalle011@codelco.cl::54345eee-8770-43bf-b080-e3e333067d62" providerId="AD" clId="Web-{559D17D1-6A5A-1364-980C-13DA18A5F8D8}" dt="2021-04-15T15:55:49.242" v="189"/>
          <ac:picMkLst>
            <pc:docMk/>
            <pc:sldMk cId="2558767317" sldId="495"/>
            <ac:picMk id="4" creationId="{DF6802A3-2798-49AC-9A07-31C5A0251404}"/>
          </ac:picMkLst>
        </pc:picChg>
        <pc:picChg chg="del">
          <ac:chgData name="Allende Bustamante Jose (Codelco-Casa Matriz)" userId="S::jalle011@codelco.cl::54345eee-8770-43bf-b080-e3e333067d62" providerId="AD" clId="Web-{559D17D1-6A5A-1364-980C-13DA18A5F8D8}" dt="2021-04-15T15:55:49.242" v="180"/>
          <ac:picMkLst>
            <pc:docMk/>
            <pc:sldMk cId="2558767317" sldId="495"/>
            <ac:picMk id="10" creationId="{0F468FD9-17C8-40BA-9683-C03F576918E1}"/>
          </ac:picMkLst>
        </pc:picChg>
        <pc:picChg chg="del">
          <ac:chgData name="Allende Bustamante Jose (Codelco-Casa Matriz)" userId="S::jalle011@codelco.cl::54345eee-8770-43bf-b080-e3e333067d62" providerId="AD" clId="Web-{559D17D1-6A5A-1364-980C-13DA18A5F8D8}" dt="2021-04-15T15:55:49.242" v="187"/>
          <ac:picMkLst>
            <pc:docMk/>
            <pc:sldMk cId="2558767317" sldId="495"/>
            <ac:picMk id="11" creationId="{CFECC457-64ED-497B-BD3F-269402F8383F}"/>
          </ac:picMkLst>
        </pc:picChg>
        <pc:picChg chg="del">
          <ac:chgData name="Allende Bustamante Jose (Codelco-Casa Matriz)" userId="S::jalle011@codelco.cl::54345eee-8770-43bf-b080-e3e333067d62" providerId="AD" clId="Web-{559D17D1-6A5A-1364-980C-13DA18A5F8D8}" dt="2021-04-15T15:55:49.242" v="185"/>
          <ac:picMkLst>
            <pc:docMk/>
            <pc:sldMk cId="2558767317" sldId="495"/>
            <ac:picMk id="14" creationId="{7AE0EE75-C356-4D6A-83BC-41A716CA69E3}"/>
          </ac:picMkLst>
        </pc:picChg>
        <pc:picChg chg="del">
          <ac:chgData name="Allende Bustamante Jose (Codelco-Casa Matriz)" userId="S::jalle011@codelco.cl::54345eee-8770-43bf-b080-e3e333067d62" providerId="AD" clId="Web-{559D17D1-6A5A-1364-980C-13DA18A5F8D8}" dt="2021-04-15T15:55:49.242" v="183"/>
          <ac:picMkLst>
            <pc:docMk/>
            <pc:sldMk cId="2558767317" sldId="495"/>
            <ac:picMk id="16" creationId="{CE830B34-5ECF-49BB-9AC9-635147D19C0E}"/>
          </ac:picMkLst>
        </pc:picChg>
        <pc:picChg chg="add mod">
          <ac:chgData name="Allende Bustamante Jose (Codelco-Casa Matriz)" userId="S::jalle011@codelco.cl::54345eee-8770-43bf-b080-e3e333067d62" providerId="AD" clId="Web-{559D17D1-6A5A-1364-980C-13DA18A5F8D8}" dt="2021-04-15T15:56:58.746" v="204" actId="1076"/>
          <ac:picMkLst>
            <pc:docMk/>
            <pc:sldMk cId="2558767317" sldId="495"/>
            <ac:picMk id="19" creationId="{DA329DC3-6B5B-4030-A21A-5B1B6D750CB8}"/>
          </ac:picMkLst>
        </pc:picChg>
        <pc:picChg chg="add del">
          <ac:chgData name="Allende Bustamante Jose (Codelco-Casa Matriz)" userId="S::jalle011@codelco.cl::54345eee-8770-43bf-b080-e3e333067d62" providerId="AD" clId="Web-{559D17D1-6A5A-1364-980C-13DA18A5F8D8}" dt="2021-04-15T15:56:47.980" v="202"/>
          <ac:picMkLst>
            <pc:docMk/>
            <pc:sldMk cId="2558767317" sldId="495"/>
            <ac:picMk id="20" creationId="{3E1C8960-6570-4FDB-87AD-2AD00461A8C9}"/>
          </ac:picMkLst>
        </pc:picChg>
        <pc:cxnChg chg="del">
          <ac:chgData name="Allende Bustamante Jose (Codelco-Casa Matriz)" userId="S::jalle011@codelco.cl::54345eee-8770-43bf-b080-e3e333067d62" providerId="AD" clId="Web-{559D17D1-6A5A-1364-980C-13DA18A5F8D8}" dt="2021-04-15T15:55:49.242" v="179"/>
          <ac:cxnSpMkLst>
            <pc:docMk/>
            <pc:sldMk cId="2558767317" sldId="495"/>
            <ac:cxnSpMk id="18" creationId="{F5567C57-0211-4D93-8CC0-BB0D21C5D55C}"/>
          </ac:cxnSpMkLst>
        </pc:cxnChg>
        <pc:cxnChg chg="del">
          <ac:chgData name="Allende Bustamante Jose (Codelco-Casa Matriz)" userId="S::jalle011@codelco.cl::54345eee-8770-43bf-b080-e3e333067d62" providerId="AD" clId="Web-{559D17D1-6A5A-1364-980C-13DA18A5F8D8}" dt="2021-04-15T15:55:49.242" v="178"/>
          <ac:cxnSpMkLst>
            <pc:docMk/>
            <pc:sldMk cId="2558767317" sldId="495"/>
            <ac:cxnSpMk id="21" creationId="{EAAB8BBB-2C3B-473E-8F3F-FFC3F63E0A76}"/>
          </ac:cxnSpMkLst>
        </pc:cxnChg>
        <pc:cxnChg chg="del">
          <ac:chgData name="Allende Bustamante Jose (Codelco-Casa Matriz)" userId="S::jalle011@codelco.cl::54345eee-8770-43bf-b080-e3e333067d62" providerId="AD" clId="Web-{559D17D1-6A5A-1364-980C-13DA18A5F8D8}" dt="2021-04-15T15:55:49.242" v="177"/>
          <ac:cxnSpMkLst>
            <pc:docMk/>
            <pc:sldMk cId="2558767317" sldId="495"/>
            <ac:cxnSpMk id="22" creationId="{C62CBD7D-503E-4E78-B4AC-7951F3F4EDB3}"/>
          </ac:cxnSpMkLst>
        </pc:cxnChg>
        <pc:cxnChg chg="del">
          <ac:chgData name="Allende Bustamante Jose (Codelco-Casa Matriz)" userId="S::jalle011@codelco.cl::54345eee-8770-43bf-b080-e3e333067d62" providerId="AD" clId="Web-{559D17D1-6A5A-1364-980C-13DA18A5F8D8}" dt="2021-04-15T15:55:49.242" v="176"/>
          <ac:cxnSpMkLst>
            <pc:docMk/>
            <pc:sldMk cId="2558767317" sldId="495"/>
            <ac:cxnSpMk id="23" creationId="{9F49F774-F8D6-459A-98B4-CC0398DC78A5}"/>
          </ac:cxnSpMkLst>
        </pc:cxnChg>
        <pc:cxnChg chg="del">
          <ac:chgData name="Allende Bustamante Jose (Codelco-Casa Matriz)" userId="S::jalle011@codelco.cl::54345eee-8770-43bf-b080-e3e333067d62" providerId="AD" clId="Web-{559D17D1-6A5A-1364-980C-13DA18A5F8D8}" dt="2021-04-15T15:55:49.242" v="175"/>
          <ac:cxnSpMkLst>
            <pc:docMk/>
            <pc:sldMk cId="2558767317" sldId="495"/>
            <ac:cxnSpMk id="24" creationId="{EC38699E-9165-4F15-B62C-93450B4ACB71}"/>
          </ac:cxnSpMkLst>
        </pc:cxnChg>
        <pc:cxnChg chg="del">
          <ac:chgData name="Allende Bustamante Jose (Codelco-Casa Matriz)" userId="S::jalle011@codelco.cl::54345eee-8770-43bf-b080-e3e333067d62" providerId="AD" clId="Web-{559D17D1-6A5A-1364-980C-13DA18A5F8D8}" dt="2021-04-15T15:55:49.226" v="174"/>
          <ac:cxnSpMkLst>
            <pc:docMk/>
            <pc:sldMk cId="2558767317" sldId="495"/>
            <ac:cxnSpMk id="29" creationId="{B2DF31B9-6467-4F16-91E2-EA1B04550783}"/>
          </ac:cxnSpMkLst>
        </pc:cxnChg>
        <pc:cxnChg chg="del">
          <ac:chgData name="Allende Bustamante Jose (Codelco-Casa Matriz)" userId="S::jalle011@codelco.cl::54345eee-8770-43bf-b080-e3e333067d62" providerId="AD" clId="Web-{559D17D1-6A5A-1364-980C-13DA18A5F8D8}" dt="2021-04-15T15:55:49.226" v="173"/>
          <ac:cxnSpMkLst>
            <pc:docMk/>
            <pc:sldMk cId="2558767317" sldId="495"/>
            <ac:cxnSpMk id="30" creationId="{7C46A161-4C16-4339-A3D0-144CC9AE1A4A}"/>
          </ac:cxnSpMkLst>
        </pc:cxnChg>
      </pc:sldChg>
      <pc:sldMasterChg chg="modSldLayout">
        <pc:chgData name="Allende Bustamante Jose (Codelco-Casa Matriz)" userId="S::jalle011@codelco.cl::54345eee-8770-43bf-b080-e3e333067d62" providerId="AD" clId="Web-{559D17D1-6A5A-1364-980C-13DA18A5F8D8}" dt="2021-04-15T15:54:52.300" v="169"/>
        <pc:sldMasterMkLst>
          <pc:docMk/>
          <pc:sldMasterMk cId="1483736372" sldId="2147483899"/>
        </pc:sldMasterMkLst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1483736372" sldId="2147483899"/>
            <pc:sldLayoutMk cId="3834324367" sldId="2147484402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559D17D1-6A5A-1364-980C-13DA18A5F8D8}" dt="2021-04-15T15:54:52.300" v="169"/>
        <pc:sldMasterMkLst>
          <pc:docMk/>
          <pc:sldMasterMk cId="2080338986" sldId="2147483938"/>
        </pc:sldMasterMkLst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080338986" sldId="2147483938"/>
            <pc:sldLayoutMk cId="1513513306" sldId="2147484383"/>
          </pc:sldLayoutMkLst>
        </pc:sldLayoutChg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080338986" sldId="2147483938"/>
            <pc:sldLayoutMk cId="2320535139" sldId="2147484384"/>
          </pc:sldLayoutMkLst>
        </pc:sldLayoutChg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080338986" sldId="2147483938"/>
            <pc:sldLayoutMk cId="2143870222" sldId="2147484403"/>
          </pc:sldLayoutMkLst>
        </pc:sldLayoutChg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080338986" sldId="2147483938"/>
            <pc:sldLayoutMk cId="2875399439" sldId="2147484404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559D17D1-6A5A-1364-980C-13DA18A5F8D8}" dt="2021-04-15T15:54:52.300" v="169"/>
        <pc:sldMasterMkLst>
          <pc:docMk/>
          <pc:sldMasterMk cId="1408756453" sldId="2147484118"/>
        </pc:sldMasterMkLst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1408756453" sldId="2147484118"/>
            <pc:sldLayoutMk cId="3000918942" sldId="2147484471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559D17D1-6A5A-1364-980C-13DA18A5F8D8}" dt="2021-04-15T15:54:52.300" v="169"/>
        <pc:sldMasterMkLst>
          <pc:docMk/>
          <pc:sldMasterMk cId="2969229741" sldId="2147484382"/>
        </pc:sldMasterMkLst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612411629" sldId="2147483883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618327159" sldId="2147483885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684205832" sldId="2147483886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543058118" sldId="2147483941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612411629" sldId="2147483942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554729717" sldId="2147483943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106709850" sldId="2147483944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326593323" sldId="2147484129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543058118" sldId="2147484385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1608224328" sldId="2147484387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852498680" sldId="2147484388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079707490" sldId="2147484389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497063147" sldId="2147484390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411697666" sldId="2147484391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470369557" sldId="2147484392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2692910053" sldId="2147484393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605467897" sldId="2147484394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911390954" sldId="2147484395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1470861532" sldId="2147484396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977499301" sldId="2147484397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386300755" sldId="2147484398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466470504" sldId="2147484401"/>
          </pc:sldLayoutMkLst>
        </pc:sldLayoutChg>
        <pc:sldLayoutChg chg="ad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2969229741" sldId="2147484382"/>
            <pc:sldLayoutMk cId="1746498062" sldId="2147484412"/>
          </pc:sldLayoutMkLst>
        </pc:sldLayoutChg>
      </pc:sldMasterChg>
      <pc:sldMasterChg chg="replId modSldLayout">
        <pc:chgData name="Allende Bustamante Jose (Codelco-Casa Matriz)" userId="S::jalle011@codelco.cl::54345eee-8770-43bf-b080-e3e333067d62" providerId="AD" clId="Web-{559D17D1-6A5A-1364-980C-13DA18A5F8D8}" dt="2021-04-15T15:54:52.300" v="169"/>
        <pc:sldMasterMkLst>
          <pc:docMk/>
          <pc:sldMasterMk cId="119532437" sldId="2147484386"/>
        </pc:sldMasterMkLst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119532437" sldId="2147484386"/>
            <pc:sldLayoutMk cId="1963708480" sldId="2147484399"/>
          </pc:sldLayoutMkLst>
        </pc:sldLayoutChg>
        <pc:sldLayoutChg chg="replId">
          <pc:chgData name="Allende Bustamante Jose (Codelco-Casa Matriz)" userId="S::jalle011@codelco.cl::54345eee-8770-43bf-b080-e3e333067d62" providerId="AD" clId="Web-{559D17D1-6A5A-1364-980C-13DA18A5F8D8}" dt="2021-04-15T15:54:52.300" v="169"/>
          <pc:sldLayoutMkLst>
            <pc:docMk/>
            <pc:sldMasterMk cId="119532437" sldId="2147484386"/>
            <pc:sldLayoutMk cId="513558781" sldId="2147484400"/>
          </pc:sldLayoutMkLst>
        </pc:sldLayoutChg>
      </pc:sldMasterChg>
    </pc:docChg>
  </pc:docChgLst>
  <pc:docChgLst>
    <pc:chgData name="Allende Bustamante Jose (Codelco-Casa Matriz)" userId="S::jalle011@codelco.cl::54345eee-8770-43bf-b080-e3e333067d62" providerId="AD" clId="Web-{31156F3F-FE41-3C80-8048-290A7FB08B36}"/>
    <pc:docChg chg="addSld modSld sldOrd">
      <pc:chgData name="Allende Bustamante Jose (Codelco-Casa Matriz)" userId="S::jalle011@codelco.cl::54345eee-8770-43bf-b080-e3e333067d62" providerId="AD" clId="Web-{31156F3F-FE41-3C80-8048-290A7FB08B36}" dt="2021-04-15T15:40:40.090" v="17"/>
      <pc:docMkLst>
        <pc:docMk/>
      </pc:docMkLst>
      <pc:sldChg chg="delSp">
        <pc:chgData name="Allende Bustamante Jose (Codelco-Casa Matriz)" userId="S::jalle011@codelco.cl::54345eee-8770-43bf-b080-e3e333067d62" providerId="AD" clId="Web-{31156F3F-FE41-3C80-8048-290A7FB08B36}" dt="2021-04-15T15:40:40.090" v="17"/>
        <pc:sldMkLst>
          <pc:docMk/>
          <pc:sldMk cId="3216171305" sldId="458"/>
        </pc:sldMkLst>
        <pc:spChg chg="del">
          <ac:chgData name="Allende Bustamante Jose (Codelco-Casa Matriz)" userId="S::jalle011@codelco.cl::54345eee-8770-43bf-b080-e3e333067d62" providerId="AD" clId="Web-{31156F3F-FE41-3C80-8048-290A7FB08B36}" dt="2021-04-15T15:40:33.980" v="15"/>
          <ac:spMkLst>
            <pc:docMk/>
            <pc:sldMk cId="3216171305" sldId="458"/>
            <ac:spMk id="9" creationId="{4C1F3293-4EFE-461D-940D-7EE66BAE31C5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80" v="14"/>
          <ac:spMkLst>
            <pc:docMk/>
            <pc:sldMk cId="3216171305" sldId="458"/>
            <ac:spMk id="10" creationId="{4C1F3293-4EFE-461D-940D-7EE66BAE31C5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80" v="13"/>
          <ac:spMkLst>
            <pc:docMk/>
            <pc:sldMk cId="3216171305" sldId="458"/>
            <ac:spMk id="11" creationId="{4C1F3293-4EFE-461D-940D-7EE66BAE31C5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80" v="10"/>
          <ac:spMkLst>
            <pc:docMk/>
            <pc:sldMk cId="3216171305" sldId="458"/>
            <ac:spMk id="36" creationId="{03AB6464-BE3D-4F92-8E1D-E84406623404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80" v="12"/>
          <ac:spMkLst>
            <pc:docMk/>
            <pc:sldMk cId="3216171305" sldId="458"/>
            <ac:spMk id="41" creationId="{9C39604D-7D24-442E-B121-E879CAAC7B9D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80" v="9"/>
          <ac:spMkLst>
            <pc:docMk/>
            <pc:sldMk cId="3216171305" sldId="458"/>
            <ac:spMk id="64" creationId="{C3E31B9A-5D64-4C00-B267-E3A4848FADC1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40.090" v="17"/>
          <ac:spMkLst>
            <pc:docMk/>
            <pc:sldMk cId="3216171305" sldId="458"/>
            <ac:spMk id="77" creationId="{10CFF6EA-71AE-4EB1-9E60-81D17F8A2DA1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64" v="5"/>
          <ac:spMkLst>
            <pc:docMk/>
            <pc:sldMk cId="3216171305" sldId="458"/>
            <ac:spMk id="80" creationId="{46144319-4C34-4A82-9581-AD02E0E1F78A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64" v="4"/>
          <ac:spMkLst>
            <pc:docMk/>
            <pc:sldMk cId="3216171305" sldId="458"/>
            <ac:spMk id="82" creationId="{CB9BD1F3-5FC2-470E-A1DC-C86D0F2ED8AA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64" v="3"/>
          <ac:spMkLst>
            <pc:docMk/>
            <pc:sldMk cId="3216171305" sldId="458"/>
            <ac:spMk id="83" creationId="{5D6076F1-912E-4A8B-85C8-9A43CBF7AF6E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64" v="7"/>
          <ac:spMkLst>
            <pc:docMk/>
            <pc:sldMk cId="3216171305" sldId="458"/>
            <ac:spMk id="494597" creationId="{5039EF54-93E8-472F-8E65-642173581F85}"/>
          </ac:spMkLst>
        </pc:spChg>
        <pc:spChg chg="del">
          <ac:chgData name="Allende Bustamante Jose (Codelco-Casa Matriz)" userId="S::jalle011@codelco.cl::54345eee-8770-43bf-b080-e3e333067d62" providerId="AD" clId="Web-{31156F3F-FE41-3C80-8048-290A7FB08B36}" dt="2021-04-15T15:40:33.964" v="2"/>
          <ac:spMkLst>
            <pc:docMk/>
            <pc:sldMk cId="3216171305" sldId="458"/>
            <ac:spMk id="494601" creationId="{8D3FD4C3-15BB-4013-8435-5068E3C9C4EA}"/>
          </ac:spMkLst>
        </pc:spChg>
        <pc:grpChg chg="del">
          <ac:chgData name="Allende Bustamante Jose (Codelco-Casa Matriz)" userId="S::jalle011@codelco.cl::54345eee-8770-43bf-b080-e3e333067d62" providerId="AD" clId="Web-{31156F3F-FE41-3C80-8048-290A7FB08B36}" dt="2021-04-15T15:40:33.964" v="8"/>
          <ac:grpSpMkLst>
            <pc:docMk/>
            <pc:sldMk cId="3216171305" sldId="458"/>
            <ac:grpSpMk id="39" creationId="{3F0E133A-87CC-4431-B18D-9FF83DF23BD2}"/>
          </ac:grpSpMkLst>
        </pc:grpChg>
        <pc:graphicFrameChg chg="del">
          <ac:chgData name="Allende Bustamante Jose (Codelco-Casa Matriz)" userId="S::jalle011@codelco.cl::54345eee-8770-43bf-b080-e3e333067d62" providerId="AD" clId="Web-{31156F3F-FE41-3C80-8048-290A7FB08B36}" dt="2021-04-15T15:40:33.980" v="16"/>
          <ac:graphicFrameMkLst>
            <pc:docMk/>
            <pc:sldMk cId="3216171305" sldId="458"/>
            <ac:graphicFrameMk id="85" creationId="{2760B5FC-DE68-402F-8004-1C9E70C1CE88}"/>
          </ac:graphicFrameMkLst>
        </pc:graphicFrameChg>
        <pc:picChg chg="del">
          <ac:chgData name="Allende Bustamante Jose (Codelco-Casa Matriz)" userId="S::jalle011@codelco.cl::54345eee-8770-43bf-b080-e3e333067d62" providerId="AD" clId="Web-{31156F3F-FE41-3C80-8048-290A7FB08B36}" dt="2021-04-15T15:40:33.980" v="11"/>
          <ac:picMkLst>
            <pc:docMk/>
            <pc:sldMk cId="3216171305" sldId="458"/>
            <ac:picMk id="494599" creationId="{5E396515-CC07-47A9-AC3F-223D971D3BFE}"/>
          </ac:picMkLst>
        </pc:picChg>
        <pc:cxnChg chg="del">
          <ac:chgData name="Allende Bustamante Jose (Codelco-Casa Matriz)" userId="S::jalle011@codelco.cl::54345eee-8770-43bf-b080-e3e333067d62" providerId="AD" clId="Web-{31156F3F-FE41-3C80-8048-290A7FB08B36}" dt="2021-04-15T15:40:33.964" v="6"/>
          <ac:cxnSpMkLst>
            <pc:docMk/>
            <pc:sldMk cId="3216171305" sldId="458"/>
            <ac:cxnSpMk id="494598" creationId="{E92A0B56-6807-42D6-91F7-A234F6FDC02E}"/>
          </ac:cxnSpMkLst>
        </pc:cxnChg>
      </pc:sldChg>
      <pc:sldChg chg="ord">
        <pc:chgData name="Allende Bustamante Jose (Codelco-Casa Matriz)" userId="S::jalle011@codelco.cl::54345eee-8770-43bf-b080-e3e333067d62" providerId="AD" clId="Web-{31156F3F-FE41-3C80-8048-290A7FB08B36}" dt="2021-04-15T15:40:23.558" v="1"/>
        <pc:sldMkLst>
          <pc:docMk/>
          <pc:sldMk cId="3704017336" sldId="460"/>
        </pc:sldMkLst>
      </pc:sldChg>
      <pc:sldChg chg="add replId">
        <pc:chgData name="Allende Bustamante Jose (Codelco-Casa Matriz)" userId="S::jalle011@codelco.cl::54345eee-8770-43bf-b080-e3e333067d62" providerId="AD" clId="Web-{31156F3F-FE41-3C80-8048-290A7FB08B36}" dt="2021-04-15T15:39:52.948" v="0"/>
        <pc:sldMkLst>
          <pc:docMk/>
          <pc:sldMk cId="1033074773" sldId="480"/>
        </pc:sldMkLst>
      </pc:sldChg>
    </pc:docChg>
  </pc:docChgLst>
  <pc:docChgLst>
    <pc:chgData name="Valenzuela Alfaro Alvaro (Codelco-Casa Matriz)" userId="S::avale036@codelco.cl::beebaec1-f16e-436d-a3cd-8566efe3ac18" providerId="AD" clId="Web-{CDE10AAD-7501-E6A8-BBD4-79DC4910F3CB}"/>
    <pc:docChg chg="modSld">
      <pc:chgData name="Valenzuela Alfaro Alvaro (Codelco-Casa Matriz)" userId="S::avale036@codelco.cl::beebaec1-f16e-436d-a3cd-8566efe3ac18" providerId="AD" clId="Web-{CDE10AAD-7501-E6A8-BBD4-79DC4910F3CB}" dt="2021-02-10T22:16:19.013" v="1"/>
      <pc:docMkLst>
        <pc:docMk/>
      </pc:docMkLst>
      <pc:sldChg chg="delSp">
        <pc:chgData name="Valenzuela Alfaro Alvaro (Codelco-Casa Matriz)" userId="S::avale036@codelco.cl::beebaec1-f16e-436d-a3cd-8566efe3ac18" providerId="AD" clId="Web-{CDE10AAD-7501-E6A8-BBD4-79DC4910F3CB}" dt="2021-02-10T22:16:19.013" v="1"/>
        <pc:sldMkLst>
          <pc:docMk/>
          <pc:sldMk cId="1357916913" sldId="474"/>
        </pc:sldMkLst>
        <pc:picChg chg="del">
          <ac:chgData name="Valenzuela Alfaro Alvaro (Codelco-Casa Matriz)" userId="S::avale036@codelco.cl::beebaec1-f16e-436d-a3cd-8566efe3ac18" providerId="AD" clId="Web-{CDE10AAD-7501-E6A8-BBD4-79DC4910F3CB}" dt="2021-02-10T22:16:09.638" v="0"/>
          <ac:picMkLst>
            <pc:docMk/>
            <pc:sldMk cId="1357916913" sldId="474"/>
            <ac:picMk id="10" creationId="{39E8F70E-3224-49D0-B44E-91257D9E70AC}"/>
          </ac:picMkLst>
        </pc:picChg>
        <pc:picChg chg="del">
          <ac:chgData name="Valenzuela Alfaro Alvaro (Codelco-Casa Matriz)" userId="S::avale036@codelco.cl::beebaec1-f16e-436d-a3cd-8566efe3ac18" providerId="AD" clId="Web-{CDE10AAD-7501-E6A8-BBD4-79DC4910F3CB}" dt="2021-02-10T22:16:19.013" v="1"/>
          <ac:picMkLst>
            <pc:docMk/>
            <pc:sldMk cId="1357916913" sldId="474"/>
            <ac:picMk id="16" creationId="{E0A4A585-8F85-42FE-B476-3EB445A1C28A}"/>
          </ac:picMkLst>
        </pc:picChg>
      </pc:sldChg>
    </pc:docChg>
  </pc:docChgLst>
  <pc:docChgLst>
    <pc:chgData name="Quinteros Neira Maria (Codelco-Casa Matriz)" userId="S::mquin014@codelco.cl::a4ae7fe5-426e-44eb-a852-ef946c9bccc2" providerId="AD" clId="Web-{24522384-DE16-AF90-ECB5-595D2F43442F}"/>
    <pc:docChg chg="modSld">
      <pc:chgData name="Quinteros Neira Maria (Codelco-Casa Matriz)" userId="S::mquin014@codelco.cl::a4ae7fe5-426e-44eb-a852-ef946c9bccc2" providerId="AD" clId="Web-{24522384-DE16-AF90-ECB5-595D2F43442F}" dt="2021-08-04T00:25:07.749" v="116" actId="20577"/>
      <pc:docMkLst>
        <pc:docMk/>
      </pc:docMkLst>
      <pc:sldChg chg="addSp delSp modSp addCm">
        <pc:chgData name="Quinteros Neira Maria (Codelco-Casa Matriz)" userId="S::mquin014@codelco.cl::a4ae7fe5-426e-44eb-a852-ef946c9bccc2" providerId="AD" clId="Web-{24522384-DE16-AF90-ECB5-595D2F43442F}" dt="2021-08-04T00:25:07.749" v="116" actId="20577"/>
        <pc:sldMkLst>
          <pc:docMk/>
          <pc:sldMk cId="513596260" sldId="564"/>
        </pc:sldMkLst>
        <pc:spChg chg="mod">
          <ac:chgData name="Quinteros Neira Maria (Codelco-Casa Matriz)" userId="S::mquin014@codelco.cl::a4ae7fe5-426e-44eb-a852-ef946c9bccc2" providerId="AD" clId="Web-{24522384-DE16-AF90-ECB5-595D2F43442F}" dt="2021-08-03T21:13:28.345" v="3" actId="20577"/>
          <ac:spMkLst>
            <pc:docMk/>
            <pc:sldMk cId="513596260" sldId="564"/>
            <ac:spMk id="2" creationId="{595D8838-B65C-4C27-A946-FCFF32FE8E92}"/>
          </ac:spMkLst>
        </pc:spChg>
        <pc:spChg chg="mod">
          <ac:chgData name="Quinteros Neira Maria (Codelco-Casa Matriz)" userId="S::mquin014@codelco.cl::a4ae7fe5-426e-44eb-a852-ef946c9bccc2" providerId="AD" clId="Web-{24522384-DE16-AF90-ECB5-595D2F43442F}" dt="2021-08-04T00:25:07.749" v="116" actId="20577"/>
          <ac:spMkLst>
            <pc:docMk/>
            <pc:sldMk cId="513596260" sldId="564"/>
            <ac:spMk id="3" creationId="{55BD6A77-E381-42C4-BC01-0615CFD7C15D}"/>
          </ac:spMkLst>
        </pc:spChg>
        <pc:picChg chg="add del mod">
          <ac:chgData name="Quinteros Neira Maria (Codelco-Casa Matriz)" userId="S::mquin014@codelco.cl::a4ae7fe5-426e-44eb-a852-ef946c9bccc2" providerId="AD" clId="Web-{24522384-DE16-AF90-ECB5-595D2F43442F}" dt="2021-08-04T00:18:50.363" v="64"/>
          <ac:picMkLst>
            <pc:docMk/>
            <pc:sldMk cId="513596260" sldId="564"/>
            <ac:picMk id="5" creationId="{F21B138B-C36B-4031-8CD2-608FC7D7689D}"/>
          </ac:picMkLst>
        </pc:picChg>
        <pc:picChg chg="add del mod">
          <ac:chgData name="Quinteros Neira Maria (Codelco-Casa Matriz)" userId="S::mquin014@codelco.cl::a4ae7fe5-426e-44eb-a852-ef946c9bccc2" providerId="AD" clId="Web-{24522384-DE16-AF90-ECB5-595D2F43442F}" dt="2021-08-04T00:21:28.070" v="91"/>
          <ac:picMkLst>
            <pc:docMk/>
            <pc:sldMk cId="513596260" sldId="564"/>
            <ac:picMk id="6" creationId="{21191640-09F6-4B60-8270-CF5565299604}"/>
          </ac:picMkLst>
        </pc:picChg>
        <pc:picChg chg="add del mod">
          <ac:chgData name="Quinteros Neira Maria (Codelco-Casa Matriz)" userId="S::mquin014@codelco.cl::a4ae7fe5-426e-44eb-a852-ef946c9bccc2" providerId="AD" clId="Web-{24522384-DE16-AF90-ECB5-595D2F43442F}" dt="2021-08-04T00:22:10.337" v="99"/>
          <ac:picMkLst>
            <pc:docMk/>
            <pc:sldMk cId="513596260" sldId="564"/>
            <ac:picMk id="7" creationId="{DBDFB4F5-C05A-424A-9A8B-BF789741881E}"/>
          </ac:picMkLst>
        </pc:picChg>
        <pc:picChg chg="add del mod">
          <ac:chgData name="Quinteros Neira Maria (Codelco-Casa Matriz)" userId="S::mquin014@codelco.cl::a4ae7fe5-426e-44eb-a852-ef946c9bccc2" providerId="AD" clId="Web-{24522384-DE16-AF90-ECB5-595D2F43442F}" dt="2021-08-04T00:22:46.479" v="104"/>
          <ac:picMkLst>
            <pc:docMk/>
            <pc:sldMk cId="513596260" sldId="564"/>
            <ac:picMk id="8" creationId="{8005DF0F-7319-482C-B1C4-F4C0561C91DE}"/>
          </ac:picMkLst>
        </pc:picChg>
        <pc:picChg chg="add mod">
          <ac:chgData name="Quinteros Neira Maria (Codelco-Casa Matriz)" userId="S::mquin014@codelco.cl::a4ae7fe5-426e-44eb-a852-ef946c9bccc2" providerId="AD" clId="Web-{24522384-DE16-AF90-ECB5-595D2F43442F}" dt="2021-08-04T00:24:44.232" v="114" actId="1076"/>
          <ac:picMkLst>
            <pc:docMk/>
            <pc:sldMk cId="513596260" sldId="564"/>
            <ac:picMk id="9" creationId="{75F5CDB7-219A-4EBE-9BA7-3FC5094497D7}"/>
          </ac:picMkLst>
        </pc:picChg>
      </pc:sldChg>
      <pc:sldChg chg="delSp">
        <pc:chgData name="Quinteros Neira Maria (Codelco-Casa Matriz)" userId="S::mquin014@codelco.cl::a4ae7fe5-426e-44eb-a852-ef946c9bccc2" providerId="AD" clId="Web-{24522384-DE16-AF90-ECB5-595D2F43442F}" dt="2021-08-04T00:19:08.129" v="67"/>
        <pc:sldMkLst>
          <pc:docMk/>
          <pc:sldMk cId="581850293" sldId="580"/>
        </pc:sldMkLst>
        <pc:picChg chg="del">
          <ac:chgData name="Quinteros Neira Maria (Codelco-Casa Matriz)" userId="S::mquin014@codelco.cl::a4ae7fe5-426e-44eb-a852-ef946c9bccc2" providerId="AD" clId="Web-{24522384-DE16-AF90-ECB5-595D2F43442F}" dt="2021-08-04T00:19:08.129" v="67"/>
          <ac:picMkLst>
            <pc:docMk/>
            <pc:sldMk cId="581850293" sldId="580"/>
            <ac:picMk id="5" creationId="{237660E3-21A3-49ED-9B36-6A86F194A20D}"/>
          </ac:picMkLst>
        </pc:picChg>
      </pc:sldChg>
    </pc:docChg>
  </pc:docChgLst>
  <pc:docChgLst>
    <pc:chgData name="Quezada Castaneda Rene (Codelco-Chuquicamata)" userId="S::fquez002@codelco.cl::ef8fb00d-8882-4f44-b64d-1ed74a02736c" providerId="AD" clId="Web-{F4C2C99F-F063-0000-D45A-A3B763AD0285}"/>
    <pc:docChg chg="modSld">
      <pc:chgData name="Quezada Castaneda Rene (Codelco-Chuquicamata)" userId="S::fquez002@codelco.cl::ef8fb00d-8882-4f44-b64d-1ed74a02736c" providerId="AD" clId="Web-{F4C2C99F-F063-0000-D45A-A3B763AD0285}" dt="2021-05-20T13:55:18.370" v="66"/>
      <pc:docMkLst>
        <pc:docMk/>
      </pc:docMkLst>
      <pc:sldChg chg="addSp delSp modSp addCm">
        <pc:chgData name="Quezada Castaneda Rene (Codelco-Chuquicamata)" userId="S::fquez002@codelco.cl::ef8fb00d-8882-4f44-b64d-1ed74a02736c" providerId="AD" clId="Web-{F4C2C99F-F063-0000-D45A-A3B763AD0285}" dt="2021-05-20T13:55:18.370" v="66"/>
        <pc:sldMkLst>
          <pc:docMk/>
          <pc:sldMk cId="3254988731" sldId="526"/>
        </pc:sldMkLst>
        <pc:spChg chg="mod">
          <ac:chgData name="Quezada Castaneda Rene (Codelco-Chuquicamata)" userId="S::fquez002@codelco.cl::ef8fb00d-8882-4f44-b64d-1ed74a02736c" providerId="AD" clId="Web-{F4C2C99F-F063-0000-D45A-A3B763AD0285}" dt="2021-05-20T13:42:20.085" v="16" actId="20577"/>
          <ac:spMkLst>
            <pc:docMk/>
            <pc:sldMk cId="3254988731" sldId="526"/>
            <ac:spMk id="2" creationId="{39424E29-7BD1-48EC-8A85-D2CD614FC11E}"/>
          </ac:spMkLst>
        </pc:spChg>
        <pc:spChg chg="mod">
          <ac:chgData name="Quezada Castaneda Rene (Codelco-Chuquicamata)" userId="S::fquez002@codelco.cl::ef8fb00d-8882-4f44-b64d-1ed74a02736c" providerId="AD" clId="Web-{F4C2C99F-F063-0000-D45A-A3B763AD0285}" dt="2021-05-20T13:42:43.038" v="34" actId="20577"/>
          <ac:spMkLst>
            <pc:docMk/>
            <pc:sldMk cId="3254988731" sldId="526"/>
            <ac:spMk id="3" creationId="{E67C88EF-BFDD-437B-BF0B-155472BEE1FF}"/>
          </ac:spMkLst>
        </pc:spChg>
        <pc:picChg chg="add del mod">
          <ac:chgData name="Quezada Castaneda Rene (Codelco-Chuquicamata)" userId="S::fquez002@codelco.cl::ef8fb00d-8882-4f44-b64d-1ed74a02736c" providerId="AD" clId="Web-{F4C2C99F-F063-0000-D45A-A3B763AD0285}" dt="2021-05-20T13:43:54.868" v="38"/>
          <ac:picMkLst>
            <pc:docMk/>
            <pc:sldMk cId="3254988731" sldId="526"/>
            <ac:picMk id="5" creationId="{7DB0E713-6118-426F-B45B-7790E8E0B54C}"/>
          </ac:picMkLst>
        </pc:picChg>
        <pc:picChg chg="add del mod">
          <ac:chgData name="Quezada Castaneda Rene (Codelco-Chuquicamata)" userId="S::fquez002@codelco.cl::ef8fb00d-8882-4f44-b64d-1ed74a02736c" providerId="AD" clId="Web-{F4C2C99F-F063-0000-D45A-A3B763AD0285}" dt="2021-05-20T13:44:28.213" v="42"/>
          <ac:picMkLst>
            <pc:docMk/>
            <pc:sldMk cId="3254988731" sldId="526"/>
            <ac:picMk id="6" creationId="{A6673C89-1487-486C-979C-9EEA27D7C648}"/>
          </ac:picMkLst>
        </pc:picChg>
        <pc:picChg chg="add mod">
          <ac:chgData name="Quezada Castaneda Rene (Codelco-Chuquicamata)" userId="S::fquez002@codelco.cl::ef8fb00d-8882-4f44-b64d-1ed74a02736c" providerId="AD" clId="Web-{F4C2C99F-F063-0000-D45A-A3B763AD0285}" dt="2021-05-20T13:48:05.562" v="52" actId="1076"/>
          <ac:picMkLst>
            <pc:docMk/>
            <pc:sldMk cId="3254988731" sldId="526"/>
            <ac:picMk id="7" creationId="{C5F5BB1A-624F-45D5-9F02-0F474F94C19B}"/>
          </ac:picMkLst>
        </pc:picChg>
        <pc:picChg chg="add mod">
          <ac:chgData name="Quezada Castaneda Rene (Codelco-Chuquicamata)" userId="S::fquez002@codelco.cl::ef8fb00d-8882-4f44-b64d-1ed74a02736c" providerId="AD" clId="Web-{F4C2C99F-F063-0000-D45A-A3B763AD0285}" dt="2021-05-20T13:48:05.546" v="51" actId="1076"/>
          <ac:picMkLst>
            <pc:docMk/>
            <pc:sldMk cId="3254988731" sldId="526"/>
            <ac:picMk id="8" creationId="{DF732C2F-0A8C-4597-8D88-ED91EE526C47}"/>
          </ac:picMkLst>
        </pc:picChg>
        <pc:picChg chg="add mod">
          <ac:chgData name="Quezada Castaneda Rene (Codelco-Chuquicamata)" userId="S::fquez002@codelco.cl::ef8fb00d-8882-4f44-b64d-1ed74a02736c" providerId="AD" clId="Web-{F4C2C99F-F063-0000-D45A-A3B763AD0285}" dt="2021-05-20T13:51:04.691" v="56" actId="1076"/>
          <ac:picMkLst>
            <pc:docMk/>
            <pc:sldMk cId="3254988731" sldId="526"/>
            <ac:picMk id="9" creationId="{A44AD5A9-43EC-497E-A044-8A82CC114D4E}"/>
          </ac:picMkLst>
        </pc:picChg>
        <pc:picChg chg="add mod">
          <ac:chgData name="Quezada Castaneda Rene (Codelco-Chuquicamata)" userId="S::fquez002@codelco.cl::ef8fb00d-8882-4f44-b64d-1ed74a02736c" providerId="AD" clId="Web-{F4C2C99F-F063-0000-D45A-A3B763AD0285}" dt="2021-05-20T13:54:50.244" v="65" actId="1076"/>
          <ac:picMkLst>
            <pc:docMk/>
            <pc:sldMk cId="3254988731" sldId="526"/>
            <ac:picMk id="10" creationId="{828B5E7C-33FD-4100-9219-64EBE1D7DDA9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E612DAE2-7350-4A27-963E-AFADB768DD80}"/>
    <pc:docChg chg="modSld">
      <pc:chgData name="Paillacar Oyarzo Paulo Ignacio (Codelco-Casa Matriz)" userId="S::ppail001@codelco.cl::3f9c4ec0-dfff-4bc5-ba03-192dd672e537" providerId="AD" clId="Web-{E612DAE2-7350-4A27-963E-AFADB768DD80}" dt="2021-05-06T13:37:06.991" v="15" actId="20577"/>
      <pc:docMkLst>
        <pc:docMk/>
      </pc:docMkLst>
      <pc:sldChg chg="modSp">
        <pc:chgData name="Paillacar Oyarzo Paulo Ignacio (Codelco-Casa Matriz)" userId="S::ppail001@codelco.cl::3f9c4ec0-dfff-4bc5-ba03-192dd672e537" providerId="AD" clId="Web-{E612DAE2-7350-4A27-963E-AFADB768DD80}" dt="2021-05-06T13:37:06.991" v="15" actId="20577"/>
        <pc:sldMkLst>
          <pc:docMk/>
          <pc:sldMk cId="1403606244" sldId="503"/>
        </pc:sldMkLst>
        <pc:spChg chg="mod">
          <ac:chgData name="Paillacar Oyarzo Paulo Ignacio (Codelco-Casa Matriz)" userId="S::ppail001@codelco.cl::3f9c4ec0-dfff-4bc5-ba03-192dd672e537" providerId="AD" clId="Web-{E612DAE2-7350-4A27-963E-AFADB768DD80}" dt="2021-05-06T13:37:06.991" v="15" actId="20577"/>
          <ac:spMkLst>
            <pc:docMk/>
            <pc:sldMk cId="1403606244" sldId="503"/>
            <ac:spMk id="5" creationId="{BC91D02A-1112-41F4-80E9-A58C79C34A3D}"/>
          </ac:spMkLst>
        </pc:spChg>
      </pc:sldChg>
    </pc:docChg>
  </pc:docChgLst>
  <pc:docChgLst>
    <pc:chgData name="Cecilia De Brun" userId="S::cecilia_de_brun_mckinsey.com#ext#@codelcochile.onmicrosoft.com::9cf74694-5392-472f-a1fc-6533900a07f4" providerId="AD" clId="Web-{459E0F26-F9ED-758E-1574-A1091A3A467B}"/>
    <pc:docChg chg="addSld delSld modSld sldOrd addMainMaster">
      <pc:chgData name="Cecilia De Brun" userId="S::cecilia_de_brun_mckinsey.com#ext#@codelcochile.onmicrosoft.com::9cf74694-5392-472f-a1fc-6533900a07f4" providerId="AD" clId="Web-{459E0F26-F9ED-758E-1574-A1091A3A467B}" dt="2021-04-15T15:54:17.260" v="182" actId="1076"/>
      <pc:docMkLst>
        <pc:docMk/>
      </pc:docMkLst>
      <pc:sldChg chg="modSp">
        <pc:chgData name="Cecilia De Brun" userId="S::cecilia_de_brun_mckinsey.com#ext#@codelcochile.onmicrosoft.com::9cf74694-5392-472f-a1fc-6533900a07f4" providerId="AD" clId="Web-{459E0F26-F9ED-758E-1574-A1091A3A467B}" dt="2021-04-15T15:48:29.254" v="159" actId="20577"/>
        <pc:sldMkLst>
          <pc:docMk/>
          <pc:sldMk cId="2155997825" sldId="375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8:29.254" v="159" actId="20577"/>
          <ac:spMkLst>
            <pc:docMk/>
            <pc:sldMk cId="2155997825" sldId="375"/>
            <ac:spMk id="23" creationId="{600E4E35-763E-4B81-B795-D3AB27C431DF}"/>
          </ac:spMkLst>
        </pc:spChg>
      </pc:sldChg>
      <pc:sldChg chg="ord">
        <pc:chgData name="Cecilia De Brun" userId="S::cecilia_de_brun_mckinsey.com#ext#@codelcochile.onmicrosoft.com::9cf74694-5392-472f-a1fc-6533900a07f4" providerId="AD" clId="Web-{459E0F26-F9ED-758E-1574-A1091A3A467B}" dt="2021-04-15T15:21:53.579" v="35"/>
        <pc:sldMkLst>
          <pc:docMk/>
          <pc:sldMk cId="1645582534" sldId="454"/>
        </pc:sldMkLst>
      </pc:sldChg>
      <pc:sldChg chg="modSp add mod replId modShow">
        <pc:chgData name="Cecilia De Brun" userId="S::cecilia_de_brun_mckinsey.com#ext#@codelcochile.onmicrosoft.com::9cf74694-5392-472f-a1fc-6533900a07f4" providerId="AD" clId="Web-{459E0F26-F9ED-758E-1574-A1091A3A467B}" dt="2021-04-15T15:48:16.660" v="157" actId="20577"/>
        <pc:sldMkLst>
          <pc:docMk/>
          <pc:sldMk cId="1352864007" sldId="462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18:46.872" v="14"/>
          <ac:spMkLst>
            <pc:docMk/>
            <pc:sldMk cId="1352864007" sldId="462"/>
            <ac:spMk id="3" creationId="{4248B998-1688-4898-9628-8FF1A9F36A28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34" v="4"/>
          <ac:spMkLst>
            <pc:docMk/>
            <pc:sldMk cId="1352864007" sldId="462"/>
            <ac:spMk id="4" creationId="{4E905CBF-F1FF-48C4-AF2B-075028B38C4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46.888" v="16"/>
          <ac:spMkLst>
            <pc:docMk/>
            <pc:sldMk cId="1352864007" sldId="462"/>
            <ac:spMk id="17" creationId="{552090A5-F322-40DD-8355-465D65FAB046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65" v="6"/>
          <ac:spMkLst>
            <pc:docMk/>
            <pc:sldMk cId="1352864007" sldId="462"/>
            <ac:spMk id="18" creationId="{71192C79-FAE5-4BB2-8C6D-43A9BC271C9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46.903" v="17"/>
          <ac:spMkLst>
            <pc:docMk/>
            <pc:sldMk cId="1352864007" sldId="462"/>
            <ac:spMk id="19" creationId="{DCBCEB20-8377-429A-B182-F1F2770545F5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65" v="7"/>
          <ac:spMkLst>
            <pc:docMk/>
            <pc:sldMk cId="1352864007" sldId="462"/>
            <ac:spMk id="20" creationId="{147F67F4-8295-4335-A9A3-880D29F245E0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8:16.660" v="157" actId="20577"/>
          <ac:spMkLst>
            <pc:docMk/>
            <pc:sldMk cId="1352864007" sldId="462"/>
            <ac:spMk id="23" creationId="{600E4E35-763E-4B81-B795-D3AB27C431D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81" v="8"/>
          <ac:spMkLst>
            <pc:docMk/>
            <pc:sldMk cId="1352864007" sldId="462"/>
            <ac:spMk id="24" creationId="{99091804-6602-4E77-B3DC-179EC9B09D1A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46.825" v="11"/>
          <ac:spMkLst>
            <pc:docMk/>
            <pc:sldMk cId="1352864007" sldId="462"/>
            <ac:spMk id="37" creationId="{6DE85956-0A08-4CC0-853E-4785B3580718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03" v="1"/>
          <ac:spMkLst>
            <pc:docMk/>
            <pc:sldMk cId="1352864007" sldId="462"/>
            <ac:spMk id="38" creationId="{E36C8C52-B31C-4588-B407-A9B8FBEAEE6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46.841" v="12"/>
          <ac:spMkLst>
            <pc:docMk/>
            <pc:sldMk cId="1352864007" sldId="462"/>
            <ac:spMk id="42" creationId="{EC348201-1069-4CB5-90C7-D138998005C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19" v="2"/>
          <ac:spMkLst>
            <pc:docMk/>
            <pc:sldMk cId="1352864007" sldId="462"/>
            <ac:spMk id="43" creationId="{D3E50C62-A68A-4CB0-A20F-755A1D68CAD2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46.856" v="13"/>
          <ac:spMkLst>
            <pc:docMk/>
            <pc:sldMk cId="1352864007" sldId="462"/>
            <ac:spMk id="47" creationId="{8AFED1E8-722F-4F9D-8B1C-DD0D8C1C324E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34" v="3"/>
          <ac:spMkLst>
            <pc:docMk/>
            <pc:sldMk cId="1352864007" sldId="462"/>
            <ac:spMk id="48" creationId="{62444E91-07F2-4258-A080-F0F76AFF8F8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46.872" v="15"/>
          <ac:spMkLst>
            <pc:docMk/>
            <pc:sldMk cId="1352864007" sldId="462"/>
            <ac:spMk id="50" creationId="{CAB885FA-46E1-44EF-8D19-C807FC349CC4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8:30.450" v="5"/>
          <ac:spMkLst>
            <pc:docMk/>
            <pc:sldMk cId="1352864007" sldId="462"/>
            <ac:spMk id="51" creationId="{F913A60D-2783-4406-9452-4739CB932FC8}"/>
          </ac:spMkLst>
        </pc:spChg>
      </pc:sldChg>
      <pc:sldChg chg="modSp add replId">
        <pc:chgData name="Cecilia De Brun" userId="S::cecilia_de_brun_mckinsey.com#ext#@codelcochile.onmicrosoft.com::9cf74694-5392-472f-a1fc-6533900a07f4" providerId="AD" clId="Web-{459E0F26-F9ED-758E-1574-A1091A3A467B}" dt="2021-04-15T15:48:16.550" v="156" actId="20577"/>
        <pc:sldMkLst>
          <pc:docMk/>
          <pc:sldMk cId="1975661586" sldId="463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8:16.550" v="156" actId="20577"/>
          <ac:spMkLst>
            <pc:docMk/>
            <pc:sldMk cId="1975661586" sldId="463"/>
            <ac:spMk id="23" creationId="{600E4E35-763E-4B81-B795-D3AB27C431D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9:39.326" v="23"/>
          <ac:spMkLst>
            <pc:docMk/>
            <pc:sldMk cId="1975661586" sldId="463"/>
            <ac:spMk id="41" creationId="{DE907C1A-0FFF-4431-94AA-1E9BD4429219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9:33.092" v="22"/>
          <ac:spMkLst>
            <pc:docMk/>
            <pc:sldMk cId="1975661586" sldId="463"/>
            <ac:spMk id="42" creationId="{EC348201-1069-4CB5-90C7-D138998005C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9:27.029" v="21"/>
          <ac:spMkLst>
            <pc:docMk/>
            <pc:sldMk cId="1975661586" sldId="463"/>
            <ac:spMk id="43" creationId="{D3E50C62-A68A-4CB0-A20F-755A1D68CAD2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19:48.983" v="24"/>
          <ac:spMkLst>
            <pc:docMk/>
            <pc:sldMk cId="1975661586" sldId="463"/>
            <ac:spMk id="46" creationId="{A863237C-ED2D-42C7-9134-B59EF05355B9}"/>
          </ac:spMkLst>
        </pc:spChg>
      </pc:sldChg>
      <pc:sldChg chg="add replId">
        <pc:chgData name="Cecilia De Brun" userId="S::cecilia_de_brun_mckinsey.com#ext#@codelcochile.onmicrosoft.com::9cf74694-5392-472f-a1fc-6533900a07f4" providerId="AD" clId="Web-{459E0F26-F9ED-758E-1574-A1091A3A467B}" dt="2021-04-15T15:19:13.669" v="20"/>
        <pc:sldMkLst>
          <pc:docMk/>
          <pc:sldMk cId="1951926487" sldId="464"/>
        </pc:sldMkLst>
      </pc:sldChg>
      <pc:sldChg chg="add replId">
        <pc:chgData name="Cecilia De Brun" userId="S::cecilia_de_brun_mckinsey.com#ext#@codelcochile.onmicrosoft.com::9cf74694-5392-472f-a1fc-6533900a07f4" providerId="AD" clId="Web-{459E0F26-F9ED-758E-1574-A1091A3A467B}" dt="2021-04-15T15:20:35.765" v="25"/>
        <pc:sldMkLst>
          <pc:docMk/>
          <pc:sldMk cId="1156667839" sldId="466"/>
        </pc:sldMkLst>
      </pc:sldChg>
      <pc:sldChg chg="add replId">
        <pc:chgData name="Cecilia De Brun" userId="S::cecilia_de_brun_mckinsey.com#ext#@codelcochile.onmicrosoft.com::9cf74694-5392-472f-a1fc-6533900a07f4" providerId="AD" clId="Web-{459E0F26-F9ED-758E-1574-A1091A3A467B}" dt="2021-04-15T15:20:35.890" v="26"/>
        <pc:sldMkLst>
          <pc:docMk/>
          <pc:sldMk cId="594575033" sldId="467"/>
        </pc:sldMkLst>
      </pc:sldChg>
      <pc:sldChg chg="addSp delSp modSp">
        <pc:chgData name="Cecilia De Brun" userId="S::cecilia_de_brun_mckinsey.com#ext#@codelcochile.onmicrosoft.com::9cf74694-5392-472f-a1fc-6533900a07f4" providerId="AD" clId="Web-{459E0F26-F9ED-758E-1574-A1091A3A467B}" dt="2021-04-15T15:47:55.722" v="152" actId="20577"/>
        <pc:sldMkLst>
          <pc:docMk/>
          <pc:sldMk cId="1156667839" sldId="468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39:25.164" v="105"/>
          <ac:spMkLst>
            <pc:docMk/>
            <pc:sldMk cId="1156667839" sldId="468"/>
            <ac:spMk id="17" creationId="{552090A5-F322-40DD-8355-465D65FAB046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39:18.508" v="104"/>
          <ac:spMkLst>
            <pc:docMk/>
            <pc:sldMk cId="1156667839" sldId="468"/>
            <ac:spMk id="18" creationId="{71192C79-FAE5-4BB2-8C6D-43A9BC271C9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7:55.722" v="152" actId="20577"/>
          <ac:spMkLst>
            <pc:docMk/>
            <pc:sldMk cId="1156667839" sldId="468"/>
            <ac:spMk id="23" creationId="{600E4E35-763E-4B81-B795-D3AB27C431D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21:07.375" v="31"/>
          <ac:spMkLst>
            <pc:docMk/>
            <pc:sldMk cId="1156667839" sldId="468"/>
            <ac:spMk id="42" creationId="{EC348201-1069-4CB5-90C7-D138998005C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21:21.031" v="32"/>
          <ac:spMkLst>
            <pc:docMk/>
            <pc:sldMk cId="1156667839" sldId="468"/>
            <ac:spMk id="43" creationId="{D3E50C62-A68A-4CB0-A20F-755A1D68CAD2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39:30.477" v="106"/>
          <ac:spMkLst>
            <pc:docMk/>
            <pc:sldMk cId="1156667839" sldId="468"/>
            <ac:spMk id="50" creationId="{CAB885FA-46E1-44EF-8D19-C807FC349CC4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39:38.196" v="107"/>
          <ac:spMkLst>
            <pc:docMk/>
            <pc:sldMk cId="1156667839" sldId="468"/>
            <ac:spMk id="51" creationId="{F913A60D-2783-4406-9452-4739CB932FC8}"/>
          </ac:spMkLst>
        </pc:spChg>
        <pc:picChg chg="add del mod">
          <ac:chgData name="Cecilia De Brun" userId="S::cecilia_de_brun_mckinsey.com#ext#@codelcochile.onmicrosoft.com::9cf74694-5392-472f-a1fc-6533900a07f4" providerId="AD" clId="Web-{459E0F26-F9ED-758E-1574-A1091A3A467B}" dt="2021-04-15T15:21:49.454" v="34"/>
          <ac:picMkLst>
            <pc:docMk/>
            <pc:sldMk cId="1156667839" sldId="468"/>
            <ac:picMk id="6" creationId="{B71CA310-EF61-4B66-B24B-5215C135C6D6}"/>
          </ac:picMkLst>
        </pc:picChg>
      </pc:sldChg>
      <pc:sldChg chg="addSp delSp modSp new del">
        <pc:chgData name="Cecilia De Brun" userId="S::cecilia_de_brun_mckinsey.com#ext#@codelcochile.onmicrosoft.com::9cf74694-5392-472f-a1fc-6533900a07f4" providerId="AD" clId="Web-{459E0F26-F9ED-758E-1574-A1091A3A467B}" dt="2021-04-15T15:34:17.704" v="98"/>
        <pc:sldMkLst>
          <pc:docMk/>
          <pc:sldMk cId="977750085" sldId="469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24:34.785" v="84" actId="14100"/>
          <ac:spMkLst>
            <pc:docMk/>
            <pc:sldMk cId="977750085" sldId="469"/>
            <ac:spMk id="2" creationId="{03709BA5-B78A-4E23-BC7F-E457D288DE38}"/>
          </ac:spMkLst>
        </pc:spChg>
        <pc:picChg chg="add mod ord">
          <ac:chgData name="Cecilia De Brun" userId="S::cecilia_de_brun_mckinsey.com#ext#@codelcochile.onmicrosoft.com::9cf74694-5392-472f-a1fc-6533900a07f4" providerId="AD" clId="Web-{459E0F26-F9ED-758E-1574-A1091A3A467B}" dt="2021-04-15T15:24:15.754" v="82" actId="1076"/>
          <ac:picMkLst>
            <pc:docMk/>
            <pc:sldMk cId="977750085" sldId="469"/>
            <ac:picMk id="5" creationId="{C6124B13-950A-4780-9DB2-9E47A2F7257E}"/>
          </ac:picMkLst>
        </pc:picChg>
        <pc:picChg chg="add del mod">
          <ac:chgData name="Cecilia De Brun" userId="S::cecilia_de_brun_mckinsey.com#ext#@codelcochile.onmicrosoft.com::9cf74694-5392-472f-a1fc-6533900a07f4" providerId="AD" clId="Web-{459E0F26-F9ED-758E-1574-A1091A3A467B}" dt="2021-04-15T15:23:14.987" v="50"/>
          <ac:picMkLst>
            <pc:docMk/>
            <pc:sldMk cId="977750085" sldId="469"/>
            <ac:picMk id="6" creationId="{656FBBE0-7B75-477A-A333-8CFC5929D981}"/>
          </ac:picMkLst>
        </pc:picChg>
        <pc:picChg chg="add del mod">
          <ac:chgData name="Cecilia De Brun" userId="S::cecilia_de_brun_mckinsey.com#ext#@codelcochile.onmicrosoft.com::9cf74694-5392-472f-a1fc-6533900a07f4" providerId="AD" clId="Web-{459E0F26-F9ED-758E-1574-A1091A3A467B}" dt="2021-04-15T15:26:01.225" v="89"/>
          <ac:picMkLst>
            <pc:docMk/>
            <pc:sldMk cId="977750085" sldId="469"/>
            <ac:picMk id="7" creationId="{CE8F41C1-E81C-44CF-A2E7-473829B3CD29}"/>
          </ac:picMkLst>
        </pc:picChg>
        <pc:picChg chg="add del mod">
          <ac:chgData name="Cecilia De Brun" userId="S::cecilia_de_brun_mckinsey.com#ext#@codelcochile.onmicrosoft.com::9cf74694-5392-472f-a1fc-6533900a07f4" providerId="AD" clId="Web-{459E0F26-F9ED-758E-1574-A1091A3A467B}" dt="2021-04-15T15:27:25.211" v="93"/>
          <ac:picMkLst>
            <pc:docMk/>
            <pc:sldMk cId="977750085" sldId="469"/>
            <ac:picMk id="8" creationId="{30651E5D-23C7-4056-AC69-A7D0B1EF414E}"/>
          </ac:picMkLst>
        </pc:picChg>
        <pc:picChg chg="add del mod">
          <ac:chgData name="Cecilia De Brun" userId="S::cecilia_de_brun_mckinsey.com#ext#@codelcochile.onmicrosoft.com::9cf74694-5392-472f-a1fc-6533900a07f4" providerId="AD" clId="Web-{459E0F26-F9ED-758E-1574-A1091A3A467B}" dt="2021-04-15T15:27:51.289" v="97"/>
          <ac:picMkLst>
            <pc:docMk/>
            <pc:sldMk cId="977750085" sldId="469"/>
            <ac:picMk id="9" creationId="{880C7E70-BB31-463A-8413-93E224BE7C23}"/>
          </ac:picMkLst>
        </pc:picChg>
      </pc:sldChg>
      <pc:sldChg chg="modSp">
        <pc:chgData name="Cecilia De Brun" userId="S::cecilia_de_brun_mckinsey.com#ext#@codelcochile.onmicrosoft.com::9cf74694-5392-472f-a1fc-6533900a07f4" providerId="AD" clId="Web-{459E0F26-F9ED-758E-1574-A1091A3A467B}" dt="2021-04-15T15:48:06.550" v="154" actId="20577"/>
        <pc:sldMkLst>
          <pc:docMk/>
          <pc:sldMk cId="3720476170" sldId="470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8:06.550" v="154" actId="20577"/>
          <ac:spMkLst>
            <pc:docMk/>
            <pc:sldMk cId="3720476170" sldId="470"/>
            <ac:spMk id="23" creationId="{600E4E35-763E-4B81-B795-D3AB27C431DF}"/>
          </ac:spMkLst>
        </pc:spChg>
      </pc:sldChg>
      <pc:sldChg chg="modSp">
        <pc:chgData name="Cecilia De Brun" userId="S::cecilia_de_brun_mckinsey.com#ext#@codelcochile.onmicrosoft.com::9cf74694-5392-472f-a1fc-6533900a07f4" providerId="AD" clId="Web-{459E0F26-F9ED-758E-1574-A1091A3A467B}" dt="2021-04-15T15:47:55.831" v="153" actId="20577"/>
        <pc:sldMkLst>
          <pc:docMk/>
          <pc:sldMk cId="2396319988" sldId="471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7:55.831" v="153" actId="20577"/>
          <ac:spMkLst>
            <pc:docMk/>
            <pc:sldMk cId="2396319988" sldId="471"/>
            <ac:spMk id="23" creationId="{600E4E35-763E-4B81-B795-D3AB27C431DF}"/>
          </ac:spMkLst>
        </pc:spChg>
      </pc:sldChg>
      <pc:sldChg chg="addSp delSp modSp add">
        <pc:chgData name="Cecilia De Brun" userId="S::cecilia_de_brun_mckinsey.com#ext#@codelcochile.onmicrosoft.com::9cf74694-5392-472f-a1fc-6533900a07f4" providerId="AD" clId="Web-{459E0F26-F9ED-758E-1574-A1091A3A467B}" dt="2021-04-15T15:52:25.493" v="169"/>
        <pc:sldMkLst>
          <pc:docMk/>
          <pc:sldMk cId="141198979" sldId="475"/>
        </pc:sldMkLst>
        <pc:picChg chg="add del mod modCrop">
          <ac:chgData name="Cecilia De Brun" userId="S::cecilia_de_brun_mckinsey.com#ext#@codelcochile.onmicrosoft.com::9cf74694-5392-472f-a1fc-6533900a07f4" providerId="AD" clId="Web-{459E0F26-F9ED-758E-1574-A1091A3A467B}" dt="2021-04-15T15:52:25.493" v="169"/>
          <ac:picMkLst>
            <pc:docMk/>
            <pc:sldMk cId="141198979" sldId="475"/>
            <ac:picMk id="3" creationId="{01EB8FE4-291F-4532-BDC0-3EADD9BACB02}"/>
          </ac:picMkLst>
        </pc:picChg>
      </pc:sldChg>
      <pc:sldChg chg="add del replId">
        <pc:chgData name="Cecilia De Brun" userId="S::cecilia_de_brun_mckinsey.com#ext#@codelcochile.onmicrosoft.com::9cf74694-5392-472f-a1fc-6533900a07f4" providerId="AD" clId="Web-{459E0F26-F9ED-758E-1574-A1091A3A467B}" dt="2021-04-15T15:37:11.114" v="100"/>
        <pc:sldMkLst>
          <pc:docMk/>
          <pc:sldMk cId="1738413053" sldId="475"/>
        </pc:sldMkLst>
      </pc:sldChg>
      <pc:sldChg chg="add del ord replId">
        <pc:chgData name="Cecilia De Brun" userId="S::cecilia_de_brun_mckinsey.com#ext#@codelcochile.onmicrosoft.com::9cf74694-5392-472f-a1fc-6533900a07f4" providerId="AD" clId="Web-{459E0F26-F9ED-758E-1574-A1091A3A467B}" dt="2021-04-15T15:45:38.172" v="143"/>
        <pc:sldMkLst>
          <pc:docMk/>
          <pc:sldMk cId="3055937494" sldId="476"/>
        </pc:sldMkLst>
      </pc:sldChg>
      <pc:sldChg chg="add del replId">
        <pc:chgData name="Cecilia De Brun" userId="S::cecilia_de_brun_mckinsey.com#ext#@codelcochile.onmicrosoft.com::9cf74694-5392-472f-a1fc-6533900a07f4" providerId="AD" clId="Web-{459E0F26-F9ED-758E-1574-A1091A3A467B}" dt="2021-04-15T15:40:30.103" v="109"/>
        <pc:sldMkLst>
          <pc:docMk/>
          <pc:sldMk cId="3019872169" sldId="481"/>
        </pc:sldMkLst>
      </pc:sldChg>
      <pc:sldChg chg="modSp add replId">
        <pc:chgData name="Cecilia De Brun" userId="S::cecilia_de_brun_mckinsey.com#ext#@codelcochile.onmicrosoft.com::9cf74694-5392-472f-a1fc-6533900a07f4" providerId="AD" clId="Web-{459E0F26-F9ED-758E-1574-A1091A3A467B}" dt="2021-04-15T15:47:38.206" v="150" actId="20577"/>
        <pc:sldMkLst>
          <pc:docMk/>
          <pc:sldMk cId="4120835215" sldId="481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1:04.041" v="116"/>
          <ac:spMkLst>
            <pc:docMk/>
            <pc:sldMk cId="4120835215" sldId="481"/>
            <ac:spMk id="17" creationId="{552090A5-F322-40DD-8355-465D65FAB046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0:58.682" v="115"/>
          <ac:spMkLst>
            <pc:docMk/>
            <pc:sldMk cId="4120835215" sldId="481"/>
            <ac:spMk id="18" creationId="{71192C79-FAE5-4BB2-8C6D-43A9BC271C9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7:38.206" v="150" actId="20577"/>
          <ac:spMkLst>
            <pc:docMk/>
            <pc:sldMk cId="4120835215" sldId="481"/>
            <ac:spMk id="23" creationId="{600E4E35-763E-4B81-B795-D3AB27C431D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0:49.713" v="112"/>
          <ac:spMkLst>
            <pc:docMk/>
            <pc:sldMk cId="4120835215" sldId="481"/>
            <ac:spMk id="47" creationId="{8AFED1E8-722F-4F9D-8B1C-DD0D8C1C324E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0:42.931" v="111"/>
          <ac:spMkLst>
            <pc:docMk/>
            <pc:sldMk cId="4120835215" sldId="481"/>
            <ac:spMk id="48" creationId="{62444E91-07F2-4258-A080-F0F76AFF8F81}"/>
          </ac:spMkLst>
        </pc:spChg>
      </pc:sldChg>
      <pc:sldChg chg="modSp add ord">
        <pc:chgData name="Cecilia De Brun" userId="S::cecilia_de_brun_mckinsey.com#ext#@codelcochile.onmicrosoft.com::9cf74694-5392-472f-a1fc-6533900a07f4" providerId="AD" clId="Web-{459E0F26-F9ED-758E-1574-A1091A3A467B}" dt="2021-04-15T15:43:07.638" v="134" actId="20577"/>
        <pc:sldMkLst>
          <pc:docMk/>
          <pc:sldMk cId="2912461427" sldId="485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3:07.638" v="134" actId="20577"/>
          <ac:spMkLst>
            <pc:docMk/>
            <pc:sldMk cId="2912461427" sldId="485"/>
            <ac:spMk id="2" creationId="{F0FCA981-E2A8-4A4A-ABD7-65B860A6E15F}"/>
          </ac:spMkLst>
        </pc:spChg>
      </pc:sldChg>
      <pc:sldChg chg="modSp add ord replId">
        <pc:chgData name="Cecilia De Brun" userId="S::cecilia_de_brun_mckinsey.com#ext#@codelcochile.onmicrosoft.com::9cf74694-5392-472f-a1fc-6533900a07f4" providerId="AD" clId="Web-{459E0F26-F9ED-758E-1574-A1091A3A467B}" dt="2021-04-15T15:47:01.033" v="149" actId="20577"/>
        <pc:sldMkLst>
          <pc:docMk/>
          <pc:sldMk cId="2817932794" sldId="486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3:40.451" v="136"/>
          <ac:spMkLst>
            <pc:docMk/>
            <pc:sldMk cId="2817932794" sldId="486"/>
            <ac:spMk id="3" creationId="{4248B998-1688-4898-9628-8FF1A9F36A28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3:53.092" v="138"/>
          <ac:spMkLst>
            <pc:docMk/>
            <pc:sldMk cId="2817932794" sldId="486"/>
            <ac:spMk id="4" creationId="{4E905CBF-F1FF-48C4-AF2B-075028B38C4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7:01.033" v="149" actId="20577"/>
          <ac:spMkLst>
            <pc:docMk/>
            <pc:sldMk cId="2817932794" sldId="486"/>
            <ac:spMk id="23" creationId="{600E4E35-763E-4B81-B795-D3AB27C431D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3:47.530" v="137"/>
          <ac:spMkLst>
            <pc:docMk/>
            <pc:sldMk cId="2817932794" sldId="486"/>
            <ac:spMk id="37" creationId="{6DE85956-0A08-4CC0-853E-4785B3580718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3:37.889" v="135"/>
          <ac:spMkLst>
            <pc:docMk/>
            <pc:sldMk cId="2817932794" sldId="486"/>
            <ac:spMk id="38" creationId="{E36C8C52-B31C-4588-B407-A9B8FBEAEE6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2:00.700" v="123"/>
          <ac:spMkLst>
            <pc:docMk/>
            <pc:sldMk cId="2817932794" sldId="486"/>
            <ac:spMk id="47" creationId="{8AFED1E8-722F-4F9D-8B1C-DD0D8C1C324E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2:14.841" v="124"/>
          <ac:spMkLst>
            <pc:docMk/>
            <pc:sldMk cId="2817932794" sldId="486"/>
            <ac:spMk id="48" creationId="{62444E91-07F2-4258-A080-F0F76AFF8F81}"/>
          </ac:spMkLst>
        </pc:spChg>
      </pc:sldChg>
      <pc:sldChg chg="modSp add replId">
        <pc:chgData name="Cecilia De Brun" userId="S::cecilia_de_brun_mckinsey.com#ext#@codelcochile.onmicrosoft.com::9cf74694-5392-472f-a1fc-6533900a07f4" providerId="AD" clId="Web-{459E0F26-F9ED-758E-1574-A1091A3A467B}" dt="2021-04-15T15:46:39.845" v="147" actId="20577"/>
        <pc:sldMkLst>
          <pc:docMk/>
          <pc:sldMk cId="4168263200" sldId="487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6:39.845" v="147" actId="20577"/>
          <ac:spMkLst>
            <pc:docMk/>
            <pc:sldMk cId="4168263200" sldId="487"/>
            <ac:spMk id="23" creationId="{600E4E35-763E-4B81-B795-D3AB27C431DF}"/>
          </ac:spMkLst>
        </pc:spChg>
      </pc:sldChg>
      <pc:sldChg chg="add replId">
        <pc:chgData name="Cecilia De Brun" userId="S::cecilia_de_brun_mckinsey.com#ext#@codelcochile.onmicrosoft.com::9cf74694-5392-472f-a1fc-6533900a07f4" providerId="AD" clId="Web-{459E0F26-F9ED-758E-1574-A1091A3A467B}" dt="2021-04-15T15:44:05.796" v="139"/>
        <pc:sldMkLst>
          <pc:docMk/>
          <pc:sldMk cId="2828386828" sldId="488"/>
        </pc:sldMkLst>
      </pc:sldChg>
      <pc:sldChg chg="modSp ord">
        <pc:chgData name="Cecilia De Brun" userId="S::cecilia_de_brun_mckinsey.com#ext#@codelcochile.onmicrosoft.com::9cf74694-5392-472f-a1fc-6533900a07f4" providerId="AD" clId="Web-{459E0F26-F9ED-758E-1574-A1091A3A467B}" dt="2021-04-15T15:46:33.736" v="146" actId="20577"/>
        <pc:sldMkLst>
          <pc:docMk/>
          <pc:sldMk cId="2828386828" sldId="490"/>
        </pc:sldMkLst>
        <pc:spChg chg="mod">
          <ac:chgData name="Cecilia De Brun" userId="S::cecilia_de_brun_mckinsey.com#ext#@codelcochile.onmicrosoft.com::9cf74694-5392-472f-a1fc-6533900a07f4" providerId="AD" clId="Web-{459E0F26-F9ED-758E-1574-A1091A3A467B}" dt="2021-04-15T15:45:25.891" v="142"/>
          <ac:spMkLst>
            <pc:docMk/>
            <pc:sldMk cId="2828386828" sldId="490"/>
            <ac:spMk id="3" creationId="{4248B998-1688-4898-9628-8FF1A9F36A28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5:52.048" v="144"/>
          <ac:spMkLst>
            <pc:docMk/>
            <pc:sldMk cId="2828386828" sldId="490"/>
            <ac:spMk id="4" creationId="{4E905CBF-F1FF-48C4-AF2B-075028B38C41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6:33.736" v="146" actId="20577"/>
          <ac:spMkLst>
            <pc:docMk/>
            <pc:sldMk cId="2828386828" sldId="490"/>
            <ac:spMk id="23" creationId="{600E4E35-763E-4B81-B795-D3AB27C431DF}"/>
          </ac:spMkLst>
        </pc:spChg>
        <pc:spChg chg="mod">
          <ac:chgData name="Cecilia De Brun" userId="S::cecilia_de_brun_mckinsey.com#ext#@codelcochile.onmicrosoft.com::9cf74694-5392-472f-a1fc-6533900a07f4" providerId="AD" clId="Web-{459E0F26-F9ED-758E-1574-A1091A3A467B}" dt="2021-04-15T15:45:10.172" v="140"/>
          <ac:spMkLst>
            <pc:docMk/>
            <pc:sldMk cId="2828386828" sldId="490"/>
            <ac:spMk id="24" creationId="{99091804-6602-4E77-B3DC-179EC9B09D1A}"/>
          </ac:spMkLst>
        </pc:spChg>
      </pc:sldChg>
      <pc:sldChg chg="addSp delSp modSp new">
        <pc:chgData name="Cecilia De Brun" userId="S::cecilia_de_brun_mckinsey.com#ext#@codelcochile.onmicrosoft.com::9cf74694-5392-472f-a1fc-6533900a07f4" providerId="AD" clId="Web-{459E0F26-F9ED-758E-1574-A1091A3A467B}" dt="2021-04-15T15:54:17.260" v="182" actId="1076"/>
        <pc:sldMkLst>
          <pc:docMk/>
          <pc:sldMk cId="1595313586" sldId="492"/>
        </pc:sldMkLst>
        <pc:picChg chg="add del mod">
          <ac:chgData name="Cecilia De Brun" userId="S::cecilia_de_brun_mckinsey.com#ext#@codelcochile.onmicrosoft.com::9cf74694-5392-472f-a1fc-6533900a07f4" providerId="AD" clId="Web-{459E0F26-F9ED-758E-1574-A1091A3A467B}" dt="2021-04-15T15:52:56.181" v="177"/>
          <ac:picMkLst>
            <pc:docMk/>
            <pc:sldMk cId="1595313586" sldId="492"/>
            <ac:picMk id="5" creationId="{3671D5B7-ED01-4D94-9C12-AF59C9CFBAB3}"/>
          </ac:picMkLst>
        </pc:picChg>
        <pc:picChg chg="add mod">
          <ac:chgData name="Cecilia De Brun" userId="S::cecilia_de_brun_mckinsey.com#ext#@codelcochile.onmicrosoft.com::9cf74694-5392-472f-a1fc-6533900a07f4" providerId="AD" clId="Web-{459E0F26-F9ED-758E-1574-A1091A3A467B}" dt="2021-04-15T15:54:17.260" v="182" actId="1076"/>
          <ac:picMkLst>
            <pc:docMk/>
            <pc:sldMk cId="1595313586" sldId="492"/>
            <ac:picMk id="6" creationId="{6E1E59D1-22B2-4B47-88BC-25A291AD30E3}"/>
          </ac:picMkLst>
        </pc:picChg>
      </pc:sldChg>
      <pc:sldMasterChg chg="add addSldLayout">
        <pc:chgData name="Cecilia De Brun" userId="S::cecilia_de_brun_mckinsey.com#ext#@codelcochile.onmicrosoft.com::9cf74694-5392-472f-a1fc-6533900a07f4" providerId="AD" clId="Web-{459E0F26-F9ED-758E-1574-A1091A3A467B}" dt="2021-04-15T15:37:54.397" v="101"/>
        <pc:sldMasterMkLst>
          <pc:docMk/>
          <pc:sldMasterMk cId="50010849" sldId="2147483823"/>
        </pc:sldMasterMkLst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2961657965" sldId="2147483824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2868421810" sldId="2147483825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215447353" sldId="2147483826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3029578895" sldId="2147483827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2625076176" sldId="2147483828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3205031458" sldId="2147483829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4057294787" sldId="2147483830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1084227259" sldId="2147483831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1773660203" sldId="2147483832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3974457323" sldId="2147483833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3926147926" sldId="2147483834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407049285" sldId="2147483835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2496232057" sldId="2147483836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4171965842" sldId="2147483837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459E0F26-F9ED-758E-1574-A1091A3A467B}" dt="2021-04-15T15:37:54.397" v="101"/>
          <pc:sldLayoutMkLst>
            <pc:docMk/>
            <pc:sldMasterMk cId="50010849" sldId="2147483823"/>
            <pc:sldLayoutMk cId="2426180034" sldId="2147483839"/>
          </pc:sldLayoutMkLst>
        </pc:sldLayoutChg>
      </pc:sldMasterChg>
    </pc:docChg>
  </pc:docChgLst>
  <pc:docChgLst>
    <pc:chgData name="Hasche Henriquez Juan (Codelco-Casa Matriz)" userId="S::jhasc001@codelco.cl::3c6fd06c-6148-4623-afa3-6f26df7f9780" providerId="AD" clId="Web-{94C52546-7986-3CCE-04A8-262CB3A0EBDF}"/>
    <pc:docChg chg="addSld delSld modSld">
      <pc:chgData name="Hasche Henriquez Juan (Codelco-Casa Matriz)" userId="S::jhasc001@codelco.cl::3c6fd06c-6148-4623-afa3-6f26df7f9780" providerId="AD" clId="Web-{94C52546-7986-3CCE-04A8-262CB3A0EBDF}" dt="2021-08-03T22:39:50.484" v="102" actId="14100"/>
      <pc:docMkLst>
        <pc:docMk/>
      </pc:docMkLst>
      <pc:sldChg chg="addSp delSp modSp del">
        <pc:chgData name="Hasche Henriquez Juan (Codelco-Casa Matriz)" userId="S::jhasc001@codelco.cl::3c6fd06c-6148-4623-afa3-6f26df7f9780" providerId="AD" clId="Web-{94C52546-7986-3CCE-04A8-262CB3A0EBDF}" dt="2021-08-03T22:36:45.915" v="95"/>
        <pc:sldMkLst>
          <pc:docMk/>
          <pc:sldMk cId="2841064022" sldId="574"/>
        </pc:sldMkLst>
        <pc:spChg chg="mod">
          <ac:chgData name="Hasche Henriquez Juan (Codelco-Casa Matriz)" userId="S::jhasc001@codelco.cl::3c6fd06c-6148-4623-afa3-6f26df7f9780" providerId="AD" clId="Web-{94C52546-7986-3CCE-04A8-262CB3A0EBDF}" dt="2021-08-03T22:24:04.091" v="19" actId="1076"/>
          <ac:spMkLst>
            <pc:docMk/>
            <pc:sldMk cId="2841064022" sldId="574"/>
            <ac:spMk id="34" creationId="{9200A2D8-112F-4986-BF50-9F79AE25EBC1}"/>
          </ac:spMkLst>
        </pc:spChg>
        <pc:spChg chg="mod">
          <ac:chgData name="Hasche Henriquez Juan (Codelco-Casa Matriz)" userId="S::jhasc001@codelco.cl::3c6fd06c-6148-4623-afa3-6f26df7f9780" providerId="AD" clId="Web-{94C52546-7986-3CCE-04A8-262CB3A0EBDF}" dt="2021-08-03T22:26:06.814" v="37" actId="20577"/>
          <ac:spMkLst>
            <pc:docMk/>
            <pc:sldMk cId="2841064022" sldId="574"/>
            <ac:spMk id="36" creationId="{321511AB-4CF8-42D6-B6DB-580207D158FE}"/>
          </ac:spMkLst>
        </pc:spChg>
        <pc:picChg chg="add del mod">
          <ac:chgData name="Hasche Henriquez Juan (Codelco-Casa Matriz)" userId="S::jhasc001@codelco.cl::3c6fd06c-6148-4623-afa3-6f26df7f9780" providerId="AD" clId="Web-{94C52546-7986-3CCE-04A8-262CB3A0EBDF}" dt="2021-08-03T22:19:32.394" v="8"/>
          <ac:picMkLst>
            <pc:docMk/>
            <pc:sldMk cId="2841064022" sldId="574"/>
            <ac:picMk id="5" creationId="{7AAEF492-6344-4932-A1CD-71F19134C5FC}"/>
          </ac:picMkLst>
        </pc:picChg>
        <pc:picChg chg="add mod">
          <ac:chgData name="Hasche Henriquez Juan (Codelco-Casa Matriz)" userId="S::jhasc001@codelco.cl::3c6fd06c-6148-4623-afa3-6f26df7f9780" providerId="AD" clId="Web-{94C52546-7986-3CCE-04A8-262CB3A0EBDF}" dt="2021-08-03T22:26:24.393" v="39" actId="1076"/>
          <ac:picMkLst>
            <pc:docMk/>
            <pc:sldMk cId="2841064022" sldId="574"/>
            <ac:picMk id="6" creationId="{76F68537-04D0-4501-BF92-AEDEF2C7C693}"/>
          </ac:picMkLst>
        </pc:picChg>
        <pc:picChg chg="add mod">
          <ac:chgData name="Hasche Henriquez Juan (Codelco-Casa Matriz)" userId="S::jhasc001@codelco.cl::3c6fd06c-6148-4623-afa3-6f26df7f9780" providerId="AD" clId="Web-{94C52546-7986-3CCE-04A8-262CB3A0EBDF}" dt="2021-08-03T22:25:26.375" v="29" actId="1076"/>
          <ac:picMkLst>
            <pc:docMk/>
            <pc:sldMk cId="2841064022" sldId="574"/>
            <ac:picMk id="7" creationId="{1D3E2D04-1725-48D5-A55E-373DE63DA888}"/>
          </ac:picMkLst>
        </pc:picChg>
        <pc:picChg chg="add mod">
          <ac:chgData name="Hasche Henriquez Juan (Codelco-Casa Matriz)" userId="S::jhasc001@codelco.cl::3c6fd06c-6148-4623-afa3-6f26df7f9780" providerId="AD" clId="Web-{94C52546-7986-3CCE-04A8-262CB3A0EBDF}" dt="2021-08-03T22:26:16.845" v="38" actId="14100"/>
          <ac:picMkLst>
            <pc:docMk/>
            <pc:sldMk cId="2841064022" sldId="574"/>
            <ac:picMk id="8" creationId="{8508A505-19C3-42B3-BF22-9EBFC8E56225}"/>
          </ac:picMkLst>
        </pc:picChg>
        <pc:picChg chg="del mod">
          <ac:chgData name="Hasche Henriquez Juan (Codelco-Casa Matriz)" userId="S::jhasc001@codelco.cl::3c6fd06c-6148-4623-afa3-6f26df7f9780" providerId="AD" clId="Web-{94C52546-7986-3CCE-04A8-262CB3A0EBDF}" dt="2021-08-03T22:00:17.337" v="5"/>
          <ac:picMkLst>
            <pc:docMk/>
            <pc:sldMk cId="2841064022" sldId="574"/>
            <ac:picMk id="33" creationId="{C687BE6A-74C9-469C-A0DB-EF7C81FE7F87}"/>
          </ac:picMkLst>
        </pc:picChg>
      </pc:sldChg>
      <pc:sldChg chg="addSp delSp modSp add replId">
        <pc:chgData name="Hasche Henriquez Juan (Codelco-Casa Matriz)" userId="S::jhasc001@codelco.cl::3c6fd06c-6148-4623-afa3-6f26df7f9780" providerId="AD" clId="Web-{94C52546-7986-3CCE-04A8-262CB3A0EBDF}" dt="2021-08-03T22:39:50.484" v="102" actId="14100"/>
        <pc:sldMkLst>
          <pc:docMk/>
          <pc:sldMk cId="3701603334" sldId="577"/>
        </pc:sldMkLst>
        <pc:spChg chg="add mod">
          <ac:chgData name="Hasche Henriquez Juan (Codelco-Casa Matriz)" userId="S::jhasc001@codelco.cl::3c6fd06c-6148-4623-afa3-6f26df7f9780" providerId="AD" clId="Web-{94C52546-7986-3CCE-04A8-262CB3A0EBDF}" dt="2021-08-03T22:39:50.484" v="102" actId="14100"/>
          <ac:spMkLst>
            <pc:docMk/>
            <pc:sldMk cId="3701603334" sldId="577"/>
            <ac:spMk id="13" creationId="{38B4F83D-620C-4790-A531-BE47656B0812}"/>
          </ac:spMkLst>
        </pc:spChg>
        <pc:spChg chg="mod">
          <ac:chgData name="Hasche Henriquez Juan (Codelco-Casa Matriz)" userId="S::jhasc001@codelco.cl::3c6fd06c-6148-4623-afa3-6f26df7f9780" providerId="AD" clId="Web-{94C52546-7986-3CCE-04A8-262CB3A0EBDF}" dt="2021-08-03T22:32:04.217" v="65" actId="1076"/>
          <ac:spMkLst>
            <pc:docMk/>
            <pc:sldMk cId="3701603334" sldId="577"/>
            <ac:spMk id="14" creationId="{8131C964-2013-4D94-858E-75338C17C907}"/>
          </ac:spMkLst>
        </pc:spChg>
        <pc:spChg chg="mod">
          <ac:chgData name="Hasche Henriquez Juan (Codelco-Casa Matriz)" userId="S::jhasc001@codelco.cl::3c6fd06c-6148-4623-afa3-6f26df7f9780" providerId="AD" clId="Web-{94C52546-7986-3CCE-04A8-262CB3A0EBDF}" dt="2021-08-03T22:34:47.817" v="89" actId="1076"/>
          <ac:spMkLst>
            <pc:docMk/>
            <pc:sldMk cId="3701603334" sldId="577"/>
            <ac:spMk id="16" creationId="{844EC8F6-9393-4DA0-A9A6-6D4FD4107F88}"/>
          </ac:spMkLst>
        </pc:spChg>
        <pc:spChg chg="add mod">
          <ac:chgData name="Hasche Henriquez Juan (Codelco-Casa Matriz)" userId="S::jhasc001@codelco.cl::3c6fd06c-6148-4623-afa3-6f26df7f9780" providerId="AD" clId="Web-{94C52546-7986-3CCE-04A8-262CB3A0EBDF}" dt="2021-08-03T22:35:21.365" v="94" actId="14100"/>
          <ac:spMkLst>
            <pc:docMk/>
            <pc:sldMk cId="3701603334" sldId="577"/>
            <ac:spMk id="17" creationId="{3C3C65EC-2B5B-45AE-9A7B-2C6F1C85C8D9}"/>
          </ac:spMkLst>
        </pc:spChg>
        <pc:spChg chg="del">
          <ac:chgData name="Hasche Henriquez Juan (Codelco-Casa Matriz)" userId="S::jhasc001@codelco.cl::3c6fd06c-6148-4623-afa3-6f26df7f9780" providerId="AD" clId="Web-{94C52546-7986-3CCE-04A8-262CB3A0EBDF}" dt="2021-08-03T22:29:42.634" v="45"/>
          <ac:spMkLst>
            <pc:docMk/>
            <pc:sldMk cId="3701603334" sldId="577"/>
            <ac:spMk id="34" creationId="{9200A2D8-112F-4986-BF50-9F79AE25EBC1}"/>
          </ac:spMkLst>
        </pc:spChg>
        <pc:spChg chg="del">
          <ac:chgData name="Hasche Henriquez Juan (Codelco-Casa Matriz)" userId="S::jhasc001@codelco.cl::3c6fd06c-6148-4623-afa3-6f26df7f9780" providerId="AD" clId="Web-{94C52546-7986-3CCE-04A8-262CB3A0EBDF}" dt="2021-08-03T22:29:39.024" v="44"/>
          <ac:spMkLst>
            <pc:docMk/>
            <pc:sldMk cId="3701603334" sldId="577"/>
            <ac:spMk id="36" creationId="{321511AB-4CF8-42D6-B6DB-580207D158FE}"/>
          </ac:spMkLst>
        </pc:spChg>
        <pc:picChg chg="add mod">
          <ac:chgData name="Hasche Henriquez Juan (Codelco-Casa Matriz)" userId="S::jhasc001@codelco.cl::3c6fd06c-6148-4623-afa3-6f26df7f9780" providerId="AD" clId="Web-{94C52546-7986-3CCE-04A8-262CB3A0EBDF}" dt="2021-08-03T22:34:16.644" v="88" actId="1076"/>
          <ac:picMkLst>
            <pc:docMk/>
            <pc:sldMk cId="3701603334" sldId="577"/>
            <ac:picMk id="5" creationId="{40E9460C-FA06-43C4-B7EE-DC00D07E1100}"/>
          </ac:picMkLst>
        </pc:picChg>
        <pc:picChg chg="del">
          <ac:chgData name="Hasche Henriquez Juan (Codelco-Casa Matriz)" userId="S::jhasc001@codelco.cl::3c6fd06c-6148-4623-afa3-6f26df7f9780" providerId="AD" clId="Web-{94C52546-7986-3CCE-04A8-262CB3A0EBDF}" dt="2021-08-03T22:29:33.571" v="43"/>
          <ac:picMkLst>
            <pc:docMk/>
            <pc:sldMk cId="3701603334" sldId="577"/>
            <ac:picMk id="6" creationId="{76F68537-04D0-4501-BF92-AEDEF2C7C693}"/>
          </ac:picMkLst>
        </pc:picChg>
        <pc:picChg chg="del">
          <ac:chgData name="Hasche Henriquez Juan (Codelco-Casa Matriz)" userId="S::jhasc001@codelco.cl::3c6fd06c-6148-4623-afa3-6f26df7f9780" providerId="AD" clId="Web-{94C52546-7986-3CCE-04A8-262CB3A0EBDF}" dt="2021-08-03T22:29:29.368" v="41"/>
          <ac:picMkLst>
            <pc:docMk/>
            <pc:sldMk cId="3701603334" sldId="577"/>
            <ac:picMk id="7" creationId="{1D3E2D04-1725-48D5-A55E-373DE63DA888}"/>
          </ac:picMkLst>
        </pc:picChg>
        <pc:picChg chg="del">
          <ac:chgData name="Hasche Henriquez Juan (Codelco-Casa Matriz)" userId="S::jhasc001@codelco.cl::3c6fd06c-6148-4623-afa3-6f26df7f9780" providerId="AD" clId="Web-{94C52546-7986-3CCE-04A8-262CB3A0EBDF}" dt="2021-08-03T22:29:33.493" v="42"/>
          <ac:picMkLst>
            <pc:docMk/>
            <pc:sldMk cId="3701603334" sldId="577"/>
            <ac:picMk id="8" creationId="{8508A505-19C3-42B3-BF22-9EBFC8E56225}"/>
          </ac:picMkLst>
        </pc:picChg>
        <pc:picChg chg="add mod">
          <ac:chgData name="Hasche Henriquez Juan (Codelco-Casa Matriz)" userId="S::jhasc001@codelco.cl::3c6fd06c-6148-4623-afa3-6f26df7f9780" providerId="AD" clId="Web-{94C52546-7986-3CCE-04A8-262CB3A0EBDF}" dt="2021-08-03T22:33:36.549" v="78" actId="1076"/>
          <ac:picMkLst>
            <pc:docMk/>
            <pc:sldMk cId="3701603334" sldId="577"/>
            <ac:picMk id="10" creationId="{E44F8134-DC91-42D2-9854-F2482F568EB1}"/>
          </ac:picMkLst>
        </pc:picChg>
        <pc:picChg chg="add mod">
          <ac:chgData name="Hasche Henriquez Juan (Codelco-Casa Matriz)" userId="S::jhasc001@codelco.cl::3c6fd06c-6148-4623-afa3-6f26df7f9780" providerId="AD" clId="Web-{94C52546-7986-3CCE-04A8-262CB3A0EBDF}" dt="2021-08-03T22:33:54.065" v="84" actId="1076"/>
          <ac:picMkLst>
            <pc:docMk/>
            <pc:sldMk cId="3701603334" sldId="577"/>
            <ac:picMk id="11" creationId="{8635E531-C719-4374-A4B1-75D649985E5C}"/>
          </ac:picMkLst>
        </pc:picChg>
        <pc:cxnChg chg="add mod">
          <ac:chgData name="Hasche Henriquez Juan (Codelco-Casa Matriz)" userId="S::jhasc001@codelco.cl::3c6fd06c-6148-4623-afa3-6f26df7f9780" providerId="AD" clId="Web-{94C52546-7986-3CCE-04A8-262CB3A0EBDF}" dt="2021-08-03T22:33:40.752" v="79" actId="1076"/>
          <ac:cxnSpMkLst>
            <pc:docMk/>
            <pc:sldMk cId="3701603334" sldId="577"/>
            <ac:cxnSpMk id="9" creationId="{C0746B1F-DAB2-462C-915B-0B3349CDCE02}"/>
          </ac:cxnSpMkLst>
        </pc:cxnChg>
        <pc:cxnChg chg="del">
          <ac:chgData name="Hasche Henriquez Juan (Codelco-Casa Matriz)" userId="S::jhasc001@codelco.cl::3c6fd06c-6148-4623-afa3-6f26df7f9780" providerId="AD" clId="Web-{94C52546-7986-3CCE-04A8-262CB3A0EBDF}" dt="2021-08-03T22:29:47.009" v="46"/>
          <ac:cxnSpMkLst>
            <pc:docMk/>
            <pc:sldMk cId="3701603334" sldId="577"/>
            <ac:cxnSpMk id="12" creationId="{D8D5F0DB-C3BB-46E5-8D48-A66AEAD00C10}"/>
          </ac:cxnSpMkLst>
        </pc:cxnChg>
      </pc:sldChg>
    </pc:docChg>
  </pc:docChgLst>
  <pc:docChgLst>
    <pc:chgData name="Delpino Corrales Esteban (Codelco-Casa Matriz)" userId="S::edelp001@codelco.cl::ff2471f2-e58a-4f56-9381-412d9482f71d" providerId="AD" clId="Web-{BCF582AD-D4F4-4614-AC4F-B4D1A118FF05}"/>
    <pc:docChg chg="modSld">
      <pc:chgData name="Delpino Corrales Esteban (Codelco-Casa Matriz)" userId="S::edelp001@codelco.cl::ff2471f2-e58a-4f56-9381-412d9482f71d" providerId="AD" clId="Web-{BCF582AD-D4F4-4614-AC4F-B4D1A118FF05}" dt="2021-10-07T13:55:15.997" v="12" actId="20577"/>
      <pc:docMkLst>
        <pc:docMk/>
      </pc:docMkLst>
      <pc:sldChg chg="modSp">
        <pc:chgData name="Delpino Corrales Esteban (Codelco-Casa Matriz)" userId="S::edelp001@codelco.cl::ff2471f2-e58a-4f56-9381-412d9482f71d" providerId="AD" clId="Web-{BCF582AD-D4F4-4614-AC4F-B4D1A118FF05}" dt="2021-10-07T13:55:15.997" v="12" actId="20577"/>
        <pc:sldMkLst>
          <pc:docMk/>
          <pc:sldMk cId="2159727526" sldId="603"/>
        </pc:sldMkLst>
        <pc:spChg chg="mod">
          <ac:chgData name="Delpino Corrales Esteban (Codelco-Casa Matriz)" userId="S::edelp001@codelco.cl::ff2471f2-e58a-4f56-9381-412d9482f71d" providerId="AD" clId="Web-{BCF582AD-D4F4-4614-AC4F-B4D1A118FF05}" dt="2021-10-07T13:55:15.997" v="12" actId="20577"/>
          <ac:spMkLst>
            <pc:docMk/>
            <pc:sldMk cId="2159727526" sldId="603"/>
            <ac:spMk id="7" creationId="{21C0CFEC-5EF5-495A-A9F0-0591C4096B41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25EC5BC3-7649-D960-4B49-447B749FA212}"/>
    <pc:docChg chg="modSld">
      <pc:chgData name="Mery Carrasco Mauricio (Codelco-Casa Matriz)" userId="S::mmery004@codelco.cl::a0378191-74de-4d59-9b37-aa421303daba" providerId="AD" clId="Web-{25EC5BC3-7649-D960-4B49-447B749FA212}" dt="2021-05-05T23:40:15.264" v="8" actId="20577"/>
      <pc:docMkLst>
        <pc:docMk/>
      </pc:docMkLst>
      <pc:sldChg chg="modSp">
        <pc:chgData name="Mery Carrasco Mauricio (Codelco-Casa Matriz)" userId="S::mmery004@codelco.cl::a0378191-74de-4d59-9b37-aa421303daba" providerId="AD" clId="Web-{25EC5BC3-7649-D960-4B49-447B749FA212}" dt="2021-05-05T23:40:15.264" v="8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25EC5BC3-7649-D960-4B49-447B749FA212}" dt="2021-05-05T23:40:15.264" v="8" actId="20577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5EC5BC3-7649-D960-4B49-447B749FA212}" dt="2021-05-05T23:39:53.935" v="6" actId="14100"/>
          <ac:spMkLst>
            <pc:docMk/>
            <pc:sldMk cId="2155997825" sldId="375"/>
            <ac:spMk id="45" creationId="{5CF579C1-133B-4D95-88C4-B4F3C77226AF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0876DA77-46F6-61D9-42CD-EE01FF34D428}"/>
    <pc:docChg chg="addSld addMainMaster modMainMaster">
      <pc:chgData name="Allende Bustamante Jose (Codelco-Casa Matriz)" userId="S::jalle011@codelco.cl::54345eee-8770-43bf-b080-e3e333067d62" providerId="AD" clId="Web-{0876DA77-46F6-61D9-42CD-EE01FF34D428}" dt="2021-04-15T15:43:19.376" v="1"/>
      <pc:docMkLst>
        <pc:docMk/>
      </pc:docMkLst>
      <pc:sldChg chg="add">
        <pc:chgData name="Allende Bustamante Jose (Codelco-Casa Matriz)" userId="S::jalle011@codelco.cl::54345eee-8770-43bf-b080-e3e333067d62" providerId="AD" clId="Web-{0876DA77-46F6-61D9-42CD-EE01FF34D428}" dt="2021-04-15T15:43:19.204" v="0"/>
        <pc:sldMkLst>
          <pc:docMk/>
          <pc:sldMk cId="380446219" sldId="485"/>
        </pc:sldMkLst>
      </pc:sldChg>
      <pc:sldChg chg="add">
        <pc:chgData name="Allende Bustamante Jose (Codelco-Casa Matriz)" userId="S::jalle011@codelco.cl::54345eee-8770-43bf-b080-e3e333067d62" providerId="AD" clId="Web-{0876DA77-46F6-61D9-42CD-EE01FF34D428}" dt="2021-04-15T15:43:19.376" v="1"/>
        <pc:sldMkLst>
          <pc:docMk/>
          <pc:sldMk cId="2573296503" sldId="486"/>
        </pc:sldMkLst>
      </pc:sldChg>
      <pc:sldMasterChg chg="add addSldLayout">
        <pc:chgData name="Allende Bustamante Jose (Codelco-Casa Matriz)" userId="S::jalle011@codelco.cl::54345eee-8770-43bf-b080-e3e333067d62" providerId="AD" clId="Web-{0876DA77-46F6-61D9-42CD-EE01FF34D428}" dt="2021-04-15T15:43:19.204" v="0"/>
        <pc:sldMasterMkLst>
          <pc:docMk/>
          <pc:sldMasterMk cId="3858934195" sldId="2147483712"/>
        </pc:sldMasterMkLst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972364288" sldId="2147483713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758611699" sldId="2147483714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1950299311" sldId="2147483715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1821552761" sldId="2147483716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207617756" sldId="2147483717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768076680" sldId="2147483718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837723180" sldId="2147483719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969249048" sldId="2147483720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977461137" sldId="2147483721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563318486" sldId="2147483722"/>
          </pc:sldLayoutMkLst>
        </pc:sldLayoutChg>
        <pc:sldLayoutChg chg="ad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3858934195" sldId="2147483712"/>
            <pc:sldLayoutMk cId="287898340" sldId="2147483723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0876DA77-46F6-61D9-42CD-EE01FF34D428}" dt="2021-04-15T15:43:19.204" v="0"/>
        <pc:sldMasterMkLst>
          <pc:docMk/>
          <pc:sldMasterMk cId="2969229741" sldId="2147484423"/>
        </pc:sldMasterMkLst>
        <pc:sldLayoutChg chg="replId">
          <pc:chgData name="Allende Bustamante Jose (Codelco-Casa Matriz)" userId="S::jalle011@codelco.cl::54345eee-8770-43bf-b080-e3e333067d62" providerId="AD" clId="Web-{0876DA77-46F6-61D9-42CD-EE01FF34D428}" dt="2021-04-15T15:43:19.204" v="0"/>
          <pc:sldLayoutMkLst>
            <pc:docMk/>
            <pc:sldMasterMk cId="2969229741" sldId="2147484423"/>
            <pc:sldLayoutMk cId="466470504" sldId="2147484382"/>
          </pc:sldLayoutMkLst>
        </pc:sldLayoutChg>
      </pc:sldMasterChg>
    </pc:docChg>
  </pc:docChgLst>
  <pc:docChgLst>
    <pc:chgData name="Hasche Henriquez Juan (Codelco-Casa Matriz)" userId="S::jhasc001@codelco.cl::3c6fd06c-6148-4623-afa3-6f26df7f9780" providerId="AD" clId="Web-{68D6929C-F30A-1D2B-2225-45A6091FD69B}"/>
    <pc:docChg chg="addSld modSld">
      <pc:chgData name="Hasche Henriquez Juan (Codelco-Casa Matriz)" userId="S::jhasc001@codelco.cl::3c6fd06c-6148-4623-afa3-6f26df7f9780" providerId="AD" clId="Web-{68D6929C-F30A-1D2B-2225-45A6091FD69B}" dt="2021-08-03T21:44:04.505" v="199" actId="1076"/>
      <pc:docMkLst>
        <pc:docMk/>
      </pc:docMkLst>
      <pc:sldChg chg="add replId">
        <pc:chgData name="Hasche Henriquez Juan (Codelco-Casa Matriz)" userId="S::jhasc001@codelco.cl::3c6fd06c-6148-4623-afa3-6f26df7f9780" providerId="AD" clId="Web-{68D6929C-F30A-1D2B-2225-45A6091FD69B}" dt="2021-08-03T21:26:06.565" v="0"/>
        <pc:sldMkLst>
          <pc:docMk/>
          <pc:sldMk cId="964809338" sldId="572"/>
        </pc:sldMkLst>
      </pc:sldChg>
      <pc:sldChg chg="add replId">
        <pc:chgData name="Hasche Henriquez Juan (Codelco-Casa Matriz)" userId="S::jhasc001@codelco.cl::3c6fd06c-6148-4623-afa3-6f26df7f9780" providerId="AD" clId="Web-{68D6929C-F30A-1D2B-2225-45A6091FD69B}" dt="2021-08-03T21:26:12.753" v="1"/>
        <pc:sldMkLst>
          <pc:docMk/>
          <pc:sldMk cId="468501856" sldId="573"/>
        </pc:sldMkLst>
      </pc:sldChg>
      <pc:sldChg chg="addSp delSp modSp add replId">
        <pc:chgData name="Hasche Henriquez Juan (Codelco-Casa Matriz)" userId="S::jhasc001@codelco.cl::3c6fd06c-6148-4623-afa3-6f26df7f9780" providerId="AD" clId="Web-{68D6929C-F30A-1D2B-2225-45A6091FD69B}" dt="2021-08-03T21:44:04.505" v="199" actId="1076"/>
        <pc:sldMkLst>
          <pc:docMk/>
          <pc:sldMk cId="2841064022" sldId="574"/>
        </pc:sldMkLst>
        <pc:spChg chg="mod">
          <ac:chgData name="Hasche Henriquez Juan (Codelco-Casa Matriz)" userId="S::jhasc001@codelco.cl::3c6fd06c-6148-4623-afa3-6f26df7f9780" providerId="AD" clId="Web-{68D6929C-F30A-1D2B-2225-45A6091FD69B}" dt="2021-08-03T21:27:06.022" v="27" actId="20577"/>
          <ac:spMkLst>
            <pc:docMk/>
            <pc:sldMk cId="2841064022" sldId="574"/>
            <ac:spMk id="2" creationId="{595D8838-B65C-4C27-A946-FCFF32FE8E92}"/>
          </ac:spMkLst>
        </pc:spChg>
        <pc:spChg chg="add del">
          <ac:chgData name="Hasche Henriquez Juan (Codelco-Casa Matriz)" userId="S::jhasc001@codelco.cl::3c6fd06c-6148-4623-afa3-6f26df7f9780" providerId="AD" clId="Web-{68D6929C-F30A-1D2B-2225-45A6091FD69B}" dt="2021-08-03T21:28:30.464" v="71"/>
          <ac:spMkLst>
            <pc:docMk/>
            <pc:sldMk cId="2841064022" sldId="574"/>
            <ac:spMk id="6" creationId="{C3E53C33-F91F-4221-B122-74562ECDB2A2}"/>
          </ac:spMkLst>
        </pc:spChg>
        <pc:spChg chg="add del">
          <ac:chgData name="Hasche Henriquez Juan (Codelco-Casa Matriz)" userId="S::jhasc001@codelco.cl::3c6fd06c-6148-4623-afa3-6f26df7f9780" providerId="AD" clId="Web-{68D6929C-F30A-1D2B-2225-45A6091FD69B}" dt="2021-08-03T21:28:39.965" v="76"/>
          <ac:spMkLst>
            <pc:docMk/>
            <pc:sldMk cId="2841064022" sldId="574"/>
            <ac:spMk id="8" creationId="{691D9B9F-DDC1-4449-8840-2A4D0E696A6F}"/>
          </ac:spMkLst>
        </pc:spChg>
        <pc:spChg chg="add mod">
          <ac:chgData name="Hasche Henriquez Juan (Codelco-Casa Matriz)" userId="S::jhasc001@codelco.cl::3c6fd06c-6148-4623-afa3-6f26df7f9780" providerId="AD" clId="Web-{68D6929C-F30A-1D2B-2225-45A6091FD69B}" dt="2021-08-03T21:28:25.886" v="70" actId="20577"/>
          <ac:spMkLst>
            <pc:docMk/>
            <pc:sldMk cId="2841064022" sldId="574"/>
            <ac:spMk id="14" creationId="{8131C964-2013-4D94-858E-75338C17C907}"/>
          </ac:spMkLst>
        </pc:spChg>
        <pc:spChg chg="add mod">
          <ac:chgData name="Hasche Henriquez Juan (Codelco-Casa Matriz)" userId="S::jhasc001@codelco.cl::3c6fd06c-6148-4623-afa3-6f26df7f9780" providerId="AD" clId="Web-{68D6929C-F30A-1D2B-2225-45A6091FD69B}" dt="2021-08-03T21:28:20.511" v="68" actId="20577"/>
          <ac:spMkLst>
            <pc:docMk/>
            <pc:sldMk cId="2841064022" sldId="574"/>
            <ac:spMk id="16" creationId="{844EC8F6-9393-4DA0-A9A6-6D4FD4107F88}"/>
          </ac:spMkLst>
        </pc:spChg>
        <pc:spChg chg="add del">
          <ac:chgData name="Hasche Henriquez Juan (Codelco-Casa Matriz)" userId="S::jhasc001@codelco.cl::3c6fd06c-6148-4623-afa3-6f26df7f9780" providerId="AD" clId="Web-{68D6929C-F30A-1D2B-2225-45A6091FD69B}" dt="2021-08-03T21:27:24.757" v="48"/>
          <ac:spMkLst>
            <pc:docMk/>
            <pc:sldMk cId="2841064022" sldId="574"/>
            <ac:spMk id="20" creationId="{CF0DB542-D0E7-4BFB-B29F-2452F9E3A2DD}"/>
          </ac:spMkLst>
        </pc:spChg>
        <pc:spChg chg="add del">
          <ac:chgData name="Hasche Henriquez Juan (Codelco-Casa Matriz)" userId="S::jhasc001@codelco.cl::3c6fd06c-6148-4623-afa3-6f26df7f9780" providerId="AD" clId="Web-{68D6929C-F30A-1D2B-2225-45A6091FD69B}" dt="2021-08-03T21:27:24.757" v="47"/>
          <ac:spMkLst>
            <pc:docMk/>
            <pc:sldMk cId="2841064022" sldId="574"/>
            <ac:spMk id="22" creationId="{623C584E-D372-4AAF-8446-59F1E9A257EA}"/>
          </ac:spMkLst>
        </pc:spChg>
        <pc:spChg chg="add del">
          <ac:chgData name="Hasche Henriquez Juan (Codelco-Casa Matriz)" userId="S::jhasc001@codelco.cl::3c6fd06c-6148-4623-afa3-6f26df7f9780" providerId="AD" clId="Web-{68D6929C-F30A-1D2B-2225-45A6091FD69B}" dt="2021-08-03T21:27:24.757" v="44"/>
          <ac:spMkLst>
            <pc:docMk/>
            <pc:sldMk cId="2841064022" sldId="574"/>
            <ac:spMk id="28" creationId="{FC24E962-E0EE-445E-B739-13C04F08B69D}"/>
          </ac:spMkLst>
        </pc:spChg>
        <pc:spChg chg="add del">
          <ac:chgData name="Hasche Henriquez Juan (Codelco-Casa Matriz)" userId="S::jhasc001@codelco.cl::3c6fd06c-6148-4623-afa3-6f26df7f9780" providerId="AD" clId="Web-{68D6929C-F30A-1D2B-2225-45A6091FD69B}" dt="2021-08-03T21:27:24.757" v="43"/>
          <ac:spMkLst>
            <pc:docMk/>
            <pc:sldMk cId="2841064022" sldId="574"/>
            <ac:spMk id="30" creationId="{8943F4A0-2F47-4E57-B68F-B361C61CF6DE}"/>
          </ac:spMkLst>
        </pc:spChg>
        <pc:spChg chg="add mod">
          <ac:chgData name="Hasche Henriquez Juan (Codelco-Casa Matriz)" userId="S::jhasc001@codelco.cl::3c6fd06c-6148-4623-afa3-6f26df7f9780" providerId="AD" clId="Web-{68D6929C-F30A-1D2B-2225-45A6091FD69B}" dt="2021-08-03T21:43:59.411" v="198" actId="14100"/>
          <ac:spMkLst>
            <pc:docMk/>
            <pc:sldMk cId="2841064022" sldId="574"/>
            <ac:spMk id="34" creationId="{9200A2D8-112F-4986-BF50-9F79AE25EBC1}"/>
          </ac:spMkLst>
        </pc:spChg>
        <pc:spChg chg="add mod">
          <ac:chgData name="Hasche Henriquez Juan (Codelco-Casa Matriz)" userId="S::jhasc001@codelco.cl::3c6fd06c-6148-4623-afa3-6f26df7f9780" providerId="AD" clId="Web-{68D6929C-F30A-1D2B-2225-45A6091FD69B}" dt="2021-08-03T21:43:18.565" v="189" actId="20577"/>
          <ac:spMkLst>
            <pc:docMk/>
            <pc:sldMk cId="2841064022" sldId="574"/>
            <ac:spMk id="36" creationId="{321511AB-4CF8-42D6-B6DB-580207D158FE}"/>
          </ac:spMkLst>
        </pc:spChg>
        <pc:graphicFrameChg chg="add del mod modGraphic">
          <ac:chgData name="Hasche Henriquez Juan (Codelco-Casa Matriz)" userId="S::jhasc001@codelco.cl::3c6fd06c-6148-4623-afa3-6f26df7f9780" providerId="AD" clId="Web-{68D6929C-F30A-1D2B-2225-45A6091FD69B}" dt="2021-08-03T21:28:35.183" v="75"/>
          <ac:graphicFrameMkLst>
            <pc:docMk/>
            <pc:sldMk cId="2841064022" sldId="574"/>
            <ac:graphicFrameMk id="18" creationId="{922A1C6B-4E0B-4939-84EF-6053642FA52D}"/>
          </ac:graphicFrameMkLst>
        </pc:graphicFrameChg>
        <pc:graphicFrameChg chg="add del">
          <ac:chgData name="Hasche Henriquez Juan (Codelco-Casa Matriz)" userId="S::jhasc001@codelco.cl::3c6fd06c-6148-4623-afa3-6f26df7f9780" providerId="AD" clId="Web-{68D6929C-F30A-1D2B-2225-45A6091FD69B}" dt="2021-08-03T21:27:24.757" v="42"/>
          <ac:graphicFrameMkLst>
            <pc:docMk/>
            <pc:sldMk cId="2841064022" sldId="574"/>
            <ac:graphicFrameMk id="32" creationId="{1275A9AE-6453-442C-AD49-C1B89F6CA42A}"/>
          </ac:graphicFrameMkLst>
        </pc:graphicFrameChg>
        <pc:picChg chg="add del">
          <ac:chgData name="Hasche Henriquez Juan (Codelco-Casa Matriz)" userId="S::jhasc001@codelco.cl::3c6fd06c-6148-4623-afa3-6f26df7f9780" providerId="AD" clId="Web-{68D6929C-F30A-1D2B-2225-45A6091FD69B}" dt="2021-08-03T21:28:30.542" v="72"/>
          <ac:picMkLst>
            <pc:docMk/>
            <pc:sldMk cId="2841064022" sldId="574"/>
            <ac:picMk id="10" creationId="{18407CFF-8DEE-4DFD-B794-ABD2DE10D41A}"/>
          </ac:picMkLst>
        </pc:picChg>
        <pc:picChg chg="add del">
          <ac:chgData name="Hasche Henriquez Juan (Codelco-Casa Matriz)" userId="S::jhasc001@codelco.cl::3c6fd06c-6148-4623-afa3-6f26df7f9780" providerId="AD" clId="Web-{68D6929C-F30A-1D2B-2225-45A6091FD69B}" dt="2021-08-03T21:27:24.757" v="46"/>
          <ac:picMkLst>
            <pc:docMk/>
            <pc:sldMk cId="2841064022" sldId="574"/>
            <ac:picMk id="24" creationId="{67785F97-B8C9-44A0-BBDE-6D97F8B72A0A}"/>
          </ac:picMkLst>
        </pc:picChg>
        <pc:picChg chg="add mod">
          <ac:chgData name="Hasche Henriquez Juan (Codelco-Casa Matriz)" userId="S::jhasc001@codelco.cl::3c6fd06c-6148-4623-afa3-6f26df7f9780" providerId="AD" clId="Web-{68D6929C-F30A-1D2B-2225-45A6091FD69B}" dt="2021-08-03T21:44:04.505" v="199" actId="1076"/>
          <ac:picMkLst>
            <pc:docMk/>
            <pc:sldMk cId="2841064022" sldId="574"/>
            <ac:picMk id="33" creationId="{C687BE6A-74C9-469C-A0DB-EF7C81FE7F87}"/>
          </ac:picMkLst>
        </pc:picChg>
        <pc:picChg chg="add del mod">
          <ac:chgData name="Hasche Henriquez Juan (Codelco-Casa Matriz)" userId="S::jhasc001@codelco.cl::3c6fd06c-6148-4623-afa3-6f26df7f9780" providerId="AD" clId="Web-{68D6929C-F30A-1D2B-2225-45A6091FD69B}" dt="2021-08-03T21:34:43.956" v="113"/>
          <ac:picMkLst>
            <pc:docMk/>
            <pc:sldMk cId="2841064022" sldId="574"/>
            <ac:picMk id="35" creationId="{0A5B4451-3F31-4B8B-9997-934D21110998}"/>
          </ac:picMkLst>
        </pc:picChg>
        <pc:cxnChg chg="add">
          <ac:chgData name="Hasche Henriquez Juan (Codelco-Casa Matriz)" userId="S::jhasc001@codelco.cl::3c6fd06c-6148-4623-afa3-6f26df7f9780" providerId="AD" clId="Web-{68D6929C-F30A-1D2B-2225-45A6091FD69B}" dt="2021-08-03T21:27:10.131" v="31"/>
          <ac:cxnSpMkLst>
            <pc:docMk/>
            <pc:sldMk cId="2841064022" sldId="574"/>
            <ac:cxnSpMk id="12" creationId="{D8D5F0DB-C3BB-46E5-8D48-A66AEAD00C10}"/>
          </ac:cxnSpMkLst>
        </pc:cxnChg>
        <pc:cxnChg chg="add del">
          <ac:chgData name="Hasche Henriquez Juan (Codelco-Casa Matriz)" userId="S::jhasc001@codelco.cl::3c6fd06c-6148-4623-afa3-6f26df7f9780" providerId="AD" clId="Web-{68D6929C-F30A-1D2B-2225-45A6091FD69B}" dt="2021-08-03T21:27:24.757" v="45"/>
          <ac:cxnSpMkLst>
            <pc:docMk/>
            <pc:sldMk cId="2841064022" sldId="574"/>
            <ac:cxnSpMk id="26" creationId="{80FF3C1D-CF51-4441-A8DF-626FC2FF2876}"/>
          </ac:cxnSpMkLst>
        </pc:cxnChg>
      </pc:sldChg>
    </pc:docChg>
  </pc:docChgLst>
  <pc:docChgLst>
    <pc:chgData name="Allende Bustamante Jose (Codelco-Casa Matriz)" userId="S::jalle011@codelco.cl::54345eee-8770-43bf-b080-e3e333067d62" providerId="AD" clId="Web-{235B13A1-1021-360C-DA99-88229A3A2D03}"/>
    <pc:docChg chg="modSld">
      <pc:chgData name="Allende Bustamante Jose (Codelco-Casa Matriz)" userId="S::jalle011@codelco.cl::54345eee-8770-43bf-b080-e3e333067d62" providerId="AD" clId="Web-{235B13A1-1021-360C-DA99-88229A3A2D03}" dt="2020-10-22T11:32:35.851" v="2"/>
      <pc:docMkLst>
        <pc:docMk/>
      </pc:docMkLst>
      <pc:sldChg chg="delSp">
        <pc:chgData name="Allende Bustamante Jose (Codelco-Casa Matriz)" userId="S::jalle011@codelco.cl::54345eee-8770-43bf-b080-e3e333067d62" providerId="AD" clId="Web-{235B13A1-1021-360C-DA99-88229A3A2D03}" dt="2020-10-22T11:32:35.851" v="2"/>
        <pc:sldMkLst>
          <pc:docMk/>
          <pc:sldMk cId="2155997825" sldId="375"/>
        </pc:sldMkLst>
        <pc:spChg chg="del">
          <ac:chgData name="Allende Bustamante Jose (Codelco-Casa Matriz)" userId="S::jalle011@codelco.cl::54345eee-8770-43bf-b080-e3e333067d62" providerId="AD" clId="Web-{235B13A1-1021-360C-DA99-88229A3A2D03}" dt="2020-10-22T11:32:17.522" v="0"/>
          <ac:spMkLst>
            <pc:docMk/>
            <pc:sldMk cId="2155997825" sldId="375"/>
            <ac:spMk id="22" creationId="{C9F67157-B4B0-4E11-948A-871ED70FEE82}"/>
          </ac:spMkLst>
        </pc:spChg>
        <pc:spChg chg="del">
          <ac:chgData name="Allende Bustamante Jose (Codelco-Casa Matriz)" userId="S::jalle011@codelco.cl::54345eee-8770-43bf-b080-e3e333067d62" providerId="AD" clId="Web-{235B13A1-1021-360C-DA99-88229A3A2D03}" dt="2020-10-22T11:32:35.851" v="2"/>
          <ac:spMkLst>
            <pc:docMk/>
            <pc:sldMk cId="2155997825" sldId="375"/>
            <ac:spMk id="23" creationId="{6E3C5789-D466-4ACE-84FA-B4ECD89F2811}"/>
          </ac:spMkLst>
        </pc:spChg>
        <pc:spChg chg="del">
          <ac:chgData name="Allende Bustamante Jose (Codelco-Casa Matriz)" userId="S::jalle011@codelco.cl::54345eee-8770-43bf-b080-e3e333067d62" providerId="AD" clId="Web-{235B13A1-1021-360C-DA99-88229A3A2D03}" dt="2020-10-22T11:32:28.772" v="1"/>
          <ac:spMkLst>
            <pc:docMk/>
            <pc:sldMk cId="2155997825" sldId="375"/>
            <ac:spMk id="28" creationId="{756090BE-EB41-4EE4-848B-7D361616FC6C}"/>
          </ac:spMkLst>
        </pc:spChg>
      </pc:sldChg>
    </pc:docChg>
  </pc:docChgLst>
  <pc:docChgLst>
    <pc:chgData name="Manuel Larenas" userId="S::manuel_larenas_mckinsey.com#ext#@codelcochile.onmicrosoft.com::4f002d6c-3840-4e9e-a4d5-d83f0c0e85e0" providerId="AD" clId="Web-{AC2ECC5F-0875-2B00-30F2-A2FEAE240F81}"/>
    <pc:docChg chg="addSld modSld">
      <pc:chgData name="Manuel Larenas" userId="S::manuel_larenas_mckinsey.com#ext#@codelcochile.onmicrosoft.com::4f002d6c-3840-4e9e-a4d5-d83f0c0e85e0" providerId="AD" clId="Web-{AC2ECC5F-0875-2B00-30F2-A2FEAE240F81}" dt="2021-02-10T23:44:58.577" v="1158" actId="20577"/>
      <pc:docMkLst>
        <pc:docMk/>
      </pc:docMkLst>
      <pc:sldChg chg="addSp modSp new">
        <pc:chgData name="Manuel Larenas" userId="S::manuel_larenas_mckinsey.com#ext#@codelcochile.onmicrosoft.com::4f002d6c-3840-4e9e-a4d5-d83f0c0e85e0" providerId="AD" clId="Web-{AC2ECC5F-0875-2B00-30F2-A2FEAE240F81}" dt="2021-02-10T23:44:58.577" v="1158" actId="20577"/>
        <pc:sldMkLst>
          <pc:docMk/>
          <pc:sldMk cId="1240417353" sldId="476"/>
        </pc:sldMkLst>
        <pc:spChg chg="mod">
          <ac:chgData name="Manuel Larenas" userId="S::manuel_larenas_mckinsey.com#ext#@codelcochile.onmicrosoft.com::4f002d6c-3840-4e9e-a4d5-d83f0c0e85e0" providerId="AD" clId="Web-{AC2ECC5F-0875-2B00-30F2-A2FEAE240F81}" dt="2021-02-10T23:11:45.650" v="255" actId="20577"/>
          <ac:spMkLst>
            <pc:docMk/>
            <pc:sldMk cId="1240417353" sldId="476"/>
            <ac:spMk id="2" creationId="{2833A3DC-F8E3-4AFA-AEC3-02C0ADBDE360}"/>
          </ac:spMkLst>
        </pc:spChg>
        <pc:spChg chg="add mod">
          <ac:chgData name="Manuel Larenas" userId="S::manuel_larenas_mckinsey.com#ext#@codelcochile.onmicrosoft.com::4f002d6c-3840-4e9e-a4d5-d83f0c0e85e0" providerId="AD" clId="Web-{AC2ECC5F-0875-2B00-30F2-A2FEAE240F81}" dt="2021-02-10T23:20:19.269" v="544" actId="14100"/>
          <ac:spMkLst>
            <pc:docMk/>
            <pc:sldMk cId="1240417353" sldId="476"/>
            <ac:spMk id="5" creationId="{B6A6F5E4-7D5C-442E-BF7B-5610F3257DE9}"/>
          </ac:spMkLst>
        </pc:spChg>
        <pc:spChg chg="add mod">
          <ac:chgData name="Manuel Larenas" userId="S::manuel_larenas_mckinsey.com#ext#@codelcochile.onmicrosoft.com::4f002d6c-3840-4e9e-a4d5-d83f0c0e85e0" providerId="AD" clId="Web-{AC2ECC5F-0875-2B00-30F2-A2FEAE240F81}" dt="2021-02-10T23:42:51.122" v="1069" actId="20577"/>
          <ac:spMkLst>
            <pc:docMk/>
            <pc:sldMk cId="1240417353" sldId="476"/>
            <ac:spMk id="6" creationId="{B0C72395-80A9-4B15-937E-6DDF4F9FE19A}"/>
          </ac:spMkLst>
        </pc:spChg>
        <pc:spChg chg="add mod">
          <ac:chgData name="Manuel Larenas" userId="S::manuel_larenas_mckinsey.com#ext#@codelcochile.onmicrosoft.com::4f002d6c-3840-4e9e-a4d5-d83f0c0e85e0" providerId="AD" clId="Web-{AC2ECC5F-0875-2B00-30F2-A2FEAE240F81}" dt="2021-02-10T23:20:53.910" v="553" actId="1076"/>
          <ac:spMkLst>
            <pc:docMk/>
            <pc:sldMk cId="1240417353" sldId="476"/>
            <ac:spMk id="7" creationId="{577ADC91-E94E-4707-B525-BDD3080ABC29}"/>
          </ac:spMkLst>
        </pc:spChg>
        <pc:spChg chg="add mod">
          <ac:chgData name="Manuel Larenas" userId="S::manuel_larenas_mckinsey.com#ext#@codelcochile.onmicrosoft.com::4f002d6c-3840-4e9e-a4d5-d83f0c0e85e0" providerId="AD" clId="Web-{AC2ECC5F-0875-2B00-30F2-A2FEAE240F81}" dt="2021-02-10T23:44:25.139" v="1135" actId="20577"/>
          <ac:spMkLst>
            <pc:docMk/>
            <pc:sldMk cId="1240417353" sldId="476"/>
            <ac:spMk id="8" creationId="{8429EE91-DD3E-40A7-BCB7-0D775BA821A7}"/>
          </ac:spMkLst>
        </pc:spChg>
        <pc:spChg chg="add mod">
          <ac:chgData name="Manuel Larenas" userId="S::manuel_larenas_mckinsey.com#ext#@codelcochile.onmicrosoft.com::4f002d6c-3840-4e9e-a4d5-d83f0c0e85e0" providerId="AD" clId="Web-{AC2ECC5F-0875-2B00-30F2-A2FEAE240F81}" dt="2021-02-10T23:21:07.910" v="555" actId="14100"/>
          <ac:spMkLst>
            <pc:docMk/>
            <pc:sldMk cId="1240417353" sldId="476"/>
            <ac:spMk id="9" creationId="{E44A09F7-E8A6-4C04-83F3-DD5DBA867AC4}"/>
          </ac:spMkLst>
        </pc:spChg>
        <pc:spChg chg="add mod">
          <ac:chgData name="Manuel Larenas" userId="S::manuel_larenas_mckinsey.com#ext#@codelcochile.onmicrosoft.com::4f002d6c-3840-4e9e-a4d5-d83f0c0e85e0" providerId="AD" clId="Web-{AC2ECC5F-0875-2B00-30F2-A2FEAE240F81}" dt="2021-02-10T23:44:58.577" v="1158" actId="20577"/>
          <ac:spMkLst>
            <pc:docMk/>
            <pc:sldMk cId="1240417353" sldId="476"/>
            <ac:spMk id="10" creationId="{72F42CDF-1A7B-4AA0-B8B5-598C8C37336F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BD55A800-7A0B-7AE6-0D28-C3D2441A6A44}"/>
    <pc:docChg chg="addSld modSld">
      <pc:chgData name="Paillacar Oyarzo Paulo Ignacio (Codelco-Casa Matriz)" userId="S::ppail001@codelco.cl::3f9c4ec0-dfff-4bc5-ba03-192dd672e537" providerId="AD" clId="Web-{BD55A800-7A0B-7AE6-0D28-C3D2441A6A44}" dt="2021-01-14T14:31:01.721" v="493"/>
      <pc:docMkLst>
        <pc:docMk/>
      </pc:docMkLst>
      <pc:sldChg chg="addSp modSp">
        <pc:chgData name="Paillacar Oyarzo Paulo Ignacio (Codelco-Casa Matriz)" userId="S::ppail001@codelco.cl::3f9c4ec0-dfff-4bc5-ba03-192dd672e537" providerId="AD" clId="Web-{BD55A800-7A0B-7AE6-0D28-C3D2441A6A44}" dt="2021-01-14T14:31:01.721" v="493"/>
        <pc:sldMkLst>
          <pc:docMk/>
          <pc:sldMk cId="3013288184" sldId="433"/>
        </pc:sldMkLst>
        <pc:spChg chg="mod">
          <ac:chgData name="Paillacar Oyarzo Paulo Ignacio (Codelco-Casa Matriz)" userId="S::ppail001@codelco.cl::3f9c4ec0-dfff-4bc5-ba03-192dd672e537" providerId="AD" clId="Web-{BD55A800-7A0B-7AE6-0D28-C3D2441A6A44}" dt="2021-01-14T14:15:50.195" v="257"/>
          <ac:spMkLst>
            <pc:docMk/>
            <pc:sldMk cId="3013288184" sldId="433"/>
            <ac:spMk id="2" creationId="{5432789E-2055-4E73-BE72-BD1C1DD862C9}"/>
          </ac:spMkLst>
        </pc:spChg>
        <pc:spChg chg="mod">
          <ac:chgData name="Paillacar Oyarzo Paulo Ignacio (Codelco-Casa Matriz)" userId="S::ppail001@codelco.cl::3f9c4ec0-dfff-4bc5-ba03-192dd672e537" providerId="AD" clId="Web-{BD55A800-7A0B-7AE6-0D28-C3D2441A6A44}" dt="2021-01-14T14:16:00.117" v="261" actId="20577"/>
          <ac:spMkLst>
            <pc:docMk/>
            <pc:sldMk cId="3013288184" sldId="433"/>
            <ac:spMk id="3" creationId="{69CE7AA1-25C2-4A0B-AC35-D763F3F9409A}"/>
          </ac:spMkLst>
        </pc:spChg>
        <pc:spChg chg="add mod">
          <ac:chgData name="Paillacar Oyarzo Paulo Ignacio (Codelco-Casa Matriz)" userId="S::ppail001@codelco.cl::3f9c4ec0-dfff-4bc5-ba03-192dd672e537" providerId="AD" clId="Web-{BD55A800-7A0B-7AE6-0D28-C3D2441A6A44}" dt="2021-01-14T14:31:01.721" v="493"/>
          <ac:spMkLst>
            <pc:docMk/>
            <pc:sldMk cId="3013288184" sldId="433"/>
            <ac:spMk id="8" creationId="{1F853BAC-BBCB-4C41-800D-CAD797ED5CBF}"/>
          </ac:spMkLst>
        </pc:spChg>
        <pc:spChg chg="add mod">
          <ac:chgData name="Paillacar Oyarzo Paulo Ignacio (Codelco-Casa Matriz)" userId="S::ppail001@codelco.cl::3f9c4ec0-dfff-4bc5-ba03-192dd672e537" providerId="AD" clId="Web-{BD55A800-7A0B-7AE6-0D28-C3D2441A6A44}" dt="2021-01-14T14:27:51.497" v="424" actId="1076"/>
          <ac:spMkLst>
            <pc:docMk/>
            <pc:sldMk cId="3013288184" sldId="433"/>
            <ac:spMk id="9" creationId="{3CCE15A7-8028-453B-B8D8-DA44FD36D62E}"/>
          </ac:spMkLst>
        </pc:spChg>
        <pc:spChg chg="add mod">
          <ac:chgData name="Paillacar Oyarzo Paulo Ignacio (Codelco-Casa Matriz)" userId="S::ppail001@codelco.cl::3f9c4ec0-dfff-4bc5-ba03-192dd672e537" providerId="AD" clId="Web-{BD55A800-7A0B-7AE6-0D28-C3D2441A6A44}" dt="2021-01-14T14:28:00.247" v="427" actId="20577"/>
          <ac:spMkLst>
            <pc:docMk/>
            <pc:sldMk cId="3013288184" sldId="433"/>
            <ac:spMk id="10" creationId="{8D7A37FC-4565-4B64-8610-A20D6EC68E18}"/>
          </ac:spMkLst>
        </pc:spChg>
        <pc:spChg chg="add mod">
          <ac:chgData name="Paillacar Oyarzo Paulo Ignacio (Codelco-Casa Matriz)" userId="S::ppail001@codelco.cl::3f9c4ec0-dfff-4bc5-ba03-192dd672e537" providerId="AD" clId="Web-{BD55A800-7A0B-7AE6-0D28-C3D2441A6A44}" dt="2021-01-14T14:28:09.497" v="430" actId="20577"/>
          <ac:spMkLst>
            <pc:docMk/>
            <pc:sldMk cId="3013288184" sldId="433"/>
            <ac:spMk id="11" creationId="{B79C2A62-5529-4CF1-8311-2B4006FF6256}"/>
          </ac:spMkLst>
        </pc:spChg>
        <pc:picChg chg="add mod">
          <ac:chgData name="Paillacar Oyarzo Paulo Ignacio (Codelco-Casa Matriz)" userId="S::ppail001@codelco.cl::3f9c4ec0-dfff-4bc5-ba03-192dd672e537" providerId="AD" clId="Web-{BD55A800-7A0B-7AE6-0D28-C3D2441A6A44}" dt="2021-01-14T14:26:07.212" v="411" actId="1076"/>
          <ac:picMkLst>
            <pc:docMk/>
            <pc:sldMk cId="3013288184" sldId="433"/>
            <ac:picMk id="5" creationId="{350413F6-1423-48DE-81AC-CB65F40559DB}"/>
          </ac:picMkLst>
        </pc:picChg>
        <pc:picChg chg="add mod">
          <ac:chgData name="Paillacar Oyarzo Paulo Ignacio (Codelco-Casa Matriz)" userId="S::ppail001@codelco.cl::3f9c4ec0-dfff-4bc5-ba03-192dd672e537" providerId="AD" clId="Web-{BD55A800-7A0B-7AE6-0D28-C3D2441A6A44}" dt="2021-01-14T14:27:44.778" v="422" actId="1076"/>
          <ac:picMkLst>
            <pc:docMk/>
            <pc:sldMk cId="3013288184" sldId="433"/>
            <ac:picMk id="6" creationId="{3EEA355D-6C75-4346-8526-9BFD9509BF99}"/>
          </ac:picMkLst>
        </pc:picChg>
        <pc:picChg chg="add mod">
          <ac:chgData name="Paillacar Oyarzo Paulo Ignacio (Codelco-Casa Matriz)" userId="S::ppail001@codelco.cl::3f9c4ec0-dfff-4bc5-ba03-192dd672e537" providerId="AD" clId="Web-{BD55A800-7A0B-7AE6-0D28-C3D2441A6A44}" dt="2021-01-14T14:27:51.481" v="423" actId="1076"/>
          <ac:picMkLst>
            <pc:docMk/>
            <pc:sldMk cId="3013288184" sldId="433"/>
            <ac:picMk id="7" creationId="{B185062E-8EBF-416F-9475-DF7F46776DC0}"/>
          </ac:picMkLst>
        </pc:picChg>
      </pc:sldChg>
      <pc:sldChg chg="addSp delSp modSp new">
        <pc:chgData name="Paillacar Oyarzo Paulo Ignacio (Codelco-Casa Matriz)" userId="S::ppail001@codelco.cl::3f9c4ec0-dfff-4bc5-ba03-192dd672e537" providerId="AD" clId="Web-{BD55A800-7A0B-7AE6-0D28-C3D2441A6A44}" dt="2021-01-14T14:15:14.179" v="253" actId="20577"/>
        <pc:sldMkLst>
          <pc:docMk/>
          <pc:sldMk cId="2954005240" sldId="434"/>
        </pc:sldMkLst>
        <pc:spChg chg="mod">
          <ac:chgData name="Paillacar Oyarzo Paulo Ignacio (Codelco-Casa Matriz)" userId="S::ppail001@codelco.cl::3f9c4ec0-dfff-4bc5-ba03-192dd672e537" providerId="AD" clId="Web-{BD55A800-7A0B-7AE6-0D28-C3D2441A6A44}" dt="2021-01-14T13:42:44.172" v="186" actId="20577"/>
          <ac:spMkLst>
            <pc:docMk/>
            <pc:sldMk cId="2954005240" sldId="434"/>
            <ac:spMk id="2" creationId="{5CD48D0E-D74C-4590-848E-B67B9C751C83}"/>
          </ac:spMkLst>
        </pc:spChg>
        <pc:spChg chg="mod">
          <ac:chgData name="Paillacar Oyarzo Paulo Ignacio (Codelco-Casa Matriz)" userId="S::ppail001@codelco.cl::3f9c4ec0-dfff-4bc5-ba03-192dd672e537" providerId="AD" clId="Web-{BD55A800-7A0B-7AE6-0D28-C3D2441A6A44}" dt="2021-01-14T14:15:14.179" v="253" actId="20577"/>
          <ac:spMkLst>
            <pc:docMk/>
            <pc:sldMk cId="2954005240" sldId="434"/>
            <ac:spMk id="3" creationId="{5FF56B36-EE0B-48DB-ACBA-3483FD9A079C}"/>
          </ac:spMkLst>
        </pc:spChg>
        <pc:picChg chg="add del mod">
          <ac:chgData name="Paillacar Oyarzo Paulo Ignacio (Codelco-Casa Matriz)" userId="S::ppail001@codelco.cl::3f9c4ec0-dfff-4bc5-ba03-192dd672e537" providerId="AD" clId="Web-{BD55A800-7A0B-7AE6-0D28-C3D2441A6A44}" dt="2021-01-14T14:14:45.678" v="245"/>
          <ac:picMkLst>
            <pc:docMk/>
            <pc:sldMk cId="2954005240" sldId="434"/>
            <ac:picMk id="5" creationId="{0CDD3E39-49FC-45F9-B67E-BFE50313EF17}"/>
          </ac:picMkLst>
        </pc:picChg>
        <pc:picChg chg="add mod">
          <ac:chgData name="Paillacar Oyarzo Paulo Ignacio (Codelco-Casa Matriz)" userId="S::ppail001@codelco.cl::3f9c4ec0-dfff-4bc5-ba03-192dd672e537" providerId="AD" clId="Web-{BD55A800-7A0B-7AE6-0D28-C3D2441A6A44}" dt="2021-01-14T14:15:01.335" v="252" actId="1076"/>
          <ac:picMkLst>
            <pc:docMk/>
            <pc:sldMk cId="2954005240" sldId="434"/>
            <ac:picMk id="6" creationId="{E1D9DDA0-54C3-48CE-AD0C-C3A294EE6F3A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82B51276-5753-D3E3-3CD1-3474A853DDAA}"/>
    <pc:docChg chg="modSld">
      <pc:chgData name="Mery Carrasco Mauricio (Codelco-Casa Matriz)" userId="S::mmery004@codelco.cl::a0378191-74de-4d59-9b37-aa421303daba" providerId="AD" clId="Web-{82B51276-5753-D3E3-3CD1-3474A853DDAA}" dt="2020-10-21T17:51:57.198" v="15"/>
      <pc:docMkLst>
        <pc:docMk/>
      </pc:docMkLst>
      <pc:sldChg chg="modSp">
        <pc:chgData name="Mery Carrasco Mauricio (Codelco-Casa Matriz)" userId="S::mmery004@codelco.cl::a0378191-74de-4d59-9b37-aa421303daba" providerId="AD" clId="Web-{82B51276-5753-D3E3-3CD1-3474A853DDAA}" dt="2020-10-21T17:51:52.182" v="8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82B51276-5753-D3E3-3CD1-3474A853DDAA}" dt="2020-10-21T17:50:04.582" v="0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82B51276-5753-D3E3-3CD1-3474A853DDAA}" dt="2020-10-21T17:51:52.182" v="8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modSp">
        <pc:chgData name="Mery Carrasco Mauricio (Codelco-Casa Matriz)" userId="S::mmery004@codelco.cl::a0378191-74de-4d59-9b37-aa421303daba" providerId="AD" clId="Web-{82B51276-5753-D3E3-3CD1-3474A853DDAA}" dt="2020-10-21T17:51:57.198" v="15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82B51276-5753-D3E3-3CD1-3474A853DDAA}" dt="2020-10-21T17:51:57.198" v="15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82B51276-5753-D3E3-3CD1-3474A853DDAA}" dt="2020-10-21T17:51:56.933" v="11"/>
          <ac:spMkLst>
            <pc:docMk/>
            <pc:sldMk cId="1544981574" sldId="409"/>
            <ac:spMk id="39" creationId="{92D09D5F-B4BB-4B26-A56A-D76176A78E5D}"/>
          </ac:spMkLst>
        </pc:spChg>
      </pc:sldChg>
    </pc:docChg>
  </pc:docChgLst>
  <pc:docChgLst>
    <pc:chgData name="Valenzuela Alfaro Alvaro (Contratista-Casa Matriz)" userId="beebaec1-f16e-436d-a3cd-8566efe3ac18" providerId="ADAL" clId="{AADB0D7B-85B1-524C-88B2-EEC6AE32BC72}"/>
    <pc:docChg chg="undo custSel modSld">
      <pc:chgData name="Valenzuela Alfaro Alvaro (Contratista-Casa Matriz)" userId="beebaec1-f16e-436d-a3cd-8566efe3ac18" providerId="ADAL" clId="{AADB0D7B-85B1-524C-88B2-EEC6AE32BC72}" dt="2021-01-14T12:38:14.538" v="191" actId="20577"/>
      <pc:docMkLst>
        <pc:docMk/>
      </pc:docMkLst>
      <pc:sldChg chg="addSp delSp modSp mod">
        <pc:chgData name="Valenzuela Alfaro Alvaro (Contratista-Casa Matriz)" userId="beebaec1-f16e-436d-a3cd-8566efe3ac18" providerId="ADAL" clId="{AADB0D7B-85B1-524C-88B2-EEC6AE32BC72}" dt="2021-01-14T12:38:14.538" v="191" actId="20577"/>
        <pc:sldMkLst>
          <pc:docMk/>
          <pc:sldMk cId="1938484616" sldId="430"/>
        </pc:sldMkLst>
        <pc:spChg chg="del">
          <ac:chgData name="Valenzuela Alfaro Alvaro (Contratista-Casa Matriz)" userId="beebaec1-f16e-436d-a3cd-8566efe3ac18" providerId="ADAL" clId="{AADB0D7B-85B1-524C-88B2-EEC6AE32BC72}" dt="2021-01-14T12:27:56.869" v="0" actId="478"/>
          <ac:spMkLst>
            <pc:docMk/>
            <pc:sldMk cId="1938484616" sldId="430"/>
            <ac:spMk id="3" creationId="{BB30EF73-F526-42F0-BB6C-C4B55340143E}"/>
          </ac:spMkLst>
        </pc:spChg>
        <pc:spChg chg="add mod">
          <ac:chgData name="Valenzuela Alfaro Alvaro (Contratista-Casa Matriz)" userId="beebaec1-f16e-436d-a3cd-8566efe3ac18" providerId="ADAL" clId="{AADB0D7B-85B1-524C-88B2-EEC6AE32BC72}" dt="2021-01-14T12:32:03.746" v="59" actId="20577"/>
          <ac:spMkLst>
            <pc:docMk/>
            <pc:sldMk cId="1938484616" sldId="430"/>
            <ac:spMk id="28" creationId="{7FE6363C-0C44-E945-A726-FC69065CF223}"/>
          </ac:spMkLst>
        </pc:spChg>
        <pc:spChg chg="add mod">
          <ac:chgData name="Valenzuela Alfaro Alvaro (Contratista-Casa Matriz)" userId="beebaec1-f16e-436d-a3cd-8566efe3ac18" providerId="ADAL" clId="{AADB0D7B-85B1-524C-88B2-EEC6AE32BC72}" dt="2021-01-14T12:35:16.557" v="128" actId="20577"/>
          <ac:spMkLst>
            <pc:docMk/>
            <pc:sldMk cId="1938484616" sldId="430"/>
            <ac:spMk id="29" creationId="{2AFE2FE7-179B-5F49-9725-FEFDA25298B2}"/>
          </ac:spMkLst>
        </pc:spChg>
        <pc:spChg chg="add mod">
          <ac:chgData name="Valenzuela Alfaro Alvaro (Contratista-Casa Matriz)" userId="beebaec1-f16e-436d-a3cd-8566efe3ac18" providerId="ADAL" clId="{AADB0D7B-85B1-524C-88B2-EEC6AE32BC72}" dt="2021-01-14T12:38:14.538" v="191" actId="20577"/>
          <ac:spMkLst>
            <pc:docMk/>
            <pc:sldMk cId="1938484616" sldId="430"/>
            <ac:spMk id="30" creationId="{091229AF-CF2D-D142-AAC2-E9C4FBCC6A5E}"/>
          </ac:spMkLst>
        </pc:spChg>
        <pc:spChg chg="add mod">
          <ac:chgData name="Valenzuela Alfaro Alvaro (Contratista-Casa Matriz)" userId="beebaec1-f16e-436d-a3cd-8566efe3ac18" providerId="ADAL" clId="{AADB0D7B-85B1-524C-88B2-EEC6AE32BC72}" dt="2021-01-14T12:36:47.318" v="177" actId="14100"/>
          <ac:spMkLst>
            <pc:docMk/>
            <pc:sldMk cId="1938484616" sldId="430"/>
            <ac:spMk id="31" creationId="{2CD79051-C588-6E44-A8EB-D1453D875D0D}"/>
          </ac:spMkLst>
        </pc:spChg>
        <pc:cxnChg chg="add del mod">
          <ac:chgData name="Valenzuela Alfaro Alvaro (Contratista-Casa Matriz)" userId="beebaec1-f16e-436d-a3cd-8566efe3ac18" providerId="ADAL" clId="{AADB0D7B-85B1-524C-88B2-EEC6AE32BC72}" dt="2021-01-14T12:29:27.863" v="27" actId="21"/>
          <ac:cxnSpMkLst>
            <pc:docMk/>
            <pc:sldMk cId="1938484616" sldId="430"/>
            <ac:cxnSpMk id="7" creationId="{270B98CA-D727-45F4-9181-AE6981F0A9A1}"/>
          </ac:cxnSpMkLst>
        </pc:cxnChg>
        <pc:cxnChg chg="add mod">
          <ac:chgData name="Valenzuela Alfaro Alvaro (Contratista-Casa Matriz)" userId="beebaec1-f16e-436d-a3cd-8566efe3ac18" providerId="ADAL" clId="{AADB0D7B-85B1-524C-88B2-EEC6AE32BC72}" dt="2021-01-14T12:35:55.044" v="133" actId="14100"/>
          <ac:cxnSpMkLst>
            <pc:docMk/>
            <pc:sldMk cId="1938484616" sldId="430"/>
            <ac:cxnSpMk id="15" creationId="{EAE7D7B8-EA77-534B-A7C7-1DE5E50AFE89}"/>
          </ac:cxnSpMkLst>
        </pc:cxnChg>
        <pc:cxnChg chg="add mod">
          <ac:chgData name="Valenzuela Alfaro Alvaro (Contratista-Casa Matriz)" userId="beebaec1-f16e-436d-a3cd-8566efe3ac18" providerId="ADAL" clId="{AADB0D7B-85B1-524C-88B2-EEC6AE32BC72}" dt="2021-01-14T12:32:40.983" v="67" actId="14100"/>
          <ac:cxnSpMkLst>
            <pc:docMk/>
            <pc:sldMk cId="1938484616" sldId="430"/>
            <ac:cxnSpMk id="19" creationId="{0B2D5463-5E68-684F-8740-45FE46B0FAFE}"/>
          </ac:cxnSpMkLst>
        </pc:cxnChg>
        <pc:cxnChg chg="add mod">
          <ac:chgData name="Valenzuela Alfaro Alvaro (Contratista-Casa Matriz)" userId="beebaec1-f16e-436d-a3cd-8566efe3ac18" providerId="ADAL" clId="{AADB0D7B-85B1-524C-88B2-EEC6AE32BC72}" dt="2021-01-14T12:36:47.318" v="177" actId="14100"/>
          <ac:cxnSpMkLst>
            <pc:docMk/>
            <pc:sldMk cId="1938484616" sldId="430"/>
            <ac:cxnSpMk id="25" creationId="{17F2FBD2-320B-A045-A4CB-A85AA9056D76}"/>
          </ac:cxnSpMkLst>
        </pc:cxnChg>
        <pc:cxnChg chg="add del mod">
          <ac:chgData name="Valenzuela Alfaro Alvaro (Contratista-Casa Matriz)" userId="beebaec1-f16e-436d-a3cd-8566efe3ac18" providerId="ADAL" clId="{AADB0D7B-85B1-524C-88B2-EEC6AE32BC72}" dt="2021-01-14T12:31:29.907" v="32"/>
          <ac:cxnSpMkLst>
            <pc:docMk/>
            <pc:sldMk cId="1938484616" sldId="430"/>
            <ac:cxnSpMk id="27" creationId="{0E892F9C-6998-FF41-A765-41D67E3A686A}"/>
          </ac:cxnSpMkLst>
        </pc:cxnChg>
      </pc:sldChg>
    </pc:docChg>
  </pc:docChgLst>
  <pc:docChgLst>
    <pc:chgData name="Herrera Bustamante Cristian (Codelco-Casa Matriz)" userId="S::cherr058@codelco.cl::2c6d9cd6-c296-4612-8f6b-c05dbcd0c76b" providerId="AD" clId="Web-{493C2910-52C2-FBDC-5ED0-46F042DC73AF}"/>
    <pc:docChg chg="addSld delSld modSld sldOrd">
      <pc:chgData name="Herrera Bustamante Cristian (Codelco-Casa Matriz)" userId="S::cherr058@codelco.cl::2c6d9cd6-c296-4612-8f6b-c05dbcd0c76b" providerId="AD" clId="Web-{493C2910-52C2-FBDC-5ED0-46F042DC73AF}" dt="2021-09-08T13:45:16.914" v="547" actId="1076"/>
      <pc:docMkLst>
        <pc:docMk/>
      </pc:docMkLst>
      <pc:sldChg chg="modSp">
        <pc:chgData name="Herrera Bustamante Cristian (Codelco-Casa Matriz)" userId="S::cherr058@codelco.cl::2c6d9cd6-c296-4612-8f6b-c05dbcd0c76b" providerId="AD" clId="Web-{493C2910-52C2-FBDC-5ED0-46F042DC73AF}" dt="2021-09-08T13:36:15.727" v="518" actId="14100"/>
        <pc:sldMkLst>
          <pc:docMk/>
          <pc:sldMk cId="2155997825" sldId="375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3:36:15.727" v="518" actId="14100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32:36.981" v="9" actId="20577"/>
          <ac:spMkLst>
            <pc:docMk/>
            <pc:sldMk cId="2155997825" sldId="375"/>
            <ac:spMk id="37" creationId="{6DE85956-0A08-4CC0-853E-4785B3580718}"/>
          </ac:spMkLst>
        </pc:spChg>
      </pc:sldChg>
      <pc:sldChg chg="addSp modSp">
        <pc:chgData name="Herrera Bustamante Cristian (Codelco-Casa Matriz)" userId="S::cherr058@codelco.cl::2c6d9cd6-c296-4612-8f6b-c05dbcd0c76b" providerId="AD" clId="Web-{493C2910-52C2-FBDC-5ED0-46F042DC73AF}" dt="2021-09-08T13:45:16.914" v="547" actId="1076"/>
        <pc:sldMkLst>
          <pc:docMk/>
          <pc:sldMk cId="1775339418" sldId="440"/>
        </pc:sldMkLst>
        <pc:spChg chg="add mod">
          <ac:chgData name="Herrera Bustamante Cristian (Codelco-Casa Matriz)" userId="S::cherr058@codelco.cl::2c6d9cd6-c296-4612-8f6b-c05dbcd0c76b" providerId="AD" clId="Web-{493C2910-52C2-FBDC-5ED0-46F042DC73AF}" dt="2021-09-08T13:35:42.007" v="509" actId="20577"/>
          <ac:spMkLst>
            <pc:docMk/>
            <pc:sldMk cId="1775339418" sldId="440"/>
            <ac:spMk id="15" creationId="{67BB12A7-527A-4E52-81A2-CF2DCB8345F2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3:45:02.695" v="545" actId="1076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3:20:45.543" v="186" actId="20577"/>
          <ac:spMkLst>
            <pc:docMk/>
            <pc:sldMk cId="1775339418" sldId="440"/>
            <ac:spMk id="19" creationId="{488562D1-4154-4B20-8682-0B484D7B4DCB}"/>
          </ac:spMkLst>
        </pc:spChg>
        <pc:cxnChg chg="mod">
          <ac:chgData name="Herrera Bustamante Cristian (Codelco-Casa Matriz)" userId="S::cherr058@codelco.cl::2c6d9cd6-c296-4612-8f6b-c05dbcd0c76b" providerId="AD" clId="Web-{493C2910-52C2-FBDC-5ED0-46F042DC73AF}" dt="2021-09-08T13:45:16.914" v="547" actId="1076"/>
          <ac:cxnSpMkLst>
            <pc:docMk/>
            <pc:sldMk cId="1775339418" sldId="440"/>
            <ac:cxnSpMk id="2" creationId="{8CD75B6F-4A66-4E05-80C5-D1D4A44466FE}"/>
          </ac:cxnSpMkLst>
        </pc:cxnChg>
      </pc:sldChg>
      <pc:sldChg chg="del">
        <pc:chgData name="Herrera Bustamante Cristian (Codelco-Casa Matriz)" userId="S::cherr058@codelco.cl::2c6d9cd6-c296-4612-8f6b-c05dbcd0c76b" providerId="AD" clId="Web-{493C2910-52C2-FBDC-5ED0-46F042DC73AF}" dt="2021-09-08T12:24:19.981" v="0"/>
        <pc:sldMkLst>
          <pc:docMk/>
          <pc:sldMk cId="3846422952" sldId="588"/>
        </pc:sldMkLst>
      </pc:sldChg>
      <pc:sldChg chg="del">
        <pc:chgData name="Herrera Bustamante Cristian (Codelco-Casa Matriz)" userId="S::cherr058@codelco.cl::2c6d9cd6-c296-4612-8f6b-c05dbcd0c76b" providerId="AD" clId="Web-{493C2910-52C2-FBDC-5ED0-46F042DC73AF}" dt="2021-09-08T12:43:48.255" v="31"/>
        <pc:sldMkLst>
          <pc:docMk/>
          <pc:sldMk cId="1628385742" sldId="589"/>
        </pc:sldMkLst>
      </pc:sldChg>
      <pc:sldChg chg="addSp delSp modSp">
        <pc:chgData name="Herrera Bustamante Cristian (Codelco-Casa Matriz)" userId="S::cherr058@codelco.cl::2c6d9cd6-c296-4612-8f6b-c05dbcd0c76b" providerId="AD" clId="Web-{493C2910-52C2-FBDC-5ED0-46F042DC73AF}" dt="2021-09-08T12:35:13.940" v="21"/>
        <pc:sldMkLst>
          <pc:docMk/>
          <pc:sldMk cId="1869377767" sldId="591"/>
        </pc:sldMkLst>
        <pc:spChg chg="add del mod">
          <ac:chgData name="Herrera Bustamante Cristian (Codelco-Casa Matriz)" userId="S::cherr058@codelco.cl::2c6d9cd6-c296-4612-8f6b-c05dbcd0c76b" providerId="AD" clId="Web-{493C2910-52C2-FBDC-5ED0-46F042DC73AF}" dt="2021-09-08T12:34:53.142" v="15"/>
          <ac:spMkLst>
            <pc:docMk/>
            <pc:sldMk cId="1869377767" sldId="591"/>
            <ac:spMk id="3" creationId="{C1AE6109-6AE6-4BCD-B3C4-8CC3DC519EB1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35:13.940" v="21"/>
          <ac:spMkLst>
            <pc:docMk/>
            <pc:sldMk cId="1869377767" sldId="591"/>
            <ac:spMk id="37" creationId="{6DE85956-0A08-4CC0-853E-4785B3580718}"/>
          </ac:spMkLst>
        </pc:spChg>
      </pc:sldChg>
      <pc:sldChg chg="modSp">
        <pc:chgData name="Herrera Bustamante Cristian (Codelco-Casa Matriz)" userId="S::cherr058@codelco.cl::2c6d9cd6-c296-4612-8f6b-c05dbcd0c76b" providerId="AD" clId="Web-{493C2910-52C2-FBDC-5ED0-46F042DC73AF}" dt="2021-09-08T12:35:13.893" v="20" actId="20577"/>
        <pc:sldMkLst>
          <pc:docMk/>
          <pc:sldMk cId="803501827" sldId="592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35:13.893" v="20" actId="20577"/>
          <ac:spMkLst>
            <pc:docMk/>
            <pc:sldMk cId="803501827" sldId="592"/>
            <ac:spMk id="37" creationId="{6DE85956-0A08-4CC0-853E-4785B3580718}"/>
          </ac:spMkLst>
        </pc:spChg>
      </pc:sldChg>
      <pc:sldChg chg="modSp">
        <pc:chgData name="Herrera Bustamante Cristian (Codelco-Casa Matriz)" userId="S::cherr058@codelco.cl::2c6d9cd6-c296-4612-8f6b-c05dbcd0c76b" providerId="AD" clId="Web-{493C2910-52C2-FBDC-5ED0-46F042DC73AF}" dt="2021-09-08T12:35:19.455" v="23" actId="20577"/>
        <pc:sldMkLst>
          <pc:docMk/>
          <pc:sldMk cId="3627743444" sldId="593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35:19.455" v="23" actId="20577"/>
          <ac:spMkLst>
            <pc:docMk/>
            <pc:sldMk cId="3627743444" sldId="593"/>
            <ac:spMk id="37" creationId="{6DE85956-0A08-4CC0-853E-4785B3580718}"/>
          </ac:spMkLst>
        </pc:spChg>
      </pc:sldChg>
      <pc:sldChg chg="modSp ord">
        <pc:chgData name="Herrera Bustamante Cristian (Codelco-Casa Matriz)" userId="S::cherr058@codelco.cl::2c6d9cd6-c296-4612-8f6b-c05dbcd0c76b" providerId="AD" clId="Web-{493C2910-52C2-FBDC-5ED0-46F042DC73AF}" dt="2021-09-08T12:43:42.176" v="30"/>
        <pc:sldMkLst>
          <pc:docMk/>
          <pc:sldMk cId="2232718675" sldId="594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36:07.004" v="25" actId="20577"/>
          <ac:spMkLst>
            <pc:docMk/>
            <pc:sldMk cId="2232718675" sldId="594"/>
            <ac:spMk id="37" creationId="{6DE85956-0A08-4CC0-853E-4785B3580718}"/>
          </ac:spMkLst>
        </pc:spChg>
      </pc:sldChg>
      <pc:sldChg chg="modSp">
        <pc:chgData name="Herrera Bustamante Cristian (Codelco-Casa Matriz)" userId="S::cherr058@codelco.cl::2c6d9cd6-c296-4612-8f6b-c05dbcd0c76b" providerId="AD" clId="Web-{493C2910-52C2-FBDC-5ED0-46F042DC73AF}" dt="2021-09-08T12:36:16.254" v="27" actId="20577"/>
        <pc:sldMkLst>
          <pc:docMk/>
          <pc:sldMk cId="2099791747" sldId="595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36:16.254" v="27" actId="20577"/>
          <ac:spMkLst>
            <pc:docMk/>
            <pc:sldMk cId="2099791747" sldId="595"/>
            <ac:spMk id="37" creationId="{6DE85956-0A08-4CC0-853E-4785B3580718}"/>
          </ac:spMkLst>
        </pc:spChg>
      </pc:sldChg>
      <pc:sldChg chg="modSp">
        <pc:chgData name="Herrera Bustamante Cristian (Codelco-Casa Matriz)" userId="S::cherr058@codelco.cl::2c6d9cd6-c296-4612-8f6b-c05dbcd0c76b" providerId="AD" clId="Web-{493C2910-52C2-FBDC-5ED0-46F042DC73AF}" dt="2021-09-08T12:36:48.443" v="29" actId="20577"/>
        <pc:sldMkLst>
          <pc:docMk/>
          <pc:sldMk cId="1187530251" sldId="596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36:48.443" v="29" actId="20577"/>
          <ac:spMkLst>
            <pc:docMk/>
            <pc:sldMk cId="1187530251" sldId="596"/>
            <ac:spMk id="37" creationId="{6DE85956-0A08-4CC0-853E-4785B3580718}"/>
          </ac:spMkLst>
        </pc:spChg>
      </pc:sldChg>
      <pc:sldChg chg="del">
        <pc:chgData name="Herrera Bustamante Cristian (Codelco-Casa Matriz)" userId="S::cherr058@codelco.cl::2c6d9cd6-c296-4612-8f6b-c05dbcd0c76b" providerId="AD" clId="Web-{493C2910-52C2-FBDC-5ED0-46F042DC73AF}" dt="2021-09-08T12:43:52.895" v="32"/>
        <pc:sldMkLst>
          <pc:docMk/>
          <pc:sldMk cId="2655872716" sldId="597"/>
        </pc:sldMkLst>
      </pc:sldChg>
      <pc:sldChg chg="modSp add ord">
        <pc:chgData name="Herrera Bustamante Cristian (Codelco-Casa Matriz)" userId="S::cherr058@codelco.cl::2c6d9cd6-c296-4612-8f6b-c05dbcd0c76b" providerId="AD" clId="Web-{493C2910-52C2-FBDC-5ED0-46F042DC73AF}" dt="2021-09-08T13:03:25.886" v="180" actId="20577"/>
        <pc:sldMkLst>
          <pc:docMk/>
          <pc:sldMk cId="2796321579" sldId="599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3:03:25.886" v="180" actId="20577"/>
          <ac:spMkLst>
            <pc:docMk/>
            <pc:sldMk cId="2796321579" sldId="599"/>
            <ac:spMk id="2" creationId="{595D8838-B65C-4C27-A946-FCFF32FE8E92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48:02.888" v="69" actId="20577"/>
          <ac:spMkLst>
            <pc:docMk/>
            <pc:sldMk cId="2796321579" sldId="599"/>
            <ac:spMk id="110" creationId="{00000000-0000-0000-0000-000000000000}"/>
          </ac:spMkLst>
        </pc:spChg>
      </pc:sldChg>
      <pc:sldChg chg="modSp add ord">
        <pc:chgData name="Herrera Bustamante Cristian (Codelco-Casa Matriz)" userId="S::cherr058@codelco.cl::2c6d9cd6-c296-4612-8f6b-c05dbcd0c76b" providerId="AD" clId="Web-{493C2910-52C2-FBDC-5ED0-46F042DC73AF}" dt="2021-09-08T13:00:13.193" v="149" actId="20577"/>
        <pc:sldMkLst>
          <pc:docMk/>
          <pc:sldMk cId="3224874686" sldId="600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3:00:13.193" v="149" actId="20577"/>
          <ac:spMkLst>
            <pc:docMk/>
            <pc:sldMk cId="3224874686" sldId="600"/>
            <ac:spMk id="2" creationId="{D84BCEB9-7A52-4C6A-B0B6-8799779DBB39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347" v="131" actId="1076"/>
          <ac:spMkLst>
            <pc:docMk/>
            <pc:sldMk cId="3224874686" sldId="600"/>
            <ac:spMk id="6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347" v="132" actId="1076"/>
          <ac:spMkLst>
            <pc:docMk/>
            <pc:sldMk cId="3224874686" sldId="600"/>
            <ac:spMk id="7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425" v="137" actId="1076"/>
          <ac:spMkLst>
            <pc:docMk/>
            <pc:sldMk cId="3224874686" sldId="600"/>
            <ac:spMk id="63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441" v="138" actId="1076"/>
          <ac:spMkLst>
            <pc:docMk/>
            <pc:sldMk cId="3224874686" sldId="600"/>
            <ac:spMk id="65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472" v="139" actId="1076"/>
          <ac:spMkLst>
            <pc:docMk/>
            <pc:sldMk cId="3224874686" sldId="600"/>
            <ac:spMk id="66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488" v="140" actId="1076"/>
          <ac:spMkLst>
            <pc:docMk/>
            <pc:sldMk cId="3224874686" sldId="600"/>
            <ac:spMk id="67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9:24.566" v="142" actId="1076"/>
          <ac:spMkLst>
            <pc:docMk/>
            <pc:sldMk cId="3224874686" sldId="600"/>
            <ac:spMk id="70" creationId="{00000000-0000-0000-0000-000000000000}"/>
          </ac:spMkLst>
        </pc:spChg>
        <pc:grpChg chg="mod">
          <ac:chgData name="Herrera Bustamante Cristian (Codelco-Casa Matriz)" userId="S::cherr058@codelco.cl::2c6d9cd6-c296-4612-8f6b-c05dbcd0c76b" providerId="AD" clId="Web-{493C2910-52C2-FBDC-5ED0-46F042DC73AF}" dt="2021-09-08T12:59:24.379" v="134" actId="1076"/>
          <ac:grpSpMkLst>
            <pc:docMk/>
            <pc:sldMk cId="3224874686" sldId="600"/>
            <ac:grpSpMk id="9" creationId="{B066A230-D8BE-49AD-94B1-C3C6BC57AABA}"/>
          </ac:grpSpMkLst>
        </pc:grpChg>
        <pc:grpChg chg="mod">
          <ac:chgData name="Herrera Bustamante Cristian (Codelco-Casa Matriz)" userId="S::cherr058@codelco.cl::2c6d9cd6-c296-4612-8f6b-c05dbcd0c76b" providerId="AD" clId="Web-{493C2910-52C2-FBDC-5ED0-46F042DC73AF}" dt="2021-09-08T12:59:24.550" v="141" actId="1076"/>
          <ac:grpSpMkLst>
            <pc:docMk/>
            <pc:sldMk cId="3224874686" sldId="600"/>
            <ac:grpSpMk id="69" creationId="{00000000-0000-0000-0000-000000000000}"/>
          </ac:grpSpMkLst>
        </pc:grpChg>
        <pc:picChg chg="mod">
          <ac:chgData name="Herrera Bustamante Cristian (Codelco-Casa Matriz)" userId="S::cherr058@codelco.cl::2c6d9cd6-c296-4612-8f6b-c05dbcd0c76b" providerId="AD" clId="Web-{493C2910-52C2-FBDC-5ED0-46F042DC73AF}" dt="2021-09-08T12:59:24.582" v="143" actId="1076"/>
          <ac:picMkLst>
            <pc:docMk/>
            <pc:sldMk cId="3224874686" sldId="600"/>
            <ac:picMk id="74" creationId="{00000000-0000-0000-0000-000000000000}"/>
          </ac:picMkLst>
        </pc:picChg>
        <pc:picChg chg="mod">
          <ac:chgData name="Herrera Bustamante Cristian (Codelco-Casa Matriz)" userId="S::cherr058@codelco.cl::2c6d9cd6-c296-4612-8f6b-c05dbcd0c76b" providerId="AD" clId="Web-{493C2910-52C2-FBDC-5ED0-46F042DC73AF}" dt="2021-09-08T12:59:24.613" v="144" actId="1076"/>
          <ac:picMkLst>
            <pc:docMk/>
            <pc:sldMk cId="3224874686" sldId="600"/>
            <ac:picMk id="75" creationId="{00000000-0000-0000-0000-000000000000}"/>
          </ac:picMkLst>
        </pc:picChg>
        <pc:picChg chg="mod">
          <ac:chgData name="Herrera Bustamante Cristian (Codelco-Casa Matriz)" userId="S::cherr058@codelco.cl::2c6d9cd6-c296-4612-8f6b-c05dbcd0c76b" providerId="AD" clId="Web-{493C2910-52C2-FBDC-5ED0-46F042DC73AF}" dt="2021-09-08T12:59:24.629" v="145" actId="1076"/>
          <ac:picMkLst>
            <pc:docMk/>
            <pc:sldMk cId="3224874686" sldId="600"/>
            <ac:picMk id="77" creationId="{00000000-0000-0000-0000-000000000000}"/>
          </ac:picMkLst>
        </pc:picChg>
        <pc:picChg chg="mod">
          <ac:chgData name="Herrera Bustamante Cristian (Codelco-Casa Matriz)" userId="S::cherr058@codelco.cl::2c6d9cd6-c296-4612-8f6b-c05dbcd0c76b" providerId="AD" clId="Web-{493C2910-52C2-FBDC-5ED0-46F042DC73AF}" dt="2021-09-08T12:59:24.644" v="146" actId="1076"/>
          <ac:picMkLst>
            <pc:docMk/>
            <pc:sldMk cId="3224874686" sldId="600"/>
            <ac:picMk id="78" creationId="{00000000-0000-0000-0000-000000000000}"/>
          </ac:picMkLst>
        </pc:picChg>
        <pc:cxnChg chg="mod">
          <ac:chgData name="Herrera Bustamante Cristian (Codelco-Casa Matriz)" userId="S::cherr058@codelco.cl::2c6d9cd6-c296-4612-8f6b-c05dbcd0c76b" providerId="AD" clId="Web-{493C2910-52C2-FBDC-5ED0-46F042DC73AF}" dt="2021-09-08T12:59:24.363" v="133" actId="1076"/>
          <ac:cxnSpMkLst>
            <pc:docMk/>
            <pc:sldMk cId="3224874686" sldId="600"/>
            <ac:cxnSpMk id="8" creationId="{E92A0B56-6807-42D6-91F7-A234F6FDC02E}"/>
          </ac:cxnSpMkLst>
        </pc:cxnChg>
        <pc:cxnChg chg="mod">
          <ac:chgData name="Herrera Bustamante Cristian (Codelco-Casa Matriz)" userId="S::cherr058@codelco.cl::2c6d9cd6-c296-4612-8f6b-c05dbcd0c76b" providerId="AD" clId="Web-{493C2910-52C2-FBDC-5ED0-46F042DC73AF}" dt="2021-09-08T12:59:24.394" v="135" actId="1076"/>
          <ac:cxnSpMkLst>
            <pc:docMk/>
            <pc:sldMk cId="3224874686" sldId="600"/>
            <ac:cxnSpMk id="56" creationId="{E92A0B56-6807-42D6-91F7-A234F6FDC02E}"/>
          </ac:cxnSpMkLst>
        </pc:cxnChg>
        <pc:cxnChg chg="mod">
          <ac:chgData name="Herrera Bustamante Cristian (Codelco-Casa Matriz)" userId="S::cherr058@codelco.cl::2c6d9cd6-c296-4612-8f6b-c05dbcd0c76b" providerId="AD" clId="Web-{493C2910-52C2-FBDC-5ED0-46F042DC73AF}" dt="2021-09-08T12:59:24.410" v="136" actId="1076"/>
          <ac:cxnSpMkLst>
            <pc:docMk/>
            <pc:sldMk cId="3224874686" sldId="600"/>
            <ac:cxnSpMk id="57" creationId="{E92A0B56-6807-42D6-91F7-A234F6FDC02E}"/>
          </ac:cxnSpMkLst>
        </pc:cxnChg>
      </pc:sldChg>
      <pc:sldChg chg="modSp add ord">
        <pc:chgData name="Herrera Bustamante Cristian (Codelco-Casa Matriz)" userId="S::cherr058@codelco.cl::2c6d9cd6-c296-4612-8f6b-c05dbcd0c76b" providerId="AD" clId="Web-{493C2910-52C2-FBDC-5ED0-46F042DC73AF}" dt="2021-09-08T12:57:34.860" v="108" actId="1076"/>
        <pc:sldMkLst>
          <pc:docMk/>
          <pc:sldMk cId="3590775546" sldId="601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57:34.860" v="108" actId="1076"/>
          <ac:spMkLst>
            <pc:docMk/>
            <pc:sldMk cId="3590775546" sldId="601"/>
            <ac:spMk id="5" creationId="{D57101E3-207B-4809-B335-D526084CEA70}"/>
          </ac:spMkLst>
        </pc:spChg>
      </pc:sldChg>
      <pc:sldChg chg="modSp add">
        <pc:chgData name="Herrera Bustamante Cristian (Codelco-Casa Matriz)" userId="S::cherr058@codelco.cl::2c6d9cd6-c296-4612-8f6b-c05dbcd0c76b" providerId="AD" clId="Web-{493C2910-52C2-FBDC-5ED0-46F042DC73AF}" dt="2021-09-08T12:57:19.125" v="106" actId="14100"/>
        <pc:sldMkLst>
          <pc:docMk/>
          <pc:sldMk cId="2650212675" sldId="602"/>
        </pc:sldMkLst>
        <pc:spChg chg="mod">
          <ac:chgData name="Herrera Bustamante Cristian (Codelco-Casa Matriz)" userId="S::cherr058@codelco.cl::2c6d9cd6-c296-4612-8f6b-c05dbcd0c76b" providerId="AD" clId="Web-{493C2910-52C2-FBDC-5ED0-46F042DC73AF}" dt="2021-09-08T12:57:19.125" v="106" actId="14100"/>
          <ac:spMkLst>
            <pc:docMk/>
            <pc:sldMk cId="2650212675" sldId="602"/>
            <ac:spMk id="2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493C2910-52C2-FBDC-5ED0-46F042DC73AF}" dt="2021-09-08T12:54:26.572" v="101" actId="1076"/>
          <ac:spMkLst>
            <pc:docMk/>
            <pc:sldMk cId="2650212675" sldId="602"/>
            <ac:spMk id="93" creationId="{00000000-0000-0000-0000-000000000000}"/>
          </ac:spMkLst>
        </pc:spChg>
      </pc:sldChg>
      <pc:sldMasterChg chg="addSldLayout">
        <pc:chgData name="Herrera Bustamante Cristian (Codelco-Casa Matriz)" userId="S::cherr058@codelco.cl::2c6d9cd6-c296-4612-8f6b-c05dbcd0c76b" providerId="AD" clId="Web-{493C2910-52C2-FBDC-5ED0-46F042DC73AF}" dt="2021-09-08T12:25:56.625" v="1"/>
        <pc:sldMasterMkLst>
          <pc:docMk/>
          <pc:sldMasterMk cId="2969229741" sldId="2147483648"/>
        </pc:sldMasterMkLst>
        <pc:sldLayoutChg chg="add">
          <pc:chgData name="Herrera Bustamante Cristian (Codelco-Casa Matriz)" userId="S::cherr058@codelco.cl::2c6d9cd6-c296-4612-8f6b-c05dbcd0c76b" providerId="AD" clId="Web-{493C2910-52C2-FBDC-5ED0-46F042DC73AF}" dt="2021-09-08T12:25:56.625" v="1"/>
          <pc:sldLayoutMkLst>
            <pc:docMk/>
            <pc:sldMasterMk cId="2969229741" sldId="2147483648"/>
            <pc:sldLayoutMk cId="98909053" sldId="2147484555"/>
          </pc:sldLayoutMkLst>
        </pc:sldLayoutChg>
      </pc:sldMasterChg>
    </pc:docChg>
  </pc:docChgLst>
  <pc:docChgLst>
    <pc:chgData name="Ribbeck Baraibar Magdalena (Codelco-Casa Matriz)" userId="S::mribb001@codelco.cl::7bb6843e-b693-4544-85cb-a362c987f4a4" providerId="AD" clId="Web-{04B082D1-64DB-4BAB-B1C3-C300B8D5BCC2}"/>
    <pc:docChg chg="sldOrd">
      <pc:chgData name="Ribbeck Baraibar Magdalena (Codelco-Casa Matriz)" userId="S::mribb001@codelco.cl::7bb6843e-b693-4544-85cb-a362c987f4a4" providerId="AD" clId="Web-{04B082D1-64DB-4BAB-B1C3-C300B8D5BCC2}" dt="2021-05-06T12:56:34.254" v="2"/>
      <pc:docMkLst>
        <pc:docMk/>
      </pc:docMkLst>
      <pc:sldChg chg="ord">
        <pc:chgData name="Ribbeck Baraibar Magdalena (Codelco-Casa Matriz)" userId="S::mribb001@codelco.cl::7bb6843e-b693-4544-85cb-a362c987f4a4" providerId="AD" clId="Web-{04B082D1-64DB-4BAB-B1C3-C300B8D5BCC2}" dt="2021-05-06T12:56:34.254" v="2"/>
        <pc:sldMkLst>
          <pc:docMk/>
          <pc:sldMk cId="3298664609" sldId="504"/>
        </pc:sldMkLst>
      </pc:sldChg>
      <pc:sldChg chg="ord">
        <pc:chgData name="Ribbeck Baraibar Magdalena (Codelco-Casa Matriz)" userId="S::mribb001@codelco.cl::7bb6843e-b693-4544-85cb-a362c987f4a4" providerId="AD" clId="Web-{04B082D1-64DB-4BAB-B1C3-C300B8D5BCC2}" dt="2021-05-06T12:56:30.722" v="1"/>
        <pc:sldMkLst>
          <pc:docMk/>
          <pc:sldMk cId="3458529993" sldId="505"/>
        </pc:sldMkLst>
      </pc:sldChg>
    </pc:docChg>
  </pc:docChgLst>
  <pc:docChgLst>
    <pc:chgData name="Carrillo Rojas Daniela (Codelco-Chuquicamata)" userId="S::dcarr014@codelco.cl::b6c6fc0c-fc39-4bf0-8e9d-fb82d681f847" providerId="AD" clId="Web-{4731E423-306A-4D3F-BE33-3C464425841B}"/>
    <pc:docChg chg="addSld modSld">
      <pc:chgData name="Carrillo Rojas Daniela (Codelco-Chuquicamata)" userId="S::dcarr014@codelco.cl::b6c6fc0c-fc39-4bf0-8e9d-fb82d681f847" providerId="AD" clId="Web-{4731E423-306A-4D3F-BE33-3C464425841B}" dt="2021-01-14T14:21:27.312" v="48"/>
      <pc:docMkLst>
        <pc:docMk/>
      </pc:docMkLst>
      <pc:sldChg chg="addSp delSp modSp add replId">
        <pc:chgData name="Carrillo Rojas Daniela (Codelco-Chuquicamata)" userId="S::dcarr014@codelco.cl::b6c6fc0c-fc39-4bf0-8e9d-fb82d681f847" providerId="AD" clId="Web-{4731E423-306A-4D3F-BE33-3C464425841B}" dt="2021-01-14T14:21:27.312" v="48"/>
        <pc:sldMkLst>
          <pc:docMk/>
          <pc:sldMk cId="999419969" sldId="441"/>
        </pc:sldMkLst>
        <pc:spChg chg="del mod">
          <ac:chgData name="Carrillo Rojas Daniela (Codelco-Chuquicamata)" userId="S::dcarr014@codelco.cl::b6c6fc0c-fc39-4bf0-8e9d-fb82d681f847" providerId="AD" clId="Web-{4731E423-306A-4D3F-BE33-3C464425841B}" dt="2021-01-14T14:19:33.165" v="28"/>
          <ac:spMkLst>
            <pc:docMk/>
            <pc:sldMk cId="999419969" sldId="441"/>
            <ac:spMk id="2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961" v="22"/>
          <ac:spMkLst>
            <pc:docMk/>
            <pc:sldMk cId="999419969" sldId="441"/>
            <ac:spMk id="3" creationId="{00000000-0000-0000-0000-000000000000}"/>
          </ac:spMkLst>
        </pc:spChg>
        <pc:spChg chg="add del mod">
          <ac:chgData name="Carrillo Rojas Daniela (Codelco-Chuquicamata)" userId="S::dcarr014@codelco.cl::b6c6fc0c-fc39-4bf0-8e9d-fb82d681f847" providerId="AD" clId="Web-{4731E423-306A-4D3F-BE33-3C464425841B}" dt="2021-01-14T14:19:56.854" v="34"/>
          <ac:spMkLst>
            <pc:docMk/>
            <pc:sldMk cId="999419969" sldId="441"/>
            <ac:spMk id="9" creationId="{11A5CDB1-7924-4013-A911-1856A9796463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21"/>
          <ac:spMkLst>
            <pc:docMk/>
            <pc:sldMk cId="999419969" sldId="441"/>
            <ac:spMk id="11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20"/>
          <ac:spMkLst>
            <pc:docMk/>
            <pc:sldMk cId="999419969" sldId="441"/>
            <ac:spMk id="12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9"/>
          <ac:spMkLst>
            <pc:docMk/>
            <pc:sldMk cId="999419969" sldId="441"/>
            <ac:spMk id="13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8"/>
          <ac:spMkLst>
            <pc:docMk/>
            <pc:sldMk cId="999419969" sldId="441"/>
            <ac:spMk id="14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7"/>
          <ac:spMkLst>
            <pc:docMk/>
            <pc:sldMk cId="999419969" sldId="441"/>
            <ac:spMk id="16" creationId="{00000000-0000-0000-0000-000000000000}"/>
          </ac:spMkLst>
        </pc:spChg>
        <pc:spChg chg="add del mod">
          <ac:chgData name="Carrillo Rojas Daniela (Codelco-Chuquicamata)" userId="S::dcarr014@codelco.cl::b6c6fc0c-fc39-4bf0-8e9d-fb82d681f847" providerId="AD" clId="Web-{4731E423-306A-4D3F-BE33-3C464425841B}" dt="2021-01-14T14:19:49.931" v="31"/>
          <ac:spMkLst>
            <pc:docMk/>
            <pc:sldMk cId="999419969" sldId="441"/>
            <ac:spMk id="17" creationId="{297631A0-A8B7-4BF7-9AD4-BD714078BDB6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6"/>
          <ac:spMkLst>
            <pc:docMk/>
            <pc:sldMk cId="999419969" sldId="441"/>
            <ac:spMk id="18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5"/>
          <ac:spMkLst>
            <pc:docMk/>
            <pc:sldMk cId="999419969" sldId="441"/>
            <ac:spMk id="19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4"/>
          <ac:spMkLst>
            <pc:docMk/>
            <pc:sldMk cId="999419969" sldId="441"/>
            <ac:spMk id="20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73" v="13"/>
          <ac:spMkLst>
            <pc:docMk/>
            <pc:sldMk cId="999419969" sldId="441"/>
            <ac:spMk id="21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57" v="12"/>
          <ac:spMkLst>
            <pc:docMk/>
            <pc:sldMk cId="999419969" sldId="441"/>
            <ac:spMk id="22" creationId="{00000000-0000-0000-0000-000000000000}"/>
          </ac:spMkLst>
        </pc:spChg>
        <pc:spChg chg="add del">
          <ac:chgData name="Carrillo Rojas Daniela (Codelco-Chuquicamata)" userId="S::dcarr014@codelco.cl::b6c6fc0c-fc39-4bf0-8e9d-fb82d681f847" providerId="AD" clId="Web-{4731E423-306A-4D3F-BE33-3C464425841B}" dt="2021-01-14T14:19:42.681" v="30"/>
          <ac:spMkLst>
            <pc:docMk/>
            <pc:sldMk cId="999419969" sldId="441"/>
            <ac:spMk id="25" creationId="{10D14007-D852-45D5-9606-3041AF6C0FBA}"/>
          </ac:spMkLst>
        </pc:spChg>
        <pc:spChg chg="add del mod">
          <ac:chgData name="Carrillo Rojas Daniela (Codelco-Chuquicamata)" userId="S::dcarr014@codelco.cl::b6c6fc0c-fc39-4bf0-8e9d-fb82d681f847" providerId="AD" clId="Web-{4731E423-306A-4D3F-BE33-3C464425841B}" dt="2021-01-14T14:19:56.635" v="33"/>
          <ac:spMkLst>
            <pc:docMk/>
            <pc:sldMk cId="999419969" sldId="441"/>
            <ac:spMk id="26" creationId="{1FF9806F-56D9-4159-9CB6-4CEC4BFBB30D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57" v="9"/>
          <ac:spMkLst>
            <pc:docMk/>
            <pc:sldMk cId="999419969" sldId="441"/>
            <ac:spMk id="27" creationId="{00000000-0000-0000-0000-000000000000}"/>
          </ac:spMkLst>
        </pc:spChg>
        <pc:spChg chg="add del mod">
          <ac:chgData name="Carrillo Rojas Daniela (Codelco-Chuquicamata)" userId="S::dcarr014@codelco.cl::b6c6fc0c-fc39-4bf0-8e9d-fb82d681f847" providerId="AD" clId="Web-{4731E423-306A-4D3F-BE33-3C464425841B}" dt="2021-01-14T14:20:35.903" v="40" actId="20577"/>
          <ac:spMkLst>
            <pc:docMk/>
            <pc:sldMk cId="999419969" sldId="441"/>
            <ac:spMk id="35" creationId="{ED785EDE-8681-498E-A334-C3B20AB0E206}"/>
          </ac:spMkLst>
        </pc:spChg>
        <pc:spChg chg="add del mod">
          <ac:chgData name="Carrillo Rojas Daniela (Codelco-Chuquicamata)" userId="S::dcarr014@codelco.cl::b6c6fc0c-fc39-4bf0-8e9d-fb82d681f847" providerId="AD" clId="Web-{4731E423-306A-4D3F-BE33-3C464425841B}" dt="2021-01-14T14:20:13.620" v="39"/>
          <ac:spMkLst>
            <pc:docMk/>
            <pc:sldMk cId="999419969" sldId="441"/>
            <ac:spMk id="36" creationId="{44A07889-7B27-45D4-8427-42E07DE98BA2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57" v="5"/>
          <ac:spMkLst>
            <pc:docMk/>
            <pc:sldMk cId="999419969" sldId="441"/>
            <ac:spMk id="67" creationId="{00000000-0000-0000-0000-000000000000}"/>
          </ac:spMkLst>
        </pc:spChg>
        <pc:spChg chg="del">
          <ac:chgData name="Carrillo Rojas Daniela (Codelco-Chuquicamata)" userId="S::dcarr014@codelco.cl::b6c6fc0c-fc39-4bf0-8e9d-fb82d681f847" providerId="AD" clId="Web-{4731E423-306A-4D3F-BE33-3C464425841B}" dt="2021-01-14T14:19:12.757" v="4"/>
          <ac:spMkLst>
            <pc:docMk/>
            <pc:sldMk cId="999419969" sldId="441"/>
            <ac:spMk id="68" creationId="{00000000-0000-0000-0000-000000000000}"/>
          </ac:spMkLst>
        </pc:spChg>
        <pc:picChg chg="del">
          <ac:chgData name="Carrillo Rojas Daniela (Codelco-Chuquicamata)" userId="S::dcarr014@codelco.cl::b6c6fc0c-fc39-4bf0-8e9d-fb82d681f847" providerId="AD" clId="Web-{4731E423-306A-4D3F-BE33-3C464425841B}" dt="2021-01-14T14:19:12.961" v="23"/>
          <ac:picMkLst>
            <pc:docMk/>
            <pc:sldMk cId="999419969" sldId="441"/>
            <ac:picMk id="5" creationId="{00000000-0000-0000-0000-000000000000}"/>
          </ac:picMkLst>
        </pc:picChg>
        <pc:picChg chg="del">
          <ac:chgData name="Carrillo Rojas Daniela (Codelco-Chuquicamata)" userId="S::dcarr014@codelco.cl::b6c6fc0c-fc39-4bf0-8e9d-fb82d681f847" providerId="AD" clId="Web-{4731E423-306A-4D3F-BE33-3C464425841B}" dt="2021-01-14T14:19:12.757" v="3"/>
          <ac:picMkLst>
            <pc:docMk/>
            <pc:sldMk cId="999419969" sldId="441"/>
            <ac:picMk id="6" creationId="{E3D75837-E731-4A89-A26C-70BE5447E9C3}"/>
          </ac:picMkLst>
        </pc:picChg>
        <pc:picChg chg="add del mod">
          <ac:chgData name="Carrillo Rojas Daniela (Codelco-Chuquicamata)" userId="S::dcarr014@codelco.cl::b6c6fc0c-fc39-4bf0-8e9d-fb82d681f847" providerId="AD" clId="Web-{4731E423-306A-4D3F-BE33-3C464425841B}" dt="2021-01-14T14:21:26.702" v="44"/>
          <ac:picMkLst>
            <pc:docMk/>
            <pc:sldMk cId="999419969" sldId="441"/>
            <ac:picMk id="37" creationId="{9094EDDF-1D0B-4292-B242-1169DBAD5D80}"/>
          </ac:picMkLst>
        </pc:picChg>
        <pc:picChg chg="add del mod">
          <ac:chgData name="Carrillo Rojas Daniela (Codelco-Chuquicamata)" userId="S::dcarr014@codelco.cl::b6c6fc0c-fc39-4bf0-8e9d-fb82d681f847" providerId="AD" clId="Web-{4731E423-306A-4D3F-BE33-3C464425841B}" dt="2021-01-14T14:21:27.312" v="48"/>
          <ac:picMkLst>
            <pc:docMk/>
            <pc:sldMk cId="999419969" sldId="441"/>
            <ac:picMk id="39" creationId="{EE2E7646-11D5-44E7-9010-032357827132}"/>
          </ac:picMkLst>
        </pc:picChg>
        <pc:cxnChg chg="del">
          <ac:chgData name="Carrillo Rojas Daniela (Codelco-Chuquicamata)" userId="S::dcarr014@codelco.cl::b6c6fc0c-fc39-4bf0-8e9d-fb82d681f847" providerId="AD" clId="Web-{4731E423-306A-4D3F-BE33-3C464425841B}" dt="2021-01-14T14:19:12.757" v="2"/>
          <ac:cxnSpMkLst>
            <pc:docMk/>
            <pc:sldMk cId="999419969" sldId="441"/>
            <ac:cxnSpMk id="7" creationId="{19828236-FDB0-4C7F-9E91-2A6C47013225}"/>
          </ac:cxnSpMkLst>
        </pc:cxnChg>
        <pc:cxnChg chg="del">
          <ac:chgData name="Carrillo Rojas Daniela (Codelco-Chuquicamata)" userId="S::dcarr014@codelco.cl::b6c6fc0c-fc39-4bf0-8e9d-fb82d681f847" providerId="AD" clId="Web-{4731E423-306A-4D3F-BE33-3C464425841B}" dt="2021-01-14T14:19:32.477" v="27"/>
          <ac:cxnSpMkLst>
            <pc:docMk/>
            <pc:sldMk cId="999419969" sldId="441"/>
            <ac:cxnSpMk id="15" creationId="{00000000-0000-0000-0000-000000000000}"/>
          </ac:cxnSpMkLst>
        </pc:cxnChg>
        <pc:cxnChg chg="del mod">
          <ac:chgData name="Carrillo Rojas Daniela (Codelco-Chuquicamata)" userId="S::dcarr014@codelco.cl::b6c6fc0c-fc39-4bf0-8e9d-fb82d681f847" providerId="AD" clId="Web-{4731E423-306A-4D3F-BE33-3C464425841B}" dt="2021-01-14T14:19:12.757" v="11"/>
          <ac:cxnSpMkLst>
            <pc:docMk/>
            <pc:sldMk cId="999419969" sldId="441"/>
            <ac:cxnSpMk id="23" creationId="{00000000-0000-0000-0000-000000000000}"/>
          </ac:cxnSpMkLst>
        </pc:cxnChg>
        <pc:cxnChg chg="del mod">
          <ac:chgData name="Carrillo Rojas Daniela (Codelco-Chuquicamata)" userId="S::dcarr014@codelco.cl::b6c6fc0c-fc39-4bf0-8e9d-fb82d681f847" providerId="AD" clId="Web-{4731E423-306A-4D3F-BE33-3C464425841B}" dt="2021-01-14T14:19:12.757" v="10"/>
          <ac:cxnSpMkLst>
            <pc:docMk/>
            <pc:sldMk cId="999419969" sldId="441"/>
            <ac:cxnSpMk id="24" creationId="{00000000-0000-0000-0000-000000000000}"/>
          </ac:cxnSpMkLst>
        </pc:cxnChg>
        <pc:cxnChg chg="del mod">
          <ac:chgData name="Carrillo Rojas Daniela (Codelco-Chuquicamata)" userId="S::dcarr014@codelco.cl::b6c6fc0c-fc39-4bf0-8e9d-fb82d681f847" providerId="AD" clId="Web-{4731E423-306A-4D3F-BE33-3C464425841B}" dt="2021-01-14T14:19:12.757" v="8"/>
          <ac:cxnSpMkLst>
            <pc:docMk/>
            <pc:sldMk cId="999419969" sldId="441"/>
            <ac:cxnSpMk id="28" creationId="{00000000-0000-0000-0000-000000000000}"/>
          </ac:cxnSpMkLst>
        </pc:cxnChg>
        <pc:cxnChg chg="del mod">
          <ac:chgData name="Carrillo Rojas Daniela (Codelco-Chuquicamata)" userId="S::dcarr014@codelco.cl::b6c6fc0c-fc39-4bf0-8e9d-fb82d681f847" providerId="AD" clId="Web-{4731E423-306A-4D3F-BE33-3C464425841B}" dt="2021-01-14T14:19:12.757" v="7"/>
          <ac:cxnSpMkLst>
            <pc:docMk/>
            <pc:sldMk cId="999419969" sldId="441"/>
            <ac:cxnSpMk id="29" creationId="{00000000-0000-0000-0000-000000000000}"/>
          </ac:cxnSpMkLst>
        </pc:cxnChg>
        <pc:cxnChg chg="del mod">
          <ac:chgData name="Carrillo Rojas Daniela (Codelco-Chuquicamata)" userId="S::dcarr014@codelco.cl::b6c6fc0c-fc39-4bf0-8e9d-fb82d681f847" providerId="AD" clId="Web-{4731E423-306A-4D3F-BE33-3C464425841B}" dt="2021-01-14T14:19:12.757" v="6"/>
          <ac:cxnSpMkLst>
            <pc:docMk/>
            <pc:sldMk cId="999419969" sldId="441"/>
            <ac:cxnSpMk id="30" creationId="{00000000-0000-0000-0000-000000000000}"/>
          </ac:cxnSpMkLst>
        </pc:cxnChg>
        <pc:cxnChg chg="del">
          <ac:chgData name="Carrillo Rojas Daniela (Codelco-Chuquicamata)" userId="S::dcarr014@codelco.cl::b6c6fc0c-fc39-4bf0-8e9d-fb82d681f847" providerId="AD" clId="Web-{4731E423-306A-4D3F-BE33-3C464425841B}" dt="2021-01-14T14:19:12.757" v="1"/>
          <ac:cxnSpMkLst>
            <pc:docMk/>
            <pc:sldMk cId="999419969" sldId="441"/>
            <ac:cxnSpMk id="31" creationId="{033C0835-1369-4068-9814-9AC3002DAACC}"/>
          </ac:cxnSpMkLst>
        </pc:cxnChg>
      </pc:sldChg>
    </pc:docChg>
  </pc:docChgLst>
  <pc:docChgLst>
    <pc:chgData name="Herrera Bustamante Cristian (Codelco-Casa Matriz)" userId="S::cherr058@codelco.cl::2c6d9cd6-c296-4612-8f6b-c05dbcd0c76b" providerId="AD" clId="Web-{3EAC447B-3502-E77C-C778-71BA3AD50632}"/>
    <pc:docChg chg="addSld delSld modSld sldOrd addMainMaster modMainMaster">
      <pc:chgData name="Herrera Bustamante Cristian (Codelco-Casa Matriz)" userId="S::cherr058@codelco.cl::2c6d9cd6-c296-4612-8f6b-c05dbcd0c76b" providerId="AD" clId="Web-{3EAC447B-3502-E77C-C778-71BA3AD50632}" dt="2021-08-03T21:56:09.693" v="34"/>
      <pc:docMkLst>
        <pc:docMk/>
      </pc:docMkLst>
      <pc:sldChg chg="del">
        <pc:chgData name="Herrera Bustamante Cristian (Codelco-Casa Matriz)" userId="S::cherr058@codelco.cl::2c6d9cd6-c296-4612-8f6b-c05dbcd0c76b" providerId="AD" clId="Web-{3EAC447B-3502-E77C-C778-71BA3AD50632}" dt="2021-08-03T21:49:12.044" v="2"/>
        <pc:sldMkLst>
          <pc:docMk/>
          <pc:sldMk cId="1543957027" sldId="561"/>
        </pc:sldMkLst>
      </pc:sldChg>
      <pc:sldChg chg="del">
        <pc:chgData name="Herrera Bustamante Cristian (Codelco-Casa Matriz)" userId="S::cherr058@codelco.cl::2c6d9cd6-c296-4612-8f6b-c05dbcd0c76b" providerId="AD" clId="Web-{3EAC447B-3502-E77C-C778-71BA3AD50632}" dt="2021-08-03T21:49:24.107" v="4"/>
        <pc:sldMkLst>
          <pc:docMk/>
          <pc:sldMk cId="964809338" sldId="572"/>
        </pc:sldMkLst>
      </pc:sldChg>
      <pc:sldChg chg="modSp add ord">
        <pc:chgData name="Herrera Bustamante Cristian (Codelco-Casa Matriz)" userId="S::cherr058@codelco.cl::2c6d9cd6-c296-4612-8f6b-c05dbcd0c76b" providerId="AD" clId="Web-{3EAC447B-3502-E77C-C778-71BA3AD50632}" dt="2021-08-03T21:54:35.129" v="29" actId="20577"/>
        <pc:sldMkLst>
          <pc:docMk/>
          <pc:sldMk cId="3434625331" sldId="575"/>
        </pc:sldMkLst>
        <pc:spChg chg="mod">
          <ac:chgData name="Herrera Bustamante Cristian (Codelco-Casa Matriz)" userId="S::cherr058@codelco.cl::2c6d9cd6-c296-4612-8f6b-c05dbcd0c76b" providerId="AD" clId="Web-{3EAC447B-3502-E77C-C778-71BA3AD50632}" dt="2021-08-03T21:54:35.129" v="29" actId="20577"/>
          <ac:spMkLst>
            <pc:docMk/>
            <pc:sldMk cId="3434625331" sldId="575"/>
            <ac:spMk id="5" creationId="{D57101E3-207B-4809-B335-D526084CEA70}"/>
          </ac:spMkLst>
        </pc:spChg>
      </pc:sldChg>
      <pc:sldChg chg="modSp add">
        <pc:chgData name="Herrera Bustamante Cristian (Codelco-Casa Matriz)" userId="S::cherr058@codelco.cl::2c6d9cd6-c296-4612-8f6b-c05dbcd0c76b" providerId="AD" clId="Web-{3EAC447B-3502-E77C-C778-71BA3AD50632}" dt="2021-08-03T21:56:09.693" v="34"/>
        <pc:sldMkLst>
          <pc:docMk/>
          <pc:sldMk cId="2647087036" sldId="576"/>
        </pc:sldMkLst>
        <pc:spChg chg="mod">
          <ac:chgData name="Herrera Bustamante Cristian (Codelco-Casa Matriz)" userId="S::cherr058@codelco.cl::2c6d9cd6-c296-4612-8f6b-c05dbcd0c76b" providerId="AD" clId="Web-{3EAC447B-3502-E77C-C778-71BA3AD50632}" dt="2021-08-03T21:56:09.693" v="34"/>
          <ac:spMkLst>
            <pc:docMk/>
            <pc:sldMk cId="2647087036" sldId="576"/>
            <ac:spMk id="35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3EAC447B-3502-E77C-C778-71BA3AD50632}" dt="2021-08-03T21:56:09.662" v="33"/>
          <ac:spMkLst>
            <pc:docMk/>
            <pc:sldMk cId="2647087036" sldId="576"/>
            <ac:spMk id="36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3EAC447B-3502-E77C-C778-71BA3AD50632}" dt="2021-08-03T21:49:48.248" v="5"/>
          <ac:spMkLst>
            <pc:docMk/>
            <pc:sldMk cId="2647087036" sldId="576"/>
            <ac:spMk id="39" creationId="{00000000-0000-0000-0000-000000000000}"/>
          </ac:spMkLst>
        </pc:spChg>
        <pc:spChg chg="mod">
          <ac:chgData name="Herrera Bustamante Cristian (Codelco-Casa Matriz)" userId="S::cherr058@codelco.cl::2c6d9cd6-c296-4612-8f6b-c05dbcd0c76b" providerId="AD" clId="Web-{3EAC447B-3502-E77C-C778-71BA3AD50632}" dt="2021-08-03T21:49:52.936" v="6" actId="20577"/>
          <ac:spMkLst>
            <pc:docMk/>
            <pc:sldMk cId="2647087036" sldId="576"/>
            <ac:spMk id="45" creationId="{00000000-0000-0000-0000-000000000000}"/>
          </ac:spMkLst>
        </pc:spChg>
      </pc:sldChg>
      <pc:sldMasterChg chg="add addSldLayout">
        <pc:chgData name="Herrera Bustamante Cristian (Codelco-Casa Matriz)" userId="S::cherr058@codelco.cl::2c6d9cd6-c296-4612-8f6b-c05dbcd0c76b" providerId="AD" clId="Web-{3EAC447B-3502-E77C-C778-71BA3AD50632}" dt="2021-08-03T21:47:33.761" v="0"/>
        <pc:sldMasterMkLst>
          <pc:docMk/>
          <pc:sldMasterMk cId="2969229741" sldId="2147483648"/>
        </pc:sldMasterMkLst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1608224328" sldId="2147483654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2497063147" sldId="2147483659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92851952" sldId="2147483887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1746498062" sldId="2147483907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554729717" sldId="2147483908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960843776" sldId="2147483909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7610835" sldId="2147483910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543058118" sldId="2147484535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2612411629" sldId="2147484536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852498680" sldId="2147484537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079707490" sldId="2147484538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2411697666" sldId="2147484539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2470369557" sldId="2147484540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2692910053" sldId="2147484541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605467897" sldId="2147484542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911390954" sldId="2147484543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1470861532" sldId="2147484544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977499301" sldId="2147484545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86300755" sldId="2147484546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618327159" sldId="2147484547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3684205832" sldId="2147484548"/>
          </pc:sldLayoutMkLst>
        </pc:sldLayoutChg>
        <pc:sldLayoutChg chg="ad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2969229741" sldId="2147483648"/>
            <pc:sldLayoutMk cId="466470504" sldId="2147484554"/>
          </pc:sldLayoutMkLst>
        </pc:sldLayoutChg>
      </pc:sldMasterChg>
      <pc:sldMasterChg chg="modSldLayout">
        <pc:chgData name="Herrera Bustamante Cristian (Codelco-Casa Matriz)" userId="S::cherr058@codelco.cl::2c6d9cd6-c296-4612-8f6b-c05dbcd0c76b" providerId="AD" clId="Web-{3EAC447B-3502-E77C-C778-71BA3AD50632}" dt="2021-08-03T21:47:33.761" v="0"/>
        <pc:sldMasterMkLst>
          <pc:docMk/>
          <pc:sldMasterMk cId="1483736372" sldId="2147483899"/>
        </pc:sldMasterMkLst>
        <pc:sldLayoutChg chg="replI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1483736372" sldId="2147483899"/>
            <pc:sldLayoutMk cId="2664754821" sldId="2147484551"/>
          </pc:sldLayoutMkLst>
        </pc:sldLayoutChg>
        <pc:sldLayoutChg chg="replI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1483736372" sldId="2147483899"/>
            <pc:sldLayoutMk cId="3338812451" sldId="2147484552"/>
          </pc:sldLayoutMkLst>
        </pc:sldLayoutChg>
        <pc:sldLayoutChg chg="replI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1483736372" sldId="2147483899"/>
            <pc:sldLayoutMk cId="757950045" sldId="2147484553"/>
          </pc:sldLayoutMkLst>
        </pc:sldLayoutChg>
      </pc:sldMasterChg>
      <pc:sldMasterChg chg="modSldLayout">
        <pc:chgData name="Herrera Bustamante Cristian (Codelco-Casa Matriz)" userId="S::cherr058@codelco.cl::2c6d9cd6-c296-4612-8f6b-c05dbcd0c76b" providerId="AD" clId="Web-{3EAC447B-3502-E77C-C778-71BA3AD50632}" dt="2021-08-03T21:47:33.761" v="0"/>
        <pc:sldMasterMkLst>
          <pc:docMk/>
          <pc:sldMasterMk cId="119532437" sldId="2147484386"/>
        </pc:sldMasterMkLst>
        <pc:sldLayoutChg chg="replI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119532437" sldId="2147484386"/>
            <pc:sldLayoutMk cId="1614011457" sldId="2147484549"/>
          </pc:sldLayoutMkLst>
        </pc:sldLayoutChg>
      </pc:sldMasterChg>
      <pc:sldMasterChg chg="modSldLayout">
        <pc:chgData name="Herrera Bustamante Cristian (Codelco-Casa Matriz)" userId="S::cherr058@codelco.cl::2c6d9cd6-c296-4612-8f6b-c05dbcd0c76b" providerId="AD" clId="Web-{3EAC447B-3502-E77C-C778-71BA3AD50632}" dt="2021-08-03T21:47:33.761" v="0"/>
        <pc:sldMasterMkLst>
          <pc:docMk/>
          <pc:sldMasterMk cId="1483736372" sldId="2147484406"/>
        </pc:sldMasterMkLst>
        <pc:sldLayoutChg chg="replId">
          <pc:chgData name="Herrera Bustamante Cristian (Codelco-Casa Matriz)" userId="S::cherr058@codelco.cl::2c6d9cd6-c296-4612-8f6b-c05dbcd0c76b" providerId="AD" clId="Web-{3EAC447B-3502-E77C-C778-71BA3AD50632}" dt="2021-08-03T21:47:33.761" v="0"/>
          <pc:sldLayoutMkLst>
            <pc:docMk/>
            <pc:sldMasterMk cId="1483736372" sldId="2147484406"/>
            <pc:sldLayoutMk cId="3834324367" sldId="2147484550"/>
          </pc:sldLayoutMkLst>
        </pc:sldLayoutChg>
      </pc:sldMasterChg>
    </pc:docChg>
  </pc:docChgLst>
  <pc:docChgLst>
    <pc:chgData name="Mery Carrasco Mauricio (Codelco-Casa Matriz)" userId="S::mmery004@codelco.cl::a0378191-74de-4d59-9b37-aa421303daba" providerId="AD" clId="Web-{2848C59F-808B-0000-D45A-AFE5F48D3AB1}"/>
    <pc:docChg chg="modSld">
      <pc:chgData name="Mery Carrasco Mauricio (Codelco-Casa Matriz)" userId="S::mmery004@codelco.cl::a0378191-74de-4d59-9b37-aa421303daba" providerId="AD" clId="Web-{2848C59F-808B-0000-D45A-AFE5F48D3AB1}" dt="2021-05-06T16:00:38.468" v="245" actId="1076"/>
      <pc:docMkLst>
        <pc:docMk/>
      </pc:docMkLst>
      <pc:sldChg chg="delSp modSp">
        <pc:chgData name="Mery Carrasco Mauricio (Codelco-Casa Matriz)" userId="S::mmery004@codelco.cl::a0378191-74de-4d59-9b37-aa421303daba" providerId="AD" clId="Web-{2848C59F-808B-0000-D45A-AFE5F48D3AB1}" dt="2021-05-06T15:54:40.086" v="67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4:36.539" v="57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554" v="58" actId="1076"/>
          <ac:spMkLst>
            <pc:docMk/>
            <pc:sldMk cId="2155997825" sldId="375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4:03.413" v="38"/>
          <ac:spMkLst>
            <pc:docMk/>
            <pc:sldMk cId="2155997825" sldId="375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4:03.413" v="37"/>
          <ac:spMkLst>
            <pc:docMk/>
            <pc:sldMk cId="2155997825" sldId="375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554" v="59" actId="1076"/>
          <ac:spMkLst>
            <pc:docMk/>
            <pc:sldMk cId="2155997825" sldId="375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570" v="60" actId="1076"/>
          <ac:spMkLst>
            <pc:docMk/>
            <pc:sldMk cId="2155997825" sldId="375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4:03.413" v="36"/>
          <ac:spMkLst>
            <pc:docMk/>
            <pc:sldMk cId="2155997825" sldId="375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586" v="61" actId="1076"/>
          <ac:spMkLst>
            <pc:docMk/>
            <pc:sldMk cId="2155997825" sldId="37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633" v="65" actId="1076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601" v="62" actId="1076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648" v="66" actId="1076"/>
          <ac:spMkLst>
            <pc:docMk/>
            <pc:sldMk cId="2155997825" sldId="37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617" v="63" actId="1076"/>
          <ac:spMkLst>
            <pc:docMk/>
            <pc:sldMk cId="2155997825" sldId="375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476" v="53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492" v="54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633" v="64" actId="1076"/>
          <ac:spMkLst>
            <pc:docMk/>
            <pc:sldMk cId="2155997825" sldId="375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40.086" v="67" actId="1076"/>
          <ac:spMkLst>
            <pc:docMk/>
            <pc:sldMk cId="2155997825" sldId="37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508" v="55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4:36.523" v="56" actId="1076"/>
          <ac:spMkLst>
            <pc:docMk/>
            <pc:sldMk cId="2155997825" sldId="375"/>
            <ac:spMk id="48" creationId="{62444E91-07F2-4258-A080-F0F76AFF8F81}"/>
          </ac:spMkLst>
        </pc:spChg>
      </pc:sldChg>
      <pc:sldChg chg="mod modShow">
        <pc:chgData name="Mery Carrasco Mauricio (Codelco-Casa Matriz)" userId="S::mmery004@codelco.cl::a0378191-74de-4d59-9b37-aa421303daba" providerId="AD" clId="Web-{2848C59F-808B-0000-D45A-AFE5F48D3AB1}" dt="2021-05-06T15:53:14.022" v="35"/>
        <pc:sldMkLst>
          <pc:docMk/>
          <pc:sldMk cId="1775339418" sldId="440"/>
        </pc:sldMkLst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5:01.164" v="85" actId="1076"/>
        <pc:sldMkLst>
          <pc:docMk/>
          <pc:sldMk cId="1490313849" sldId="508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5:01.024" v="75" actId="1076"/>
          <ac:spMkLst>
            <pc:docMk/>
            <pc:sldMk cId="1490313849" sldId="508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024" v="76" actId="1076"/>
          <ac:spMkLst>
            <pc:docMk/>
            <pc:sldMk cId="1490313849" sldId="508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4:48.477" v="70"/>
          <ac:spMkLst>
            <pc:docMk/>
            <pc:sldMk cId="1490313849" sldId="508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4:48.477" v="69"/>
          <ac:spMkLst>
            <pc:docMk/>
            <pc:sldMk cId="1490313849" sldId="508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039" v="77" actId="1076"/>
          <ac:spMkLst>
            <pc:docMk/>
            <pc:sldMk cId="1490313849" sldId="508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055" v="78" actId="1076"/>
          <ac:spMkLst>
            <pc:docMk/>
            <pc:sldMk cId="1490313849" sldId="508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4:48.477" v="68"/>
          <ac:spMkLst>
            <pc:docMk/>
            <pc:sldMk cId="1490313849" sldId="508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071" v="79" actId="1076"/>
          <ac:spMkLst>
            <pc:docMk/>
            <pc:sldMk cId="1490313849" sldId="508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149" v="83" actId="1076"/>
          <ac:spMkLst>
            <pc:docMk/>
            <pc:sldMk cId="1490313849" sldId="508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102" v="80" actId="1076"/>
          <ac:spMkLst>
            <pc:docMk/>
            <pc:sldMk cId="1490313849" sldId="508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164" v="84" actId="1076"/>
          <ac:spMkLst>
            <pc:docMk/>
            <pc:sldMk cId="1490313849" sldId="508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117" v="81" actId="1076"/>
          <ac:spMkLst>
            <pc:docMk/>
            <pc:sldMk cId="1490313849" sldId="508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0.977" v="71" actId="1076"/>
          <ac:spMkLst>
            <pc:docMk/>
            <pc:sldMk cId="1490313849" sldId="508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0.977" v="72" actId="1076"/>
          <ac:spMkLst>
            <pc:docMk/>
            <pc:sldMk cId="1490313849" sldId="508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133" v="82" actId="1076"/>
          <ac:spMkLst>
            <pc:docMk/>
            <pc:sldMk cId="1490313849" sldId="508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164" v="85" actId="1076"/>
          <ac:spMkLst>
            <pc:docMk/>
            <pc:sldMk cId="1490313849" sldId="508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0.992" v="73" actId="1076"/>
          <ac:spMkLst>
            <pc:docMk/>
            <pc:sldMk cId="1490313849" sldId="508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01.008" v="74" actId="1076"/>
          <ac:spMkLst>
            <pc:docMk/>
            <pc:sldMk cId="1490313849" sldId="508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5:22.727" v="118" actId="1076"/>
        <pc:sldMkLst>
          <pc:docMk/>
          <pc:sldMk cId="1490156629" sldId="509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5:22.618" v="108" actId="1076"/>
          <ac:spMkLst>
            <pc:docMk/>
            <pc:sldMk cId="1490156629" sldId="509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18" v="109" actId="1076"/>
          <ac:spMkLst>
            <pc:docMk/>
            <pc:sldMk cId="1490156629" sldId="509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09.383" v="88"/>
          <ac:spMkLst>
            <pc:docMk/>
            <pc:sldMk cId="1490156629" sldId="509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09.383" v="87"/>
          <ac:spMkLst>
            <pc:docMk/>
            <pc:sldMk cId="1490156629" sldId="509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33" v="110" actId="1076"/>
          <ac:spMkLst>
            <pc:docMk/>
            <pc:sldMk cId="1490156629" sldId="509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49" v="111" actId="1076"/>
          <ac:spMkLst>
            <pc:docMk/>
            <pc:sldMk cId="1490156629" sldId="509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09.383" v="86"/>
          <ac:spMkLst>
            <pc:docMk/>
            <pc:sldMk cId="1490156629" sldId="509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65" v="112" actId="1076"/>
          <ac:spMkLst>
            <pc:docMk/>
            <pc:sldMk cId="1490156629" sldId="509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96" v="116" actId="1076"/>
          <ac:spMkLst>
            <pc:docMk/>
            <pc:sldMk cId="1490156629" sldId="509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65" v="113" actId="1076"/>
          <ac:spMkLst>
            <pc:docMk/>
            <pc:sldMk cId="1490156629" sldId="509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712" v="117" actId="1076"/>
          <ac:spMkLst>
            <pc:docMk/>
            <pc:sldMk cId="1490156629" sldId="509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80" v="114" actId="1076"/>
          <ac:spMkLst>
            <pc:docMk/>
            <pc:sldMk cId="1490156629" sldId="509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571" v="104" actId="1076"/>
          <ac:spMkLst>
            <pc:docMk/>
            <pc:sldMk cId="1490156629" sldId="509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587" v="105" actId="1076"/>
          <ac:spMkLst>
            <pc:docMk/>
            <pc:sldMk cId="1490156629" sldId="509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96" v="115" actId="1076"/>
          <ac:spMkLst>
            <pc:docMk/>
            <pc:sldMk cId="1490156629" sldId="509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727" v="118" actId="1076"/>
          <ac:spMkLst>
            <pc:docMk/>
            <pc:sldMk cId="1490156629" sldId="509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587" v="106" actId="1076"/>
          <ac:spMkLst>
            <pc:docMk/>
            <pc:sldMk cId="1490156629" sldId="509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22.602" v="107" actId="1076"/>
          <ac:spMkLst>
            <pc:docMk/>
            <pc:sldMk cId="1490156629" sldId="509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5:45.962" v="136" actId="1076"/>
        <pc:sldMkLst>
          <pc:docMk/>
          <pc:sldMk cId="334918088" sldId="510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5:45.837" v="126" actId="1076"/>
          <ac:spMkLst>
            <pc:docMk/>
            <pc:sldMk cId="334918088" sldId="510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53" v="127" actId="1076"/>
          <ac:spMkLst>
            <pc:docMk/>
            <pc:sldMk cId="334918088" sldId="510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35.165" v="121"/>
          <ac:spMkLst>
            <pc:docMk/>
            <pc:sldMk cId="334918088" sldId="510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35.165" v="120"/>
          <ac:spMkLst>
            <pc:docMk/>
            <pc:sldMk cId="334918088" sldId="510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68" v="128" actId="1076"/>
          <ac:spMkLst>
            <pc:docMk/>
            <pc:sldMk cId="334918088" sldId="510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68" v="129" actId="1076"/>
          <ac:spMkLst>
            <pc:docMk/>
            <pc:sldMk cId="334918088" sldId="510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35.165" v="119"/>
          <ac:spMkLst>
            <pc:docMk/>
            <pc:sldMk cId="334918088" sldId="510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84" v="130" actId="1076"/>
          <ac:spMkLst>
            <pc:docMk/>
            <pc:sldMk cId="334918088" sldId="510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946" v="134" actId="1076"/>
          <ac:spMkLst>
            <pc:docMk/>
            <pc:sldMk cId="334918088" sldId="510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900" v="131" actId="1076"/>
          <ac:spMkLst>
            <pc:docMk/>
            <pc:sldMk cId="334918088" sldId="510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946" v="135" actId="1076"/>
          <ac:spMkLst>
            <pc:docMk/>
            <pc:sldMk cId="334918088" sldId="510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915" v="132" actId="1076"/>
          <ac:spMkLst>
            <pc:docMk/>
            <pc:sldMk cId="334918088" sldId="510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790" v="122" actId="1076"/>
          <ac:spMkLst>
            <pc:docMk/>
            <pc:sldMk cId="334918088" sldId="510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06" v="123" actId="1076"/>
          <ac:spMkLst>
            <pc:docMk/>
            <pc:sldMk cId="334918088" sldId="510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915" v="133" actId="1076"/>
          <ac:spMkLst>
            <pc:docMk/>
            <pc:sldMk cId="334918088" sldId="510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962" v="136" actId="1076"/>
          <ac:spMkLst>
            <pc:docMk/>
            <pc:sldMk cId="334918088" sldId="510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21" v="124" actId="1076"/>
          <ac:spMkLst>
            <pc:docMk/>
            <pc:sldMk cId="334918088" sldId="510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5:45.821" v="125" actId="1076"/>
          <ac:spMkLst>
            <pc:docMk/>
            <pc:sldMk cId="334918088" sldId="510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6:06.212" v="154" actId="1076"/>
        <pc:sldMkLst>
          <pc:docMk/>
          <pc:sldMk cId="4083408312" sldId="511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6:06.087" v="144" actId="1076"/>
          <ac:spMkLst>
            <pc:docMk/>
            <pc:sldMk cId="4083408312" sldId="511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03" v="145" actId="1076"/>
          <ac:spMkLst>
            <pc:docMk/>
            <pc:sldMk cId="4083408312" sldId="511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55.869" v="139"/>
          <ac:spMkLst>
            <pc:docMk/>
            <pc:sldMk cId="4083408312" sldId="511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55.869" v="138"/>
          <ac:spMkLst>
            <pc:docMk/>
            <pc:sldMk cId="4083408312" sldId="511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19" v="146" actId="1076"/>
          <ac:spMkLst>
            <pc:docMk/>
            <pc:sldMk cId="4083408312" sldId="511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34" v="147" actId="1076"/>
          <ac:spMkLst>
            <pc:docMk/>
            <pc:sldMk cId="4083408312" sldId="511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5:55.869" v="137"/>
          <ac:spMkLst>
            <pc:docMk/>
            <pc:sldMk cId="4083408312" sldId="511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34" v="148" actId="1076"/>
          <ac:spMkLst>
            <pc:docMk/>
            <pc:sldMk cId="4083408312" sldId="511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97" v="152" actId="1076"/>
          <ac:spMkLst>
            <pc:docMk/>
            <pc:sldMk cId="4083408312" sldId="511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50" v="149" actId="1076"/>
          <ac:spMkLst>
            <pc:docMk/>
            <pc:sldMk cId="4083408312" sldId="511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97" v="153" actId="1076"/>
          <ac:spMkLst>
            <pc:docMk/>
            <pc:sldMk cId="4083408312" sldId="511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66" v="150" actId="1076"/>
          <ac:spMkLst>
            <pc:docMk/>
            <pc:sldMk cId="4083408312" sldId="511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041" v="140" actId="1076"/>
          <ac:spMkLst>
            <pc:docMk/>
            <pc:sldMk cId="4083408312" sldId="511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056" v="141" actId="1076"/>
          <ac:spMkLst>
            <pc:docMk/>
            <pc:sldMk cId="4083408312" sldId="511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181" v="151" actId="1076"/>
          <ac:spMkLst>
            <pc:docMk/>
            <pc:sldMk cId="4083408312" sldId="511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212" v="154" actId="1076"/>
          <ac:spMkLst>
            <pc:docMk/>
            <pc:sldMk cId="4083408312" sldId="511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072" v="142" actId="1076"/>
          <ac:spMkLst>
            <pc:docMk/>
            <pc:sldMk cId="4083408312" sldId="511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06.087" v="143" actId="1076"/>
          <ac:spMkLst>
            <pc:docMk/>
            <pc:sldMk cId="4083408312" sldId="511"/>
            <ac:spMk id="48" creationId="{62444E91-07F2-4258-A080-F0F76AFF8F81}"/>
          </ac:spMkLst>
        </pc:spChg>
      </pc:sldChg>
      <pc:sldChg chg="modSp mod modShow">
        <pc:chgData name="Mery Carrasco Mauricio (Codelco-Casa Matriz)" userId="S::mmery004@codelco.cl::a0378191-74de-4d59-9b37-aa421303daba" providerId="AD" clId="Web-{2848C59F-808B-0000-D45A-AFE5F48D3AB1}" dt="2021-05-06T15:56:12.963" v="155"/>
        <pc:sldMkLst>
          <pc:docMk/>
          <pc:sldMk cId="3232580586" sldId="512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48:47.204" v="26" actId="20577"/>
          <ac:spMkLst>
            <pc:docMk/>
            <pc:sldMk cId="3232580586" sldId="512"/>
            <ac:spMk id="3" creationId="{4248B998-1688-4898-9628-8FF1A9F36A28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6:29.979" v="173" actId="1076"/>
        <pc:sldMkLst>
          <pc:docMk/>
          <pc:sldMk cId="1516675172" sldId="513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6:29.869" v="163" actId="1076"/>
          <ac:spMkLst>
            <pc:docMk/>
            <pc:sldMk cId="1516675172" sldId="513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885" v="164" actId="1076"/>
          <ac:spMkLst>
            <pc:docMk/>
            <pc:sldMk cId="1516675172" sldId="513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6:19.713" v="158"/>
          <ac:spMkLst>
            <pc:docMk/>
            <pc:sldMk cId="1516675172" sldId="513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6:19.713" v="157"/>
          <ac:spMkLst>
            <pc:docMk/>
            <pc:sldMk cId="1516675172" sldId="513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885" v="165" actId="1076"/>
          <ac:spMkLst>
            <pc:docMk/>
            <pc:sldMk cId="1516675172" sldId="513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01" v="166" actId="1076"/>
          <ac:spMkLst>
            <pc:docMk/>
            <pc:sldMk cId="1516675172" sldId="513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6:19.713" v="156"/>
          <ac:spMkLst>
            <pc:docMk/>
            <pc:sldMk cId="1516675172" sldId="513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16" v="167" actId="1076"/>
          <ac:spMkLst>
            <pc:docMk/>
            <pc:sldMk cId="1516675172" sldId="513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63" v="171" actId="1076"/>
          <ac:spMkLst>
            <pc:docMk/>
            <pc:sldMk cId="1516675172" sldId="513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16" v="168" actId="1076"/>
          <ac:spMkLst>
            <pc:docMk/>
            <pc:sldMk cId="1516675172" sldId="513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63" v="172" actId="1076"/>
          <ac:spMkLst>
            <pc:docMk/>
            <pc:sldMk cId="1516675172" sldId="513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32" v="169" actId="1076"/>
          <ac:spMkLst>
            <pc:docMk/>
            <pc:sldMk cId="1516675172" sldId="513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822" v="159" actId="1076"/>
          <ac:spMkLst>
            <pc:docMk/>
            <pc:sldMk cId="1516675172" sldId="513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822" v="160" actId="1076"/>
          <ac:spMkLst>
            <pc:docMk/>
            <pc:sldMk cId="1516675172" sldId="513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47" v="170" actId="1076"/>
          <ac:spMkLst>
            <pc:docMk/>
            <pc:sldMk cId="1516675172" sldId="513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979" v="173" actId="1076"/>
          <ac:spMkLst>
            <pc:docMk/>
            <pc:sldMk cId="1516675172" sldId="513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838" v="161" actId="1076"/>
          <ac:spMkLst>
            <pc:docMk/>
            <pc:sldMk cId="1516675172" sldId="513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29.854" v="162" actId="1076"/>
          <ac:spMkLst>
            <pc:docMk/>
            <pc:sldMk cId="1516675172" sldId="513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6:50.588" v="191" actId="1076"/>
        <pc:sldMkLst>
          <pc:docMk/>
          <pc:sldMk cId="3150566601" sldId="514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6:50.463" v="181" actId="1076"/>
          <ac:spMkLst>
            <pc:docMk/>
            <pc:sldMk cId="3150566601" sldId="514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79" v="182" actId="1076"/>
          <ac:spMkLst>
            <pc:docMk/>
            <pc:sldMk cId="3150566601" sldId="514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6:39.885" v="176"/>
          <ac:spMkLst>
            <pc:docMk/>
            <pc:sldMk cId="3150566601" sldId="514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6:39.885" v="175"/>
          <ac:spMkLst>
            <pc:docMk/>
            <pc:sldMk cId="3150566601" sldId="514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95" v="183" actId="1076"/>
          <ac:spMkLst>
            <pc:docMk/>
            <pc:sldMk cId="3150566601" sldId="514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95" v="184" actId="1076"/>
          <ac:spMkLst>
            <pc:docMk/>
            <pc:sldMk cId="3150566601" sldId="514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6:39.885" v="174"/>
          <ac:spMkLst>
            <pc:docMk/>
            <pc:sldMk cId="3150566601" sldId="514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10" v="185" actId="1076"/>
          <ac:spMkLst>
            <pc:docMk/>
            <pc:sldMk cId="3150566601" sldId="514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57" v="189" actId="1076"/>
          <ac:spMkLst>
            <pc:docMk/>
            <pc:sldMk cId="3150566601" sldId="514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26" v="186" actId="1076"/>
          <ac:spMkLst>
            <pc:docMk/>
            <pc:sldMk cId="3150566601" sldId="514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73" v="190" actId="1076"/>
          <ac:spMkLst>
            <pc:docMk/>
            <pc:sldMk cId="3150566601" sldId="514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41" v="187" actId="1076"/>
          <ac:spMkLst>
            <pc:docMk/>
            <pc:sldMk cId="3150566601" sldId="514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16" v="177" actId="1076"/>
          <ac:spMkLst>
            <pc:docMk/>
            <pc:sldMk cId="3150566601" sldId="514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32" v="178" actId="1076"/>
          <ac:spMkLst>
            <pc:docMk/>
            <pc:sldMk cId="3150566601" sldId="514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41" v="188" actId="1076"/>
          <ac:spMkLst>
            <pc:docMk/>
            <pc:sldMk cId="3150566601" sldId="514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588" v="191" actId="1076"/>
          <ac:spMkLst>
            <pc:docMk/>
            <pc:sldMk cId="3150566601" sldId="514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48" v="179" actId="1076"/>
          <ac:spMkLst>
            <pc:docMk/>
            <pc:sldMk cId="3150566601" sldId="514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6:50.463" v="180" actId="1076"/>
          <ac:spMkLst>
            <pc:docMk/>
            <pc:sldMk cId="3150566601" sldId="514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5:59:57.889" v="209" actId="1076"/>
        <pc:sldMkLst>
          <pc:docMk/>
          <pc:sldMk cId="503890821" sldId="515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5:59:57.764" v="199" actId="1076"/>
          <ac:spMkLst>
            <pc:docMk/>
            <pc:sldMk cId="503890821" sldId="51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64" v="200" actId="1076"/>
          <ac:spMkLst>
            <pc:docMk/>
            <pc:sldMk cId="503890821" sldId="515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8:52.810" v="194"/>
          <ac:spMkLst>
            <pc:docMk/>
            <pc:sldMk cId="503890821" sldId="515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8:52.810" v="193"/>
          <ac:spMkLst>
            <pc:docMk/>
            <pc:sldMk cId="503890821" sldId="515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80" v="201" actId="1076"/>
          <ac:spMkLst>
            <pc:docMk/>
            <pc:sldMk cId="503890821" sldId="515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95" v="202" actId="1076"/>
          <ac:spMkLst>
            <pc:docMk/>
            <pc:sldMk cId="503890821" sldId="515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5:58:52.810" v="192"/>
          <ac:spMkLst>
            <pc:docMk/>
            <pc:sldMk cId="503890821" sldId="515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11" v="203" actId="1076"/>
          <ac:spMkLst>
            <pc:docMk/>
            <pc:sldMk cId="503890821" sldId="51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58" v="207" actId="1076"/>
          <ac:spMkLst>
            <pc:docMk/>
            <pc:sldMk cId="503890821" sldId="51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11" v="204" actId="1076"/>
          <ac:spMkLst>
            <pc:docMk/>
            <pc:sldMk cId="503890821" sldId="51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58" v="208" actId="1076"/>
          <ac:spMkLst>
            <pc:docMk/>
            <pc:sldMk cId="503890821" sldId="51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26" v="205" actId="1076"/>
          <ac:spMkLst>
            <pc:docMk/>
            <pc:sldMk cId="503890821" sldId="515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01" v="195" actId="1076"/>
          <ac:spMkLst>
            <pc:docMk/>
            <pc:sldMk cId="503890821" sldId="51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17" v="196" actId="1076"/>
          <ac:spMkLst>
            <pc:docMk/>
            <pc:sldMk cId="503890821" sldId="51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42" v="206" actId="1076"/>
          <ac:spMkLst>
            <pc:docMk/>
            <pc:sldMk cId="503890821" sldId="515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889" v="209" actId="1076"/>
          <ac:spMkLst>
            <pc:docMk/>
            <pc:sldMk cId="503890821" sldId="51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33" v="197" actId="1076"/>
          <ac:spMkLst>
            <pc:docMk/>
            <pc:sldMk cId="503890821" sldId="51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5:59:57.748" v="198" actId="1076"/>
          <ac:spMkLst>
            <pc:docMk/>
            <pc:sldMk cId="503890821" sldId="515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6:00:23.218" v="227" actId="1076"/>
        <pc:sldMkLst>
          <pc:docMk/>
          <pc:sldMk cId="40304363" sldId="516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6:00:23.093" v="217" actId="1076"/>
          <ac:spMkLst>
            <pc:docMk/>
            <pc:sldMk cId="40304363" sldId="516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08" v="218" actId="1076"/>
          <ac:spMkLst>
            <pc:docMk/>
            <pc:sldMk cId="40304363" sldId="516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6:00:14.046" v="212"/>
          <ac:spMkLst>
            <pc:docMk/>
            <pc:sldMk cId="40304363" sldId="516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6:00:14.046" v="211"/>
          <ac:spMkLst>
            <pc:docMk/>
            <pc:sldMk cId="40304363" sldId="516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24" v="219" actId="1076"/>
          <ac:spMkLst>
            <pc:docMk/>
            <pc:sldMk cId="40304363" sldId="516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24" v="220" actId="1076"/>
          <ac:spMkLst>
            <pc:docMk/>
            <pc:sldMk cId="40304363" sldId="516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6:00:14.046" v="210"/>
          <ac:spMkLst>
            <pc:docMk/>
            <pc:sldMk cId="40304363" sldId="516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39" v="221" actId="1076"/>
          <ac:spMkLst>
            <pc:docMk/>
            <pc:sldMk cId="40304363" sldId="516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86" v="225" actId="1076"/>
          <ac:spMkLst>
            <pc:docMk/>
            <pc:sldMk cId="40304363" sldId="516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55" v="222" actId="1076"/>
          <ac:spMkLst>
            <pc:docMk/>
            <pc:sldMk cId="40304363" sldId="516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202" v="226" actId="1076"/>
          <ac:spMkLst>
            <pc:docMk/>
            <pc:sldMk cId="40304363" sldId="516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71" v="223" actId="1076"/>
          <ac:spMkLst>
            <pc:docMk/>
            <pc:sldMk cId="40304363" sldId="516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046" v="213" actId="1076"/>
          <ac:spMkLst>
            <pc:docMk/>
            <pc:sldMk cId="40304363" sldId="516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061" v="214" actId="1076"/>
          <ac:spMkLst>
            <pc:docMk/>
            <pc:sldMk cId="40304363" sldId="516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186" v="224" actId="1076"/>
          <ac:spMkLst>
            <pc:docMk/>
            <pc:sldMk cId="40304363" sldId="516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218" v="227" actId="1076"/>
          <ac:spMkLst>
            <pc:docMk/>
            <pc:sldMk cId="40304363" sldId="516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077" v="215" actId="1076"/>
          <ac:spMkLst>
            <pc:docMk/>
            <pc:sldMk cId="40304363" sldId="516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23.077" v="216" actId="1076"/>
          <ac:spMkLst>
            <pc:docMk/>
            <pc:sldMk cId="40304363" sldId="516"/>
            <ac:spMk id="48" creationId="{62444E91-07F2-4258-A080-F0F76AFF8F81}"/>
          </ac:spMkLst>
        </pc:spChg>
      </pc:sldChg>
      <pc:sldChg chg="delSp modSp">
        <pc:chgData name="Mery Carrasco Mauricio (Codelco-Casa Matriz)" userId="S::mmery004@codelco.cl::a0378191-74de-4d59-9b37-aa421303daba" providerId="AD" clId="Web-{2848C59F-808B-0000-D45A-AFE5F48D3AB1}" dt="2021-05-06T16:00:38.468" v="245" actId="1076"/>
        <pc:sldMkLst>
          <pc:docMk/>
          <pc:sldMk cId="985900261" sldId="517"/>
        </pc:sldMkLst>
        <pc:spChg chg="mod">
          <ac:chgData name="Mery Carrasco Mauricio (Codelco-Casa Matriz)" userId="S::mmery004@codelco.cl::a0378191-74de-4d59-9b37-aa421303daba" providerId="AD" clId="Web-{2848C59F-808B-0000-D45A-AFE5F48D3AB1}" dt="2021-05-06T16:00:38.343" v="235" actId="1076"/>
          <ac:spMkLst>
            <pc:docMk/>
            <pc:sldMk cId="985900261" sldId="517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59" v="236" actId="1076"/>
          <ac:spMkLst>
            <pc:docMk/>
            <pc:sldMk cId="985900261" sldId="517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6:00:30.436" v="230"/>
          <ac:spMkLst>
            <pc:docMk/>
            <pc:sldMk cId="985900261" sldId="517"/>
            <ac:spMk id="17" creationId="{552090A5-F322-40DD-8355-465D65FAB046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6:00:30.436" v="229"/>
          <ac:spMkLst>
            <pc:docMk/>
            <pc:sldMk cId="985900261" sldId="517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74" v="237" actId="1076"/>
          <ac:spMkLst>
            <pc:docMk/>
            <pc:sldMk cId="985900261" sldId="517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90" v="238" actId="1076"/>
          <ac:spMkLst>
            <pc:docMk/>
            <pc:sldMk cId="985900261" sldId="517"/>
            <ac:spMk id="24" creationId="{99091804-6602-4E77-B3DC-179EC9B09D1A}"/>
          </ac:spMkLst>
        </pc:spChg>
        <pc:spChg chg="del">
          <ac:chgData name="Mery Carrasco Mauricio (Codelco-Casa Matriz)" userId="S::mmery004@codelco.cl::a0378191-74de-4d59-9b37-aa421303daba" providerId="AD" clId="Web-{2848C59F-808B-0000-D45A-AFE5F48D3AB1}" dt="2021-05-06T16:00:30.436" v="228"/>
          <ac:spMkLst>
            <pc:docMk/>
            <pc:sldMk cId="985900261" sldId="517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90" v="239" actId="1076"/>
          <ac:spMkLst>
            <pc:docMk/>
            <pc:sldMk cId="985900261" sldId="517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437" v="243" actId="1076"/>
          <ac:spMkLst>
            <pc:docMk/>
            <pc:sldMk cId="985900261" sldId="517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405" v="240" actId="1076"/>
          <ac:spMkLst>
            <pc:docMk/>
            <pc:sldMk cId="985900261" sldId="517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452" v="244" actId="1076"/>
          <ac:spMkLst>
            <pc:docMk/>
            <pc:sldMk cId="985900261" sldId="517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421" v="241" actId="1076"/>
          <ac:spMkLst>
            <pc:docMk/>
            <pc:sldMk cId="985900261" sldId="517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296" v="231" actId="1076"/>
          <ac:spMkLst>
            <pc:docMk/>
            <pc:sldMk cId="985900261" sldId="517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12" v="232" actId="1076"/>
          <ac:spMkLst>
            <pc:docMk/>
            <pc:sldMk cId="985900261" sldId="517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421" v="242" actId="1076"/>
          <ac:spMkLst>
            <pc:docMk/>
            <pc:sldMk cId="985900261" sldId="517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468" v="245" actId="1076"/>
          <ac:spMkLst>
            <pc:docMk/>
            <pc:sldMk cId="985900261" sldId="517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27" v="233" actId="1076"/>
          <ac:spMkLst>
            <pc:docMk/>
            <pc:sldMk cId="985900261" sldId="517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2848C59F-808B-0000-D45A-AFE5F48D3AB1}" dt="2021-05-06T16:00:38.343" v="234" actId="1076"/>
          <ac:spMkLst>
            <pc:docMk/>
            <pc:sldMk cId="985900261" sldId="517"/>
            <ac:spMk id="48" creationId="{62444E91-07F2-4258-A080-F0F76AFF8F81}"/>
          </ac:spMkLst>
        </pc:spChg>
      </pc:sldChg>
    </pc:docChg>
  </pc:docChgLst>
  <pc:docChgLst>
    <pc:chgData name="Carrillo Rojas Daniela (Codelco-Chuquicamata)" userId="S::dcarr014@codelco.cl::b6c6fc0c-fc39-4bf0-8e9d-fb82d681f847" providerId="AD" clId="Web-{9C38C59F-B0FD-0000-A0F4-A5217BA0E882}"/>
    <pc:docChg chg="modSld sldOrd">
      <pc:chgData name="Carrillo Rojas Daniela (Codelco-Chuquicamata)" userId="S::dcarr014@codelco.cl::b6c6fc0c-fc39-4bf0-8e9d-fb82d681f847" providerId="AD" clId="Web-{9C38C59F-B0FD-0000-A0F4-A5217BA0E882}" dt="2021-05-06T11:26:01.508" v="272" actId="1076"/>
      <pc:docMkLst>
        <pc:docMk/>
      </pc:docMkLst>
      <pc:sldChg chg="modSp">
        <pc:chgData name="Carrillo Rojas Daniela (Codelco-Chuquicamata)" userId="S::dcarr014@codelco.cl::b6c6fc0c-fc39-4bf0-8e9d-fb82d681f847" providerId="AD" clId="Web-{9C38C59F-B0FD-0000-A0F4-A5217BA0E882}" dt="2021-05-06T11:09:08.748" v="3" actId="20577"/>
        <pc:sldMkLst>
          <pc:docMk/>
          <pc:sldMk cId="2155997825" sldId="375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08.748" v="3" actId="20577"/>
          <ac:spMkLst>
            <pc:docMk/>
            <pc:sldMk cId="2155997825" sldId="375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09:24.545" v="6" actId="20577"/>
        <pc:sldMkLst>
          <pc:docMk/>
          <pc:sldMk cId="1352864007" sldId="462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24.545" v="6" actId="20577"/>
          <ac:spMkLst>
            <pc:docMk/>
            <pc:sldMk cId="1352864007" sldId="462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09:24.655" v="8" actId="20577"/>
        <pc:sldMkLst>
          <pc:docMk/>
          <pc:sldMk cId="1975661586" sldId="463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24.655" v="8" actId="20577"/>
          <ac:spMkLst>
            <pc:docMk/>
            <pc:sldMk cId="1975661586" sldId="463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10:01.484" v="16" actId="20577"/>
        <pc:sldMkLst>
          <pc:docMk/>
          <pc:sldMk cId="2828386828" sldId="490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10:01.484" v="16" actId="20577"/>
          <ac:spMkLst>
            <pc:docMk/>
            <pc:sldMk cId="2828386828" sldId="490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14:03.021" v="94" actId="20577"/>
        <pc:sldMkLst>
          <pc:docMk/>
          <pc:sldMk cId="2756603616" sldId="495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14:03.021" v="94" actId="20577"/>
          <ac:spMkLst>
            <pc:docMk/>
            <pc:sldMk cId="2756603616" sldId="495"/>
            <ac:spMk id="2" creationId="{32691014-A544-4E4F-BE87-A932997B93E3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09:56.437" v="13" actId="20577"/>
        <pc:sldMkLst>
          <pc:docMk/>
          <pc:sldMk cId="4245515824" sldId="496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56.437" v="13" actId="20577"/>
          <ac:spMkLst>
            <pc:docMk/>
            <pc:sldMk cId="4245515824" sldId="496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10:16.453" v="17" actId="20577"/>
        <pc:sldMkLst>
          <pc:docMk/>
          <pc:sldMk cId="2076073396" sldId="497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10:16.453" v="17" actId="20577"/>
          <ac:spMkLst>
            <pc:docMk/>
            <pc:sldMk cId="2076073396" sldId="497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09:38.733" v="10" actId="20577"/>
        <pc:sldMkLst>
          <pc:docMk/>
          <pc:sldMk cId="2011057260" sldId="498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38.733" v="10" actId="20577"/>
          <ac:spMkLst>
            <pc:docMk/>
            <pc:sldMk cId="2011057260" sldId="498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09:38.905" v="11" actId="20577"/>
        <pc:sldMkLst>
          <pc:docMk/>
          <pc:sldMk cId="148514629" sldId="499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38.905" v="11" actId="20577"/>
          <ac:spMkLst>
            <pc:docMk/>
            <pc:sldMk cId="148514629" sldId="499"/>
            <ac:spMk id="50" creationId="{CAB885FA-46E1-44EF-8D19-C807FC349CC4}"/>
          </ac:spMkLst>
        </pc:spChg>
      </pc:sldChg>
      <pc:sldChg chg="addSp delSp modSp ord">
        <pc:chgData name="Carrillo Rojas Daniela (Codelco-Chuquicamata)" userId="S::dcarr014@codelco.cl::b6c6fc0c-fc39-4bf0-8e9d-fb82d681f847" providerId="AD" clId="Web-{9C38C59F-B0FD-0000-A0F4-A5217BA0E882}" dt="2021-05-06T11:26:01.508" v="272" actId="1076"/>
        <pc:sldMkLst>
          <pc:docMk/>
          <pc:sldMk cId="1418399147" sldId="500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15:23.226" v="113" actId="20577"/>
          <ac:spMkLst>
            <pc:docMk/>
            <pc:sldMk cId="1418399147" sldId="500"/>
            <ac:spMk id="2" creationId="{32691014-A544-4E4F-BE87-A932997B93E3}"/>
          </ac:spMkLst>
        </pc:spChg>
        <pc:spChg chg="add mod">
          <ac:chgData name="Carrillo Rojas Daniela (Codelco-Chuquicamata)" userId="S::dcarr014@codelco.cl::b6c6fc0c-fc39-4bf0-8e9d-fb82d681f847" providerId="AD" clId="Web-{9C38C59F-B0FD-0000-A0F4-A5217BA0E882}" dt="2021-05-06T11:19:30.654" v="271" actId="20577"/>
          <ac:spMkLst>
            <pc:docMk/>
            <pc:sldMk cId="1418399147" sldId="500"/>
            <ac:spMk id="3" creationId="{FFAA6502-1DEC-4119-938A-1EE123FAA577}"/>
          </ac:spMkLst>
        </pc:spChg>
        <pc:spChg chg="add del mod">
          <ac:chgData name="Carrillo Rojas Daniela (Codelco-Chuquicamata)" userId="S::dcarr014@codelco.cl::b6c6fc0c-fc39-4bf0-8e9d-fb82d681f847" providerId="AD" clId="Web-{9C38C59F-B0FD-0000-A0F4-A5217BA0E882}" dt="2021-05-06T11:16:09.727" v="120"/>
          <ac:spMkLst>
            <pc:docMk/>
            <pc:sldMk cId="1418399147" sldId="500"/>
            <ac:spMk id="5" creationId="{A0E25850-ED9D-41B4-9E1D-1234F01E5E40}"/>
          </ac:spMkLst>
        </pc:spChg>
        <pc:spChg chg="mod">
          <ac:chgData name="Carrillo Rojas Daniela (Codelco-Chuquicamata)" userId="S::dcarr014@codelco.cl::b6c6fc0c-fc39-4bf0-8e9d-fb82d681f847" providerId="AD" clId="Web-{9C38C59F-B0FD-0000-A0F4-A5217BA0E882}" dt="2021-05-06T11:15:33.523" v="114" actId="1076"/>
          <ac:spMkLst>
            <pc:docMk/>
            <pc:sldMk cId="1418399147" sldId="500"/>
            <ac:spMk id="31" creationId="{2B9230F2-5CF5-4008-BBA8-64B098C049FE}"/>
          </ac:spMkLst>
        </pc:spChg>
        <pc:grpChg chg="mod">
          <ac:chgData name="Carrillo Rojas Daniela (Codelco-Chuquicamata)" userId="S::dcarr014@codelco.cl::b6c6fc0c-fc39-4bf0-8e9d-fb82d681f847" providerId="AD" clId="Web-{9C38C59F-B0FD-0000-A0F4-A5217BA0E882}" dt="2021-05-06T11:26:01.508" v="272" actId="1076"/>
          <ac:grpSpMkLst>
            <pc:docMk/>
            <pc:sldMk cId="1418399147" sldId="500"/>
            <ac:grpSpMk id="19" creationId="{CDFDF048-E5C4-4700-915E-1B674C4F7473}"/>
          </ac:grpSpMkLst>
        </pc:gr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09:56.749" v="14" actId="20577"/>
        <pc:sldMkLst>
          <pc:docMk/>
          <pc:sldMk cId="954267347" sldId="501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09:56.749" v="14" actId="20577"/>
          <ac:spMkLst>
            <pc:docMk/>
            <pc:sldMk cId="954267347" sldId="501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9C38C59F-B0FD-0000-A0F4-A5217BA0E882}" dt="2021-05-06T11:15:55.476" v="118" actId="14100"/>
        <pc:sldMkLst>
          <pc:docMk/>
          <pc:sldMk cId="1403606244" sldId="503"/>
        </pc:sldMkLst>
        <pc:spChg chg="mod">
          <ac:chgData name="Carrillo Rojas Daniela (Codelco-Chuquicamata)" userId="S::dcarr014@codelco.cl::b6c6fc0c-fc39-4bf0-8e9d-fb82d681f847" providerId="AD" clId="Web-{9C38C59F-B0FD-0000-A0F4-A5217BA0E882}" dt="2021-05-06T11:15:55.476" v="118" actId="14100"/>
          <ac:spMkLst>
            <pc:docMk/>
            <pc:sldMk cId="1403606244" sldId="503"/>
            <ac:spMk id="5" creationId="{BC91D02A-1112-41F4-80E9-A58C79C34A3D}"/>
          </ac:spMkLst>
        </pc:spChg>
      </pc:sldChg>
    </pc:docChg>
  </pc:docChgLst>
  <pc:docChgLst>
    <pc:chgData name="Calquin Veas Alexis (Codelco-Casa Matriz)" userId="S::acalq001@codelco.cl::bed4172a-53a7-4851-8acf-473ef95dec61" providerId="AD" clId="Web-{0B5445A3-E498-B037-015F-F5D3BE792A75}"/>
    <pc:docChg chg="addSld modSld">
      <pc:chgData name="Calquin Veas Alexis (Codelco-Casa Matriz)" userId="S::acalq001@codelco.cl::bed4172a-53a7-4851-8acf-473ef95dec61" providerId="AD" clId="Web-{0B5445A3-E498-B037-015F-F5D3BE792A75}" dt="2021-08-03T21:01:24.291" v="76"/>
      <pc:docMkLst>
        <pc:docMk/>
      </pc:docMkLst>
      <pc:sldChg chg="addSp delSp modSp add replId">
        <pc:chgData name="Calquin Veas Alexis (Codelco-Casa Matriz)" userId="S::acalq001@codelco.cl::bed4172a-53a7-4851-8acf-473ef95dec61" providerId="AD" clId="Web-{0B5445A3-E498-B037-015F-F5D3BE792A75}" dt="2021-08-03T21:01:24.291" v="76"/>
        <pc:sldMkLst>
          <pc:docMk/>
          <pc:sldMk cId="468650530" sldId="571"/>
        </pc:sldMkLst>
        <pc:spChg chg="mod">
          <ac:chgData name="Calquin Veas Alexis (Codelco-Casa Matriz)" userId="S::acalq001@codelco.cl::bed4172a-53a7-4851-8acf-473ef95dec61" providerId="AD" clId="Web-{0B5445A3-E498-B037-015F-F5D3BE792A75}" dt="2021-08-03T21:00:48.040" v="73" actId="20577"/>
          <ac:spMkLst>
            <pc:docMk/>
            <pc:sldMk cId="468650530" sldId="571"/>
            <ac:spMk id="31" creationId="{9D9A4CF5-7C9E-46C6-90E6-1E3D29185CCD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6"/>
          <ac:spMkLst>
            <pc:docMk/>
            <pc:sldMk cId="468650530" sldId="571"/>
            <ac:spMk id="48" creationId="{B6078FC3-00BD-47D8-97A4-CBA7392A668F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31.882" v="21"/>
          <ac:spMkLst>
            <pc:docMk/>
            <pc:sldMk cId="468650530" sldId="571"/>
            <ac:spMk id="50" creationId="{97F7FB06-192C-41B5-9E8D-E8272C647F68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0.695" v="3"/>
          <ac:spMkLst>
            <pc:docMk/>
            <pc:sldMk cId="468650530" sldId="571"/>
            <ac:spMk id="52" creationId="{018D3B62-D650-44FF-9E30-B9106521CFE9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31.882" v="20"/>
          <ac:spMkLst>
            <pc:docMk/>
            <pc:sldMk cId="468650530" sldId="571"/>
            <ac:spMk id="54" creationId="{B10D4908-2597-478D-AAA1-7DA3C4D72D5F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31.882" v="19"/>
          <ac:spMkLst>
            <pc:docMk/>
            <pc:sldMk cId="468650530" sldId="571"/>
            <ac:spMk id="57" creationId="{223D902F-770D-4378-8E13-E1CBDFA3836B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5"/>
          <ac:spMkLst>
            <pc:docMk/>
            <pc:sldMk cId="468650530" sldId="571"/>
            <ac:spMk id="60" creationId="{C91A28AC-CDCE-4990-84A4-30E82BDA8493}"/>
          </ac:spMkLst>
        </pc:spChg>
        <pc:spChg chg="del mod">
          <ac:chgData name="Calquin Veas Alexis (Codelco-Casa Matriz)" userId="S::acalq001@codelco.cl::bed4172a-53a7-4851-8acf-473ef95dec61" providerId="AD" clId="Web-{0B5445A3-E498-B037-015F-F5D3BE792A75}" dt="2021-08-03T20:34:27.695" v="18"/>
          <ac:spMkLst>
            <pc:docMk/>
            <pc:sldMk cId="468650530" sldId="571"/>
            <ac:spMk id="64" creationId="{8D3FD4C3-15BB-4013-8435-5068E3C9C4EA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3"/>
          <ac:spMkLst>
            <pc:docMk/>
            <pc:sldMk cId="468650530" sldId="571"/>
            <ac:spMk id="69" creationId="{EC458537-0384-4BD6-92A2-40E58FA69C45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2"/>
          <ac:spMkLst>
            <pc:docMk/>
            <pc:sldMk cId="468650530" sldId="571"/>
            <ac:spMk id="70" creationId="{723CF32D-FBEF-49B2-97EA-E3D74F3C6622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7"/>
          <ac:spMkLst>
            <pc:docMk/>
            <pc:sldMk cId="468650530" sldId="571"/>
            <ac:spMk id="77" creationId="{8D3FD4C3-15BB-4013-8435-5068E3C9C4EA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1"/>
          <ac:spMkLst>
            <pc:docMk/>
            <pc:sldMk cId="468650530" sldId="571"/>
            <ac:spMk id="82" creationId="{A1C78848-961C-422A-80C4-82A97A15E466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10"/>
          <ac:spMkLst>
            <pc:docMk/>
            <pc:sldMk cId="468650530" sldId="571"/>
            <ac:spMk id="83" creationId="{65C8511C-8632-4474-AD87-219F5B57ACF8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95" v="9"/>
          <ac:spMkLst>
            <pc:docMk/>
            <pc:sldMk cId="468650530" sldId="571"/>
            <ac:spMk id="84" creationId="{7EB209D8-ED30-4A68-9FF3-760E3AFBBF40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79" v="8"/>
          <ac:spMkLst>
            <pc:docMk/>
            <pc:sldMk cId="468650530" sldId="571"/>
            <ac:spMk id="86" creationId="{B255491D-B3B6-4A45-B027-65C06E071ABD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79" v="7"/>
          <ac:spMkLst>
            <pc:docMk/>
            <pc:sldMk cId="468650530" sldId="571"/>
            <ac:spMk id="87" creationId="{CEC72D5C-026A-4DAC-9FE0-97D4372F52D3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79" v="6"/>
          <ac:spMkLst>
            <pc:docMk/>
            <pc:sldMk cId="468650530" sldId="571"/>
            <ac:spMk id="88" creationId="{F482CD0F-8649-4FE6-9049-FC47263FCE4C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79" v="5"/>
          <ac:spMkLst>
            <pc:docMk/>
            <pc:sldMk cId="468650530" sldId="571"/>
            <ac:spMk id="89" creationId="{DA454127-9D7E-4B1B-98FD-2F6A67D81E4D}"/>
          </ac:spMkLst>
        </pc:spChg>
        <pc:spChg chg="del">
          <ac:chgData name="Calquin Veas Alexis (Codelco-Casa Matriz)" userId="S::acalq001@codelco.cl::bed4172a-53a7-4851-8acf-473ef95dec61" providerId="AD" clId="Web-{0B5445A3-E498-B037-015F-F5D3BE792A75}" dt="2021-08-03T20:34:27.679" v="4"/>
          <ac:spMkLst>
            <pc:docMk/>
            <pc:sldMk cId="468650530" sldId="571"/>
            <ac:spMk id="90" creationId="{A24FF02A-15C0-4496-B33B-9BFBFEBF14AE}"/>
          </ac:spMkLst>
        </pc:spChg>
        <pc:spChg chg="mod">
          <ac:chgData name="Calquin Veas Alexis (Codelco-Casa Matriz)" userId="S::acalq001@codelco.cl::bed4172a-53a7-4851-8acf-473ef95dec61" providerId="AD" clId="Web-{0B5445A3-E498-B037-015F-F5D3BE792A75}" dt="2021-08-03T20:59:19.382" v="48" actId="20577"/>
          <ac:spMkLst>
            <pc:docMk/>
            <pc:sldMk cId="468650530" sldId="571"/>
            <ac:spMk id="145" creationId="{3F302836-4F68-4641-BD29-64B0A72CA38E}"/>
          </ac:spMkLst>
        </pc:spChg>
        <pc:graphicFrameChg chg="del">
          <ac:chgData name="Calquin Veas Alexis (Codelco-Casa Matriz)" userId="S::acalq001@codelco.cl::bed4172a-53a7-4851-8acf-473ef95dec61" providerId="AD" clId="Web-{0B5445A3-E498-B037-015F-F5D3BE792A75}" dt="2021-08-03T20:34:12.694" v="1"/>
          <ac:graphicFrameMkLst>
            <pc:docMk/>
            <pc:sldMk cId="468650530" sldId="571"/>
            <ac:graphicFrameMk id="47" creationId="{42D1AAEA-2620-4249-9CBD-524ADB0DA093}"/>
          </ac:graphicFrameMkLst>
        </pc:graphicFrameChg>
        <pc:graphicFrameChg chg="del">
          <ac:chgData name="Calquin Veas Alexis (Codelco-Casa Matriz)" userId="S::acalq001@codelco.cl::bed4172a-53a7-4851-8acf-473ef95dec61" providerId="AD" clId="Web-{0B5445A3-E498-B037-015F-F5D3BE792A75}" dt="2021-08-03T20:34:27.695" v="14"/>
          <ac:graphicFrameMkLst>
            <pc:docMk/>
            <pc:sldMk cId="468650530" sldId="571"/>
            <ac:graphicFrameMk id="61" creationId="{D4167C2C-98EE-42D1-8119-67AE2897B452}"/>
          </ac:graphicFrameMkLst>
        </pc:graphicFrameChg>
        <pc:picChg chg="add del mod">
          <ac:chgData name="Calquin Veas Alexis (Codelco-Casa Matriz)" userId="S::acalq001@codelco.cl::bed4172a-53a7-4851-8acf-473ef95dec61" providerId="AD" clId="Web-{0B5445A3-E498-B037-015F-F5D3BE792A75}" dt="2021-08-03T21:01:24.291" v="76"/>
          <ac:picMkLst>
            <pc:docMk/>
            <pc:sldMk cId="468650530" sldId="571"/>
            <ac:picMk id="3" creationId="{1CDAD8CA-E34A-438B-8A75-C61C805F5C5F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2901C39F-F0F8-0000-A0F4-A43654CDF807}"/>
    <pc:docChg chg="modSld">
      <pc:chgData name="Carrillo Rojas Daniela (Codelco-Chuquicamata)" userId="S::dcarr014@codelco.cl::b6c6fc0c-fc39-4bf0-8e9d-fb82d681f847" providerId="AD" clId="Web-{2901C39F-F0F8-0000-A0F4-A43654CDF807}" dt="2021-04-29T14:18:19.936" v="57" actId="1076"/>
      <pc:docMkLst>
        <pc:docMk/>
      </pc:docMkLst>
      <pc:sldChg chg="addSp delSp modSp">
        <pc:chgData name="Carrillo Rojas Daniela (Codelco-Chuquicamata)" userId="S::dcarr014@codelco.cl::b6c6fc0c-fc39-4bf0-8e9d-fb82d681f847" providerId="AD" clId="Web-{2901C39F-F0F8-0000-A0F4-A43654CDF807}" dt="2021-04-29T14:18:19.936" v="57" actId="1076"/>
        <pc:sldMkLst>
          <pc:docMk/>
          <pc:sldMk cId="1418399147" sldId="500"/>
        </pc:sldMkLst>
        <pc:spChg chg="add mod">
          <ac:chgData name="Carrillo Rojas Daniela (Codelco-Chuquicamata)" userId="S::dcarr014@codelco.cl::b6c6fc0c-fc39-4bf0-8e9d-fb82d681f847" providerId="AD" clId="Web-{2901C39F-F0F8-0000-A0F4-A43654CDF807}" dt="2021-04-29T14:18:19.936" v="57" actId="1076"/>
          <ac:spMkLst>
            <pc:docMk/>
            <pc:sldMk cId="1418399147" sldId="500"/>
            <ac:spMk id="5" creationId="{A0E25850-ED9D-41B4-9E1D-1234F01E5E40}"/>
          </ac:spMkLst>
        </pc:spChg>
        <pc:spChg chg="add del mod">
          <ac:chgData name="Carrillo Rojas Daniela (Codelco-Chuquicamata)" userId="S::dcarr014@codelco.cl::b6c6fc0c-fc39-4bf0-8e9d-fb82d681f847" providerId="AD" clId="Web-{2901C39F-F0F8-0000-A0F4-A43654CDF807}" dt="2021-04-29T14:17:33.667" v="41"/>
          <ac:spMkLst>
            <pc:docMk/>
            <pc:sldMk cId="1418399147" sldId="500"/>
            <ac:spMk id="13" creationId="{0517CD0A-533B-450F-8891-F2580B8ACFAA}"/>
          </ac:spMkLst>
        </pc:spChg>
        <pc:spChg chg="del">
          <ac:chgData name="Carrillo Rojas Daniela (Codelco-Chuquicamata)" userId="S::dcarr014@codelco.cl::b6c6fc0c-fc39-4bf0-8e9d-fb82d681f847" providerId="AD" clId="Web-{2901C39F-F0F8-0000-A0F4-A43654CDF807}" dt="2021-04-29T13:51:58.734" v="2"/>
          <ac:spMkLst>
            <pc:docMk/>
            <pc:sldMk cId="1418399147" sldId="500"/>
            <ac:spMk id="1323" creationId="{D1DC5E9D-76D3-45C2-905A-8C9D1F0D0B8D}"/>
          </ac:spMkLst>
        </pc:spChg>
        <pc:grpChg chg="add del">
          <ac:chgData name="Carrillo Rojas Daniela (Codelco-Chuquicamata)" userId="S::dcarr014@codelco.cl::b6c6fc0c-fc39-4bf0-8e9d-fb82d681f847" providerId="AD" clId="Web-{2901C39F-F0F8-0000-A0F4-A43654CDF807}" dt="2021-04-29T14:14:30.344" v="23"/>
          <ac:grpSpMkLst>
            <pc:docMk/>
            <pc:sldMk cId="1418399147" sldId="500"/>
            <ac:grpSpMk id="15" creationId="{CDFDF048-E5C4-4700-915E-1B674C4F7473}"/>
          </ac:grpSpMkLst>
        </pc:grpChg>
        <pc:grpChg chg="add mod">
          <ac:chgData name="Carrillo Rojas Daniela (Codelco-Chuquicamata)" userId="S::dcarr014@codelco.cl::b6c6fc0c-fc39-4bf0-8e9d-fb82d681f847" providerId="AD" clId="Web-{2901C39F-F0F8-0000-A0F4-A43654CDF807}" dt="2021-04-29T14:15:35.410" v="27" actId="14100"/>
          <ac:grpSpMkLst>
            <pc:docMk/>
            <pc:sldMk cId="1418399147" sldId="500"/>
            <ac:grpSpMk id="19" creationId="{CDFDF048-E5C4-4700-915E-1B674C4F7473}"/>
          </ac:grpSpMkLst>
        </pc:grpChg>
        <pc:grpChg chg="del mod">
          <ac:chgData name="Carrillo Rojas Daniela (Codelco-Chuquicamata)" userId="S::dcarr014@codelco.cl::b6c6fc0c-fc39-4bf0-8e9d-fb82d681f847" providerId="AD" clId="Web-{2901C39F-F0F8-0000-A0F4-A43654CDF807}" dt="2021-04-29T13:54:12.007" v="5"/>
          <ac:grpSpMkLst>
            <pc:docMk/>
            <pc:sldMk cId="1418399147" sldId="500"/>
            <ac:grpSpMk id="46" creationId="{31B493E8-DCBC-41F3-ABF1-98066C0F28E2}"/>
          </ac:grpSpMkLst>
        </pc:grpChg>
        <pc:picChg chg="add del mod">
          <ac:chgData name="Carrillo Rojas Daniela (Codelco-Chuquicamata)" userId="S::dcarr014@codelco.cl::b6c6fc0c-fc39-4bf0-8e9d-fb82d681f847" providerId="AD" clId="Web-{2901C39F-F0F8-0000-A0F4-A43654CDF807}" dt="2021-04-29T14:14:22.156" v="19"/>
          <ac:picMkLst>
            <pc:docMk/>
            <pc:sldMk cId="1418399147" sldId="500"/>
            <ac:picMk id="3" creationId="{5A92DEF1-85DE-4EAA-A416-9069243E9CB5}"/>
          </ac:picMkLst>
        </pc:picChg>
        <pc:picChg chg="add">
          <ac:chgData name="Carrillo Rojas Daniela (Codelco-Chuquicamata)" userId="S::dcarr014@codelco.cl::b6c6fc0c-fc39-4bf0-8e9d-fb82d681f847" providerId="AD" clId="Web-{2901C39F-F0F8-0000-A0F4-A43654CDF807}" dt="2021-04-29T14:14:25.578" v="20"/>
          <ac:picMkLst>
            <pc:docMk/>
            <pc:sldMk cId="1418399147" sldId="500"/>
            <ac:picMk id="16" creationId="{2D93650F-EC10-49F3-9EF8-38C96A3E62D1}"/>
          </ac:picMkLst>
        </pc:picChg>
        <pc:picChg chg="add">
          <ac:chgData name="Carrillo Rojas Daniela (Codelco-Chuquicamata)" userId="S::dcarr014@codelco.cl::b6c6fc0c-fc39-4bf0-8e9d-fb82d681f847" providerId="AD" clId="Web-{2901C39F-F0F8-0000-A0F4-A43654CDF807}" dt="2021-04-29T14:14:25.578" v="20"/>
          <ac:picMkLst>
            <pc:docMk/>
            <pc:sldMk cId="1418399147" sldId="500"/>
            <ac:picMk id="18" creationId="{83691090-994C-4E37-BEF6-AC59E7A41D4D}"/>
          </ac:picMkLst>
        </pc:picChg>
        <pc:picChg chg="add">
          <ac:chgData name="Carrillo Rojas Daniela (Codelco-Chuquicamata)" userId="S::dcarr014@codelco.cl::b6c6fc0c-fc39-4bf0-8e9d-fb82d681f847" providerId="AD" clId="Web-{2901C39F-F0F8-0000-A0F4-A43654CDF807}" dt="2021-04-29T14:14:26.375" v="21"/>
          <ac:picMkLst>
            <pc:docMk/>
            <pc:sldMk cId="1418399147" sldId="500"/>
            <ac:picMk id="20" creationId="{2D93650F-EC10-49F3-9EF8-38C96A3E62D1}"/>
          </ac:picMkLst>
        </pc:picChg>
        <pc:picChg chg="add">
          <ac:chgData name="Carrillo Rojas Daniela (Codelco-Chuquicamata)" userId="S::dcarr014@codelco.cl::b6c6fc0c-fc39-4bf0-8e9d-fb82d681f847" providerId="AD" clId="Web-{2901C39F-F0F8-0000-A0F4-A43654CDF807}" dt="2021-04-29T14:14:26.375" v="21"/>
          <ac:picMkLst>
            <pc:docMk/>
            <pc:sldMk cId="1418399147" sldId="500"/>
            <ac:picMk id="21" creationId="{83691090-994C-4E37-BEF6-AC59E7A41D4D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AF55FD29-716E-9FE0-17B2-C840B5629BF3}"/>
    <pc:docChg chg="modSld">
      <pc:chgData name="Mery Carrasco Mauricio (Codelco-Casa Matriz)" userId="S::mmery004@codelco.cl::a0378191-74de-4d59-9b37-aa421303daba" providerId="AD" clId="Web-{AF55FD29-716E-9FE0-17B2-C840B5629BF3}" dt="2020-11-05T14:15:04.972" v="6" actId="1076"/>
      <pc:docMkLst>
        <pc:docMk/>
      </pc:docMkLst>
      <pc:sldChg chg="addSp modSp">
        <pc:chgData name="Mery Carrasco Mauricio (Codelco-Casa Matriz)" userId="S::mmery004@codelco.cl::a0378191-74de-4d59-9b37-aa421303daba" providerId="AD" clId="Web-{AF55FD29-716E-9FE0-17B2-C840B5629BF3}" dt="2020-11-05T14:15:04.972" v="6" actId="1076"/>
        <pc:sldMkLst>
          <pc:docMk/>
          <pc:sldMk cId="2155997825" sldId="375"/>
        </pc:sldMkLst>
        <pc:spChg chg="add mod">
          <ac:chgData name="Mery Carrasco Mauricio (Codelco-Casa Matriz)" userId="S::mmery004@codelco.cl::a0378191-74de-4d59-9b37-aa421303daba" providerId="AD" clId="Web-{AF55FD29-716E-9FE0-17B2-C840B5629BF3}" dt="2020-11-05T14:15:04.972" v="6" actId="1076"/>
          <ac:spMkLst>
            <pc:docMk/>
            <pc:sldMk cId="2155997825" sldId="375"/>
            <ac:spMk id="39" creationId="{77B2E7F9-A18F-4050-95EC-D320E1FE90E3}"/>
          </ac:spMkLst>
        </pc:spChg>
        <pc:spChg chg="mod">
          <ac:chgData name="Mery Carrasco Mauricio (Codelco-Casa Matriz)" userId="S::mmery004@codelco.cl::a0378191-74de-4d59-9b37-aa421303daba" providerId="AD" clId="Web-{AF55FD29-716E-9FE0-17B2-C840B5629BF3}" dt="2020-11-05T14:14:58.659" v="4" actId="20577"/>
          <ac:spMkLst>
            <pc:docMk/>
            <pc:sldMk cId="2155997825" sldId="375"/>
            <ac:spMk id="42" creationId="{EC348201-1069-4CB5-90C7-D138998005CF}"/>
          </ac:spMkLst>
        </pc:spChg>
      </pc:sldChg>
    </pc:docChg>
  </pc:docChgLst>
  <pc:docChgLst>
    <pc:chgData name="López Peñafiel Cristian (Codelco-Casa Matriz)" userId="S::clope043@codelco.cl::381c3bc6-4449-46be-b8ff-f88ef887b85f" providerId="AD" clId="Web-{85B1191E-098A-DE88-9C9A-11F96BCDE3FC}"/>
    <pc:docChg chg="addSld delSld modSld sldOrd">
      <pc:chgData name="López Peñafiel Cristian (Codelco-Casa Matriz)" userId="S::clope043@codelco.cl::381c3bc6-4449-46be-b8ff-f88ef887b85f" providerId="AD" clId="Web-{85B1191E-098A-DE88-9C9A-11F96BCDE3FC}" dt="2020-11-05T15:00:00.696" v="107"/>
      <pc:docMkLst>
        <pc:docMk/>
      </pc:docMkLst>
      <pc:sldChg chg="modSp">
        <pc:chgData name="López Peñafiel Cristian (Codelco-Casa Matriz)" userId="S::clope043@codelco.cl::381c3bc6-4449-46be-b8ff-f88ef887b85f" providerId="AD" clId="Web-{85B1191E-098A-DE88-9C9A-11F96BCDE3FC}" dt="2020-11-05T14:59:40.446" v="106" actId="20577"/>
        <pc:sldMkLst>
          <pc:docMk/>
          <pc:sldMk cId="1259302253" sldId="353"/>
        </pc:sldMkLst>
        <pc:spChg chg="mod">
          <ac:chgData name="López Peñafiel Cristian (Codelco-Casa Matriz)" userId="S::clope043@codelco.cl::381c3bc6-4449-46be-b8ff-f88ef887b85f" providerId="AD" clId="Web-{85B1191E-098A-DE88-9C9A-11F96BCDE3FC}" dt="2020-11-05T14:59:40.446" v="106" actId="20577"/>
          <ac:spMkLst>
            <pc:docMk/>
            <pc:sldMk cId="1259302253" sldId="353"/>
            <ac:spMk id="11" creationId="{DB92C4CF-7AC4-4BFA-9A29-156AEC1C5231}"/>
          </ac:spMkLst>
        </pc:spChg>
      </pc:sldChg>
      <pc:sldChg chg="delSp">
        <pc:chgData name="López Peñafiel Cristian (Codelco-Casa Matriz)" userId="S::clope043@codelco.cl::381c3bc6-4449-46be-b8ff-f88ef887b85f" providerId="AD" clId="Web-{85B1191E-098A-DE88-9C9A-11F96BCDE3FC}" dt="2020-11-05T15:00:00.696" v="107"/>
        <pc:sldMkLst>
          <pc:docMk/>
          <pc:sldMk cId="2155997825" sldId="375"/>
        </pc:sldMkLst>
        <pc:spChg chg="del">
          <ac:chgData name="López Peñafiel Cristian (Codelco-Casa Matriz)" userId="S::clope043@codelco.cl::381c3bc6-4449-46be-b8ff-f88ef887b85f" providerId="AD" clId="Web-{85B1191E-098A-DE88-9C9A-11F96BCDE3FC}" dt="2020-11-05T15:00:00.696" v="107"/>
          <ac:spMkLst>
            <pc:docMk/>
            <pc:sldMk cId="2155997825" sldId="375"/>
            <ac:spMk id="30" creationId="{4C7C5B64-E31F-43FE-9B44-7D5632A683EB}"/>
          </ac:spMkLst>
        </pc:spChg>
      </pc:sldChg>
      <pc:sldChg chg="addSp delSp modSp del">
        <pc:chgData name="López Peñafiel Cristian (Codelco-Casa Matriz)" userId="S::clope043@codelco.cl::381c3bc6-4449-46be-b8ff-f88ef887b85f" providerId="AD" clId="Web-{85B1191E-098A-DE88-9C9A-11F96BCDE3FC}" dt="2020-11-05T14:51:12.276" v="70"/>
        <pc:sldMkLst>
          <pc:docMk/>
          <pc:sldMk cId="1637382014" sldId="421"/>
        </pc:sldMkLst>
        <pc:spChg chg="mod">
          <ac:chgData name="López Peñafiel Cristian (Codelco-Casa Matriz)" userId="S::clope043@codelco.cl::381c3bc6-4449-46be-b8ff-f88ef887b85f" providerId="AD" clId="Web-{85B1191E-098A-DE88-9C9A-11F96BCDE3FC}" dt="2020-11-05T14:16:24.470" v="7" actId="20577"/>
          <ac:spMkLst>
            <pc:docMk/>
            <pc:sldMk cId="1637382014" sldId="421"/>
            <ac:spMk id="5" creationId="{77B10082-1E01-4180-8E69-2A4E8DC6DD56}"/>
          </ac:spMkLst>
        </pc:spChg>
        <pc:spChg chg="mod">
          <ac:chgData name="López Peñafiel Cristian (Codelco-Casa Matriz)" userId="S::clope043@codelco.cl::381c3bc6-4449-46be-b8ff-f88ef887b85f" providerId="AD" clId="Web-{85B1191E-098A-DE88-9C9A-11F96BCDE3FC}" dt="2020-11-05T14:46:48.238" v="64" actId="20577"/>
          <ac:spMkLst>
            <pc:docMk/>
            <pc:sldMk cId="1637382014" sldId="421"/>
            <ac:spMk id="7" creationId="{50281A4C-2537-472A-9FDE-616F7AD24E93}"/>
          </ac:spMkLst>
        </pc:spChg>
        <pc:spChg chg="del">
          <ac:chgData name="López Peñafiel Cristian (Codelco-Casa Matriz)" userId="S::clope043@codelco.cl::381c3bc6-4449-46be-b8ff-f88ef887b85f" providerId="AD" clId="Web-{85B1191E-098A-DE88-9C9A-11F96BCDE3FC}" dt="2020-11-05T14:46:39.113" v="63"/>
          <ac:spMkLst>
            <pc:docMk/>
            <pc:sldMk cId="1637382014" sldId="421"/>
            <ac:spMk id="12" creationId="{438D0C6C-E159-451B-BE3E-2E6645A1C6FD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14" creationId="{6FE6B65B-58C3-45AF-B2CF-F4AC2611DE94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15" creationId="{E100A0AD-FD47-48BA-8AC5-740A4F3D656F}"/>
          </ac:spMkLst>
        </pc:spChg>
        <pc:spChg chg="del">
          <ac:chgData name="López Peñafiel Cristian (Codelco-Casa Matriz)" userId="S::clope043@codelco.cl::381c3bc6-4449-46be-b8ff-f88ef887b85f" providerId="AD" clId="Web-{85B1191E-098A-DE88-9C9A-11F96BCDE3FC}" dt="2020-11-05T14:46:39.113" v="62"/>
          <ac:spMkLst>
            <pc:docMk/>
            <pc:sldMk cId="1637382014" sldId="421"/>
            <ac:spMk id="17" creationId="{09981615-B5A3-4109-A421-FA8C69DB9C54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18" creationId="{D086115D-DAC8-49C2-967D-F0B9B1863066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19" creationId="{97678654-C6EC-428E-AE98-CBCEEA7B9E5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0" creationId="{C74F9BCC-F6B9-4251-A4CA-49D0EF519BD0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1" creationId="{8AB7F410-B357-4A59-BBAE-63E97D37CE6C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2" creationId="{56E12654-F0C1-4E96-9B27-747DCC3612DF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3" creationId="{050D0320-DFA7-41F3-9BF7-FBC50820D92D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5" creationId="{3C6AC76A-E097-417B-87A3-223CF5EE7B8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6" creationId="{7ABF3134-8E87-4920-885E-00AB92F9AC19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7" creationId="{3D434B51-0640-42F3-B397-A8BC65DD3246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8" creationId="{0B9EC9A2-1A28-47D6-B428-D0E734677865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29" creationId="{AC5855E7-2E91-4968-9589-E62AFA1373AE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0" creationId="{6801BDA4-C70C-41D4-9FFC-5CE8C007439A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1" creationId="{7B84477B-A126-4327-B2BF-0E47A1FEAA8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2" creationId="{BCFDAF39-EDA9-4DEF-8682-87A1C85D7DF5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3" creationId="{19946466-F338-4332-8929-404F29F14F70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4" creationId="{6F99B59D-DC3C-4E72-9803-978FC468C57E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5" creationId="{805AD8D1-CBD2-45FC-AF3F-5C43A93634EE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6" creationId="{1E134671-8AA5-444E-846C-B7137D0F8F5A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7" creationId="{3CF9CF72-5614-4FA7-A32D-F0A2EE526CE3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8" creationId="{F1A98B0D-6A3D-4859-A4BE-6E7D435CF9D5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39" creationId="{1AD42403-3E80-4392-842C-A9B3B428A336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40" creationId="{2CAB4194-1819-47AE-B0EA-1C87813EFFB3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41" creationId="{5A27F0CB-B4C2-4F71-849C-8E1E613FFF14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42" creationId="{61610044-95A3-4CAC-A4A7-29CE8B35CBF2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spMkLst>
            <pc:docMk/>
            <pc:sldMk cId="1637382014" sldId="421"/>
            <ac:spMk id="43" creationId="{2C70B76E-9DC1-432C-AC52-65820EC1AFCE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45" creationId="{0F1C5588-86B6-48D9-B54F-636F2FB7EF4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46" creationId="{A24F837E-DF3F-4B25-8308-97612E4DBADF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47" creationId="{0D411BB5-C40F-47E2-9CF2-D8719B91FD4A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48" creationId="{26388271-77A2-4D6F-BC70-E180BAC54E30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49" creationId="{13992379-A029-48A9-81AA-79BC423FFF17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0" creationId="{99B5D384-27FE-4B81-B482-5386D648A686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2" creationId="{10D21BB9-700E-43B6-BDDF-9DEF272E4E2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3" creationId="{71FB7E38-40E1-4BE0-85F4-97CDA7FE3C09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4" creationId="{A98F0120-EE77-453B-B401-EB486AED159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5" creationId="{0333D8D6-D96C-485D-9B42-007D499F5258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6" creationId="{B62A233D-C8E2-46E9-AC10-DDF1DB357C36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7" creationId="{F246ABCB-02D7-458A-8113-C5AC884F5C3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8" creationId="{B673F111-0CCD-4326-A2A3-20D0DB5FB7E2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59" creationId="{BBF3A34F-3B06-4E44-B4BE-1898D7D495E2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0" creationId="{EF53AFC0-7417-476C-BC7F-F43200551500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1" creationId="{50199BA1-CA1C-41E9-8935-4A258FBCDEF2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2" creationId="{883218D7-59FB-45BD-9381-96D17A692BE0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3" creationId="{03642369-2965-484A-9762-38CC17E58351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4" creationId="{28E7AA6E-C86F-46D8-9A84-FED11C527507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5" creationId="{A24BD0E3-1D37-4400-86C7-3E75D8F408EF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6" creationId="{C438A6A4-A2B6-4242-A5A3-EACAE322A980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7" creationId="{E4DF0560-E2EE-4F00-80AB-825EE292E256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8" creationId="{7DB872D2-0D7A-4DD8-8C1C-F95EDE6848EB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69" creationId="{34E20267-08AD-4242-A242-0F027A1C92FE}"/>
          </ac:spMkLst>
        </pc:spChg>
        <pc:s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spMkLst>
            <pc:docMk/>
            <pc:sldMk cId="1637382014" sldId="421"/>
            <ac:spMk id="70" creationId="{9FCE2C69-34B1-499B-9E18-9A1CF2554D61}"/>
          </ac:spMkLst>
        </pc:spChg>
        <pc:grp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grpSpMkLst>
            <pc:docMk/>
            <pc:sldMk cId="1637382014" sldId="421"/>
            <ac:grpSpMk id="16" creationId="{AED61349-9EE9-4558-B047-989E2365C3E6}"/>
          </ac:grpSpMkLst>
        </pc:grpChg>
        <pc:grp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grpSpMkLst>
            <pc:docMk/>
            <pc:sldMk cId="1637382014" sldId="421"/>
            <ac:grpSpMk id="44" creationId="{D4EF1771-1F21-4B5D-88DE-9C938BF6333D}"/>
          </ac:grpSpMkLst>
        </pc:grpChg>
        <pc:picChg chg="add del mod">
          <ac:chgData name="López Peñafiel Cristian (Codelco-Casa Matriz)" userId="S::clope043@codelco.cl::381c3bc6-4449-46be-b8ff-f88ef887b85f" providerId="AD" clId="Web-{85B1191E-098A-DE88-9C9A-11F96BCDE3FC}" dt="2020-11-05T14:17:03.471" v="55"/>
          <ac:picMkLst>
            <pc:docMk/>
            <pc:sldMk cId="1637382014" sldId="421"/>
            <ac:picMk id="2" creationId="{78DF24B3-AA1A-41D5-8E17-8C379A0B1E7B}"/>
          </ac:picMkLst>
        </pc:picChg>
        <pc:picChg chg="add del mod">
          <ac:chgData name="López Peñafiel Cristian (Codelco-Casa Matriz)" userId="S::clope043@codelco.cl::381c3bc6-4449-46be-b8ff-f88ef887b85f" providerId="AD" clId="Web-{85B1191E-098A-DE88-9C9A-11F96BCDE3FC}" dt="2020-11-05T14:46:34.816" v="61"/>
          <ac:picMkLst>
            <pc:docMk/>
            <pc:sldMk cId="1637382014" sldId="421"/>
            <ac:picMk id="3" creationId="{EBD090E4-CF44-4593-8FCB-338A12C3DED2}"/>
          </ac:picMkLst>
        </pc:picChg>
        <pc:picChg chg="del">
          <ac:chgData name="López Peñafiel Cristian (Codelco-Casa Matriz)" userId="S::clope043@codelco.cl::381c3bc6-4449-46be-b8ff-f88ef887b85f" providerId="AD" clId="Web-{85B1191E-098A-DE88-9C9A-11F96BCDE3FC}" dt="2020-11-05T14:16:53.439" v="50"/>
          <ac:picMkLst>
            <pc:docMk/>
            <pc:sldMk cId="1637382014" sldId="421"/>
            <ac:picMk id="9" creationId="{BD38A168-269C-4EAF-A020-61C835C54EEA}"/>
          </ac:picMkLst>
        </pc:picChg>
        <pc:picChg chg="add">
          <ac:chgData name="López Peñafiel Cristian (Codelco-Casa Matriz)" userId="S::clope043@codelco.cl::381c3bc6-4449-46be-b8ff-f88ef887b85f" providerId="AD" clId="Web-{85B1191E-098A-DE88-9C9A-11F96BCDE3FC}" dt="2020-11-05T14:50:39.760" v="66"/>
          <ac:picMkLst>
            <pc:docMk/>
            <pc:sldMk cId="1637382014" sldId="421"/>
            <ac:picMk id="24" creationId="{4A714652-BA80-4FE3-BEC3-FDBBEA82E4DC}"/>
          </ac:picMkLst>
        </pc:picChg>
        <pc:picChg chg="add">
          <ac:chgData name="López Peñafiel Cristian (Codelco-Casa Matriz)" userId="S::clope043@codelco.cl::381c3bc6-4449-46be-b8ff-f88ef887b85f" providerId="AD" clId="Web-{85B1191E-098A-DE88-9C9A-11F96BCDE3FC}" dt="2020-11-05T14:50:49.729" v="67"/>
          <ac:picMkLst>
            <pc:docMk/>
            <pc:sldMk cId="1637382014" sldId="421"/>
            <ac:picMk id="51" creationId="{C8A90668-4182-4055-B75F-A190EC81268E}"/>
          </ac:picMkLst>
        </pc:picChg>
      </pc:sldChg>
      <pc:sldChg chg="addSp delSp modSp add ord">
        <pc:chgData name="López Peñafiel Cristian (Codelco-Casa Matriz)" userId="S::clope043@codelco.cl::381c3bc6-4449-46be-b8ff-f88ef887b85f" providerId="AD" clId="Web-{85B1191E-098A-DE88-9C9A-11F96BCDE3FC}" dt="2020-11-05T14:58:59.929" v="98" actId="20577"/>
        <pc:sldMkLst>
          <pc:docMk/>
          <pc:sldMk cId="2765686841" sldId="428"/>
        </pc:sldMkLst>
        <pc:spChg chg="mod">
          <ac:chgData name="López Peñafiel Cristian (Codelco-Casa Matriz)" userId="S::clope043@codelco.cl::381c3bc6-4449-46be-b8ff-f88ef887b85f" providerId="AD" clId="Web-{85B1191E-098A-DE88-9C9A-11F96BCDE3FC}" dt="2020-11-05T14:58:59.929" v="98" actId="20577"/>
          <ac:spMkLst>
            <pc:docMk/>
            <pc:sldMk cId="2765686841" sldId="428"/>
            <ac:spMk id="7" creationId="{50281A4C-2537-472A-9FDE-616F7AD24E93}"/>
          </ac:spMkLst>
        </pc:spChg>
        <pc:picChg chg="add del mod">
          <ac:chgData name="López Peñafiel Cristian (Codelco-Casa Matriz)" userId="S::clope043@codelco.cl::381c3bc6-4449-46be-b8ff-f88ef887b85f" providerId="AD" clId="Web-{85B1191E-098A-DE88-9C9A-11F96BCDE3FC}" dt="2020-11-05T14:56:38.910" v="76"/>
          <ac:picMkLst>
            <pc:docMk/>
            <pc:sldMk cId="2765686841" sldId="428"/>
            <ac:picMk id="2" creationId="{CCB48380-1508-4F85-A7E1-F8BA5E322842}"/>
          </ac:picMkLst>
        </pc:picChg>
        <pc:picChg chg="mod modCrop">
          <ac:chgData name="López Peñafiel Cristian (Codelco-Casa Matriz)" userId="S::clope043@codelco.cl::381c3bc6-4449-46be-b8ff-f88ef887b85f" providerId="AD" clId="Web-{85B1191E-098A-DE88-9C9A-11F96BCDE3FC}" dt="2020-11-05T14:58:44.397" v="92" actId="1076"/>
          <ac:picMkLst>
            <pc:docMk/>
            <pc:sldMk cId="2765686841" sldId="428"/>
            <ac:picMk id="3" creationId="{00000000-0000-0000-0000-000000000000}"/>
          </ac:picMkLst>
        </pc:picChg>
        <pc:picChg chg="add del mod">
          <ac:chgData name="López Peñafiel Cristian (Codelco-Casa Matriz)" userId="S::clope043@codelco.cl::381c3bc6-4449-46be-b8ff-f88ef887b85f" providerId="AD" clId="Web-{85B1191E-098A-DE88-9C9A-11F96BCDE3FC}" dt="2020-11-05T14:58:01.334" v="82"/>
          <ac:picMkLst>
            <pc:docMk/>
            <pc:sldMk cId="2765686841" sldId="428"/>
            <ac:picMk id="4" creationId="{00498915-F8FA-4E56-AA03-8F28CD8A1638}"/>
          </ac:picMkLst>
        </pc:picChg>
        <pc:picChg chg="add mod">
          <ac:chgData name="López Peñafiel Cristian (Codelco-Casa Matriz)" userId="S::clope043@codelco.cl::381c3bc6-4449-46be-b8ff-f88ef887b85f" providerId="AD" clId="Web-{85B1191E-098A-DE88-9C9A-11F96BCDE3FC}" dt="2020-11-05T14:58:44.429" v="93" actId="1076"/>
          <ac:picMkLst>
            <pc:docMk/>
            <pc:sldMk cId="2765686841" sldId="428"/>
            <ac:picMk id="6" creationId="{7A1022C4-3D05-46AD-8C35-65BE411188C0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7DAB7915-5EB0-92A7-98C2-92ECB45DE514}"/>
    <pc:docChg chg="modSld">
      <pc:chgData name="Carrillo Rojas Daniela (Codelco-Chuquicamata)" userId="S::dcarr014@codelco.cl::b6c6fc0c-fc39-4bf0-8e9d-fb82d681f847" providerId="AD" clId="Web-{7DAB7915-5EB0-92A7-98C2-92ECB45DE514}" dt="2021-01-14T11:49:45.774" v="203"/>
      <pc:docMkLst>
        <pc:docMk/>
      </pc:docMkLst>
      <pc:sldChg chg="addSp delSp modSp">
        <pc:chgData name="Carrillo Rojas Daniela (Codelco-Chuquicamata)" userId="S::dcarr014@codelco.cl::b6c6fc0c-fc39-4bf0-8e9d-fb82d681f847" providerId="AD" clId="Web-{7DAB7915-5EB0-92A7-98C2-92ECB45DE514}" dt="2021-01-14T11:49:45.774" v="203"/>
        <pc:sldMkLst>
          <pc:docMk/>
          <pc:sldMk cId="1575758348" sldId="431"/>
        </pc:sldMkLst>
        <pc:spChg chg="mod">
          <ac:chgData name="Carrillo Rojas Daniela (Codelco-Chuquicamata)" userId="S::dcarr014@codelco.cl::b6c6fc0c-fc39-4bf0-8e9d-fb82d681f847" providerId="AD" clId="Web-{7DAB7915-5EB0-92A7-98C2-92ECB45DE514}" dt="2021-01-14T11:23:12.504" v="114" actId="1076"/>
          <ac:spMkLst>
            <pc:docMk/>
            <pc:sldMk cId="1575758348" sldId="431"/>
            <ac:spMk id="3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1:26.126" v="95" actId="1076"/>
          <ac:spMkLst>
            <pc:docMk/>
            <pc:sldMk cId="1575758348" sldId="431"/>
            <ac:spMk id="11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1:26.173" v="100" actId="1076"/>
          <ac:spMkLst>
            <pc:docMk/>
            <pc:sldMk cId="1575758348" sldId="431"/>
            <ac:spMk id="12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1:26.142" v="96" actId="1076"/>
          <ac:spMkLst>
            <pc:docMk/>
            <pc:sldMk cId="1575758348" sldId="431"/>
            <ac:spMk id="13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1:26.142" v="97" actId="1076"/>
          <ac:spMkLst>
            <pc:docMk/>
            <pc:sldMk cId="1575758348" sldId="431"/>
            <ac:spMk id="14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1:26.157" v="99" actId="1076"/>
          <ac:spMkLst>
            <pc:docMk/>
            <pc:sldMk cId="1575758348" sldId="431"/>
            <ac:spMk id="16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2:32.519" v="106" actId="1076"/>
          <ac:spMkLst>
            <pc:docMk/>
            <pc:sldMk cId="1575758348" sldId="431"/>
            <ac:spMk id="20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2:32.534" v="107" actId="1076"/>
          <ac:spMkLst>
            <pc:docMk/>
            <pc:sldMk cId="1575758348" sldId="431"/>
            <ac:spMk id="21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22:32.565" v="108" actId="1076"/>
          <ac:spMkLst>
            <pc:docMk/>
            <pc:sldMk cId="1575758348" sldId="431"/>
            <ac:spMk id="22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18:41.028" v="71" actId="1076"/>
          <ac:spMkLst>
            <pc:docMk/>
            <pc:sldMk cId="1575758348" sldId="431"/>
            <ac:spMk id="27" creationId="{00000000-0000-0000-0000-000000000000}"/>
          </ac:spMkLst>
        </pc:spChg>
        <pc:spChg chg="add del mod">
          <ac:chgData name="Carrillo Rojas Daniela (Codelco-Chuquicamata)" userId="S::dcarr014@codelco.cl::b6c6fc0c-fc39-4bf0-8e9d-fb82d681f847" providerId="AD" clId="Web-{7DAB7915-5EB0-92A7-98C2-92ECB45DE514}" dt="2021-01-14T11:49:45.774" v="203"/>
          <ac:spMkLst>
            <pc:docMk/>
            <pc:sldMk cId="1575758348" sldId="431"/>
            <ac:spMk id="35" creationId="{3D495304-B6E0-4517-94DF-399C5292F269}"/>
          </ac:spMkLst>
        </pc:spChg>
        <pc:spChg chg="add del">
          <ac:chgData name="Carrillo Rojas Daniela (Codelco-Chuquicamata)" userId="S::dcarr014@codelco.cl::b6c6fc0c-fc39-4bf0-8e9d-fb82d681f847" providerId="AD" clId="Web-{7DAB7915-5EB0-92A7-98C2-92ECB45DE514}" dt="2021-01-14T11:48:09.615" v="183"/>
          <ac:spMkLst>
            <pc:docMk/>
            <pc:sldMk cId="1575758348" sldId="431"/>
            <ac:spMk id="36" creationId="{7B35949A-5463-4F6E-AB4E-0D93B1D506E2}"/>
          </ac:spMkLst>
        </pc:spChg>
        <pc:spChg chg="add del">
          <ac:chgData name="Carrillo Rojas Daniela (Codelco-Chuquicamata)" userId="S::dcarr014@codelco.cl::b6c6fc0c-fc39-4bf0-8e9d-fb82d681f847" providerId="AD" clId="Web-{7DAB7915-5EB0-92A7-98C2-92ECB45DE514}" dt="2021-01-14T11:48:08.599" v="182"/>
          <ac:spMkLst>
            <pc:docMk/>
            <pc:sldMk cId="1575758348" sldId="431"/>
            <ac:spMk id="37" creationId="{D276F58E-8ED9-481B-B9D7-8067BAD46496}"/>
          </ac:spMkLst>
        </pc:spChg>
        <pc:spChg chg="add del mod">
          <ac:chgData name="Carrillo Rojas Daniela (Codelco-Chuquicamata)" userId="S::dcarr014@codelco.cl::b6c6fc0c-fc39-4bf0-8e9d-fb82d681f847" providerId="AD" clId="Web-{7DAB7915-5EB0-92A7-98C2-92ECB45DE514}" dt="2021-01-14T11:48:08.052" v="181"/>
          <ac:spMkLst>
            <pc:docMk/>
            <pc:sldMk cId="1575758348" sldId="431"/>
            <ac:spMk id="38" creationId="{7E58A73B-73C5-4706-904A-0870BF6BA145}"/>
          </ac:spMkLst>
        </pc:spChg>
        <pc:spChg chg="add del mod">
          <ac:chgData name="Carrillo Rojas Daniela (Codelco-Chuquicamata)" userId="S::dcarr014@codelco.cl::b6c6fc0c-fc39-4bf0-8e9d-fb82d681f847" providerId="AD" clId="Web-{7DAB7915-5EB0-92A7-98C2-92ECB45DE514}" dt="2021-01-14T11:48:07.865" v="178"/>
          <ac:spMkLst>
            <pc:docMk/>
            <pc:sldMk cId="1575758348" sldId="431"/>
            <ac:spMk id="39" creationId="{2B551C6E-A100-4B10-A7F0-C329D09C6096}"/>
          </ac:spMkLst>
        </pc:spChg>
        <pc:spChg chg="mod">
          <ac:chgData name="Carrillo Rojas Daniela (Codelco-Chuquicamata)" userId="S::dcarr014@codelco.cl::b6c6fc0c-fc39-4bf0-8e9d-fb82d681f847" providerId="AD" clId="Web-{7DAB7915-5EB0-92A7-98C2-92ECB45DE514}" dt="2021-01-14T11:14:03.457" v="8" actId="20577"/>
          <ac:spMkLst>
            <pc:docMk/>
            <pc:sldMk cId="1575758348" sldId="431"/>
            <ac:spMk id="67" creationId="{00000000-0000-0000-0000-000000000000}"/>
          </ac:spMkLst>
        </pc:spChg>
        <pc:picChg chg="mod ord">
          <ac:chgData name="Carrillo Rojas Daniela (Codelco-Chuquicamata)" userId="S::dcarr014@codelco.cl::b6c6fc0c-fc39-4bf0-8e9d-fb82d681f847" providerId="AD" clId="Web-{7DAB7915-5EB0-92A7-98C2-92ECB45DE514}" dt="2021-01-14T11:21:07.407" v="87" actId="1076"/>
          <ac:picMkLst>
            <pc:docMk/>
            <pc:sldMk cId="1575758348" sldId="431"/>
            <ac:picMk id="5" creationId="{00000000-0000-0000-0000-000000000000}"/>
          </ac:picMkLst>
        </pc:picChg>
        <pc:picChg chg="add mod modCrop">
          <ac:chgData name="Carrillo Rojas Daniela (Codelco-Chuquicamata)" userId="S::dcarr014@codelco.cl::b6c6fc0c-fc39-4bf0-8e9d-fb82d681f847" providerId="AD" clId="Web-{7DAB7915-5EB0-92A7-98C2-92ECB45DE514}" dt="2021-01-14T11:20:29.828" v="84"/>
          <ac:picMkLst>
            <pc:docMk/>
            <pc:sldMk cId="1575758348" sldId="431"/>
            <ac:picMk id="6" creationId="{E3D75837-E731-4A89-A26C-70BE5447E9C3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27:34.402" v="127"/>
          <ac:picMkLst>
            <pc:docMk/>
            <pc:sldMk cId="1575758348" sldId="431"/>
            <ac:picMk id="8" creationId="{637B2067-FB6A-409C-9F36-5B21923A94E6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29:17.874" v="134"/>
          <ac:picMkLst>
            <pc:docMk/>
            <pc:sldMk cId="1575758348" sldId="431"/>
            <ac:picMk id="9" creationId="{DF2C9CC4-3DB2-4FB1-99B3-014107F4C30D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35:27.275" v="140"/>
          <ac:picMkLst>
            <pc:docMk/>
            <pc:sldMk cId="1575758348" sldId="431"/>
            <ac:picMk id="10" creationId="{DCD1B274-4481-4799-B2A6-1C3598F28F0A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37:51.951" v="147"/>
          <ac:picMkLst>
            <pc:docMk/>
            <pc:sldMk cId="1575758348" sldId="431"/>
            <ac:picMk id="17" creationId="{CC364E38-54C8-4C16-81E4-2CE856410C7D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40:51.087" v="154"/>
          <ac:picMkLst>
            <pc:docMk/>
            <pc:sldMk cId="1575758348" sldId="431"/>
            <ac:picMk id="25" creationId="{ABF70981-3392-41D8-800B-42B1EDD8351C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43:11.809" v="161"/>
          <ac:picMkLst>
            <pc:docMk/>
            <pc:sldMk cId="1575758348" sldId="431"/>
            <ac:picMk id="32" creationId="{F092A1E4-98F6-4EF3-9FE7-C5AFB904190F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45:04.672" v="165"/>
          <ac:picMkLst>
            <pc:docMk/>
            <pc:sldMk cId="1575758348" sldId="431"/>
            <ac:picMk id="33" creationId="{116737BC-11CB-4318-A2B7-89863D465A56}"/>
          </ac:picMkLst>
        </pc:picChg>
        <pc:picChg chg="add del mod">
          <ac:chgData name="Carrillo Rojas Daniela (Codelco-Chuquicamata)" userId="S::dcarr014@codelco.cl::b6c6fc0c-fc39-4bf0-8e9d-fb82d681f847" providerId="AD" clId="Web-{7DAB7915-5EB0-92A7-98C2-92ECB45DE514}" dt="2021-01-14T11:47:10.238" v="171"/>
          <ac:picMkLst>
            <pc:docMk/>
            <pc:sldMk cId="1575758348" sldId="431"/>
            <ac:picMk id="34" creationId="{87C2D762-4155-4D7C-A74F-7EF4CD470BFE}"/>
          </ac:picMkLst>
        </pc:picChg>
        <pc:cxnChg chg="add mod">
          <ac:chgData name="Carrillo Rojas Daniela (Codelco-Chuquicamata)" userId="S::dcarr014@codelco.cl::b6c6fc0c-fc39-4bf0-8e9d-fb82d681f847" providerId="AD" clId="Web-{7DAB7915-5EB0-92A7-98C2-92ECB45DE514}" dt="2021-01-14T11:22:32.565" v="109" actId="1076"/>
          <ac:cxnSpMkLst>
            <pc:docMk/>
            <pc:sldMk cId="1575758348" sldId="431"/>
            <ac:cxnSpMk id="7" creationId="{19828236-FDB0-4C7F-9E91-2A6C47013225}"/>
          </ac:cxnSpMkLst>
        </pc:cxnChg>
        <pc:cxnChg chg="mod">
          <ac:chgData name="Carrillo Rojas Daniela (Codelco-Chuquicamata)" userId="S::dcarr014@codelco.cl::b6c6fc0c-fc39-4bf0-8e9d-fb82d681f847" providerId="AD" clId="Web-{7DAB7915-5EB0-92A7-98C2-92ECB45DE514}" dt="2021-01-14T11:21:26.157" v="98" actId="1076"/>
          <ac:cxnSpMkLst>
            <pc:docMk/>
            <pc:sldMk cId="1575758348" sldId="431"/>
            <ac:cxnSpMk id="15" creationId="{00000000-0000-0000-0000-000000000000}"/>
          </ac:cxnSpMkLst>
        </pc:cxnChg>
        <pc:cxnChg chg="mod">
          <ac:chgData name="Carrillo Rojas Daniela (Codelco-Chuquicamata)" userId="S::dcarr014@codelco.cl::b6c6fc0c-fc39-4bf0-8e9d-fb82d681f847" providerId="AD" clId="Web-{7DAB7915-5EB0-92A7-98C2-92ECB45DE514}" dt="2021-01-14T11:22:32.565" v="108" actId="1076"/>
          <ac:cxnSpMkLst>
            <pc:docMk/>
            <pc:sldMk cId="1575758348" sldId="431"/>
            <ac:cxnSpMk id="23" creationId="{00000000-0000-0000-0000-000000000000}"/>
          </ac:cxnSpMkLst>
        </pc:cxnChg>
        <pc:cxnChg chg="mod">
          <ac:chgData name="Carrillo Rojas Daniela (Codelco-Chuquicamata)" userId="S::dcarr014@codelco.cl::b6c6fc0c-fc39-4bf0-8e9d-fb82d681f847" providerId="AD" clId="Web-{7DAB7915-5EB0-92A7-98C2-92ECB45DE514}" dt="2021-01-14T11:22:32.565" v="108" actId="1076"/>
          <ac:cxnSpMkLst>
            <pc:docMk/>
            <pc:sldMk cId="1575758348" sldId="431"/>
            <ac:cxnSpMk id="24" creationId="{00000000-0000-0000-0000-000000000000}"/>
          </ac:cxnSpMkLst>
        </pc:cxnChg>
        <pc:cxnChg chg="del mod">
          <ac:chgData name="Carrillo Rojas Daniela (Codelco-Chuquicamata)" userId="S::dcarr014@codelco.cl::b6c6fc0c-fc39-4bf0-8e9d-fb82d681f847" providerId="AD" clId="Web-{7DAB7915-5EB0-92A7-98C2-92ECB45DE514}" dt="2021-01-14T11:18:30.809" v="68"/>
          <ac:cxnSpMkLst>
            <pc:docMk/>
            <pc:sldMk cId="1575758348" sldId="431"/>
            <ac:cxnSpMk id="26" creationId="{00000000-0000-0000-0000-000000000000}"/>
          </ac:cxnSpMkLst>
        </pc:cxnChg>
        <pc:cxnChg chg="mod">
          <ac:chgData name="Carrillo Rojas Daniela (Codelco-Chuquicamata)" userId="S::dcarr014@codelco.cl::b6c6fc0c-fc39-4bf0-8e9d-fb82d681f847" providerId="AD" clId="Web-{7DAB7915-5EB0-92A7-98C2-92ECB45DE514}" dt="2021-01-14T11:18:41.028" v="71" actId="1076"/>
          <ac:cxnSpMkLst>
            <pc:docMk/>
            <pc:sldMk cId="1575758348" sldId="431"/>
            <ac:cxnSpMk id="28" creationId="{00000000-0000-0000-0000-000000000000}"/>
          </ac:cxnSpMkLst>
        </pc:cxnChg>
        <pc:cxnChg chg="mod">
          <ac:chgData name="Carrillo Rojas Daniela (Codelco-Chuquicamata)" userId="S::dcarr014@codelco.cl::b6c6fc0c-fc39-4bf0-8e9d-fb82d681f847" providerId="AD" clId="Web-{7DAB7915-5EB0-92A7-98C2-92ECB45DE514}" dt="2021-01-14T11:18:41.028" v="71" actId="1076"/>
          <ac:cxnSpMkLst>
            <pc:docMk/>
            <pc:sldMk cId="1575758348" sldId="431"/>
            <ac:cxnSpMk id="29" creationId="{00000000-0000-0000-0000-000000000000}"/>
          </ac:cxnSpMkLst>
        </pc:cxnChg>
        <pc:cxnChg chg="mod">
          <ac:chgData name="Carrillo Rojas Daniela (Codelco-Chuquicamata)" userId="S::dcarr014@codelco.cl::b6c6fc0c-fc39-4bf0-8e9d-fb82d681f847" providerId="AD" clId="Web-{7DAB7915-5EB0-92A7-98C2-92ECB45DE514}" dt="2021-01-14T11:22:32.534" v="107" actId="1076"/>
          <ac:cxnSpMkLst>
            <pc:docMk/>
            <pc:sldMk cId="1575758348" sldId="431"/>
            <ac:cxnSpMk id="30" creationId="{00000000-0000-0000-0000-000000000000}"/>
          </ac:cxnSpMkLst>
        </pc:cxnChg>
        <pc:cxnChg chg="add mod">
          <ac:chgData name="Carrillo Rojas Daniela (Codelco-Chuquicamata)" userId="S::dcarr014@codelco.cl::b6c6fc0c-fc39-4bf0-8e9d-fb82d681f847" providerId="AD" clId="Web-{7DAB7915-5EB0-92A7-98C2-92ECB45DE514}" dt="2021-01-14T11:22:32.581" v="110" actId="1076"/>
          <ac:cxnSpMkLst>
            <pc:docMk/>
            <pc:sldMk cId="1575758348" sldId="431"/>
            <ac:cxnSpMk id="31" creationId="{033C0835-1369-4068-9814-9AC3002DAACC}"/>
          </ac:cxnSpMkLst>
        </pc:cxnChg>
        <pc:cxnChg chg="del mod">
          <ac:chgData name="Carrillo Rojas Daniela (Codelco-Chuquicamata)" userId="S::dcarr014@codelco.cl::b6c6fc0c-fc39-4bf0-8e9d-fb82d681f847" providerId="AD" clId="Web-{7DAB7915-5EB0-92A7-98C2-92ECB45DE514}" dt="2021-01-14T11:17:31.635" v="57"/>
          <ac:cxnSpMkLst>
            <pc:docMk/>
            <pc:sldMk cId="1575758348" sldId="431"/>
            <ac:cxnSpMk id="50" creationId="{00000000-0000-0000-0000-000000000000}"/>
          </ac:cxnSpMkLst>
        </pc:cxnChg>
      </pc:sldChg>
      <pc:sldChg chg="modSp">
        <pc:chgData name="Carrillo Rojas Daniela (Codelco-Chuquicamata)" userId="S::dcarr014@codelco.cl::b6c6fc0c-fc39-4bf0-8e9d-fb82d681f847" providerId="AD" clId="Web-{7DAB7915-5EB0-92A7-98C2-92ECB45DE514}" dt="2021-01-14T11:23:37.067" v="117" actId="20577"/>
        <pc:sldMkLst>
          <pc:docMk/>
          <pc:sldMk cId="2259678299" sldId="432"/>
        </pc:sldMkLst>
        <pc:spChg chg="mod">
          <ac:chgData name="Carrillo Rojas Daniela (Codelco-Chuquicamata)" userId="S::dcarr014@codelco.cl::b6c6fc0c-fc39-4bf0-8e9d-fb82d681f847" providerId="AD" clId="Web-{7DAB7915-5EB0-92A7-98C2-92ECB45DE514}" dt="2021-01-14T11:23:37.067" v="117" actId="20577"/>
          <ac:spMkLst>
            <pc:docMk/>
            <pc:sldMk cId="2259678299" sldId="432"/>
            <ac:spMk id="5" creationId="{E837B68D-9B60-4239-ACCC-CC5F5C779EEF}"/>
          </ac:spMkLst>
        </pc:spChg>
      </pc:sldChg>
    </pc:docChg>
  </pc:docChgLst>
  <pc:docChgLst>
    <pc:chgData name="Yon Muniz Yuan (Codelco-Casa Matriz)" userId="S::yyonm001@codelco.cl::f20ca1ac-b253-4f4a-b9a4-571f8a82fa03" providerId="AD" clId="Web-{D7404F33-6EA4-18A2-C513-C5494B36B0E9}"/>
    <pc:docChg chg="modSld">
      <pc:chgData name="Yon Muniz Yuan (Codelco-Casa Matriz)" userId="S::yyonm001@codelco.cl::f20ca1ac-b253-4f4a-b9a4-571f8a82fa03" providerId="AD" clId="Web-{D7404F33-6EA4-18A2-C513-C5494B36B0E9}" dt="2021-02-11T02:03:37.670" v="111" actId="20577"/>
      <pc:docMkLst>
        <pc:docMk/>
      </pc:docMkLst>
      <pc:sldChg chg="modSp">
        <pc:chgData name="Yon Muniz Yuan (Codelco-Casa Matriz)" userId="S::yyonm001@codelco.cl::f20ca1ac-b253-4f4a-b9a4-571f8a82fa03" providerId="AD" clId="Web-{D7404F33-6EA4-18A2-C513-C5494B36B0E9}" dt="2021-02-11T02:03:37.670" v="111" actId="20577"/>
        <pc:sldMkLst>
          <pc:docMk/>
          <pc:sldMk cId="2362642791" sldId="471"/>
        </pc:sldMkLst>
        <pc:spChg chg="mod">
          <ac:chgData name="Yon Muniz Yuan (Codelco-Casa Matriz)" userId="S::yyonm001@codelco.cl::f20ca1ac-b253-4f4a-b9a4-571f8a82fa03" providerId="AD" clId="Web-{D7404F33-6EA4-18A2-C513-C5494B36B0E9}" dt="2021-02-11T01:39:15.124" v="109" actId="1076"/>
          <ac:spMkLst>
            <pc:docMk/>
            <pc:sldMk cId="2362642791" sldId="471"/>
            <ac:spMk id="2" creationId="{052FE435-87E4-45EA-94B3-378D699D1B29}"/>
          </ac:spMkLst>
        </pc:spChg>
        <pc:spChg chg="mod">
          <ac:chgData name="Yon Muniz Yuan (Codelco-Casa Matriz)" userId="S::yyonm001@codelco.cl::f20ca1ac-b253-4f4a-b9a4-571f8a82fa03" providerId="AD" clId="Web-{D7404F33-6EA4-18A2-C513-C5494B36B0E9}" dt="2021-02-11T02:03:37.670" v="111" actId="20577"/>
          <ac:spMkLst>
            <pc:docMk/>
            <pc:sldMk cId="2362642791" sldId="471"/>
            <ac:spMk id="11" creationId="{33B5AC4A-C3B0-4600-AD62-DA53F1F8EC62}"/>
          </ac:spMkLst>
        </pc:spChg>
      </pc:sldChg>
      <pc:sldChg chg="addSp delSp modSp">
        <pc:chgData name="Yon Muniz Yuan (Codelco-Casa Matriz)" userId="S::yyonm001@codelco.cl::f20ca1ac-b253-4f4a-b9a4-571f8a82fa03" providerId="AD" clId="Web-{D7404F33-6EA4-18A2-C513-C5494B36B0E9}" dt="2021-02-11T01:39:18.780" v="110" actId="1076"/>
        <pc:sldMkLst>
          <pc:docMk/>
          <pc:sldMk cId="3645109419" sldId="475"/>
        </pc:sldMkLst>
        <pc:spChg chg="mod">
          <ac:chgData name="Yon Muniz Yuan (Codelco-Casa Matriz)" userId="S::yyonm001@codelco.cl::f20ca1ac-b253-4f4a-b9a4-571f8a82fa03" providerId="AD" clId="Web-{D7404F33-6EA4-18A2-C513-C5494B36B0E9}" dt="2021-02-11T01:39:18.780" v="110" actId="1076"/>
          <ac:spMkLst>
            <pc:docMk/>
            <pc:sldMk cId="3645109419" sldId="475"/>
            <ac:spMk id="2" creationId="{052FE435-87E4-45EA-94B3-378D699D1B29}"/>
          </ac:spMkLst>
        </pc:spChg>
        <pc:spChg chg="add del mod">
          <ac:chgData name="Yon Muniz Yuan (Codelco-Casa Matriz)" userId="S::yyonm001@codelco.cl::f20ca1ac-b253-4f4a-b9a4-571f8a82fa03" providerId="AD" clId="Web-{D7404F33-6EA4-18A2-C513-C5494B36B0E9}" dt="2021-02-11T00:59:41.542" v="90"/>
          <ac:spMkLst>
            <pc:docMk/>
            <pc:sldMk cId="3645109419" sldId="475"/>
            <ac:spMk id="3" creationId="{42572A0C-C49F-45D3-9033-E65576FA087C}"/>
          </ac:spMkLst>
        </pc:spChg>
        <pc:spChg chg="del">
          <ac:chgData name="Yon Muniz Yuan (Codelco-Casa Matriz)" userId="S::yyonm001@codelco.cl::f20ca1ac-b253-4f4a-b9a4-571f8a82fa03" providerId="AD" clId="Web-{D7404F33-6EA4-18A2-C513-C5494B36B0E9}" dt="2021-02-11T01:05:43.003" v="96"/>
          <ac:spMkLst>
            <pc:docMk/>
            <pc:sldMk cId="3645109419" sldId="475"/>
            <ac:spMk id="6" creationId="{D27731F8-8859-4303-9DC8-8DFD4FD6BE9F}"/>
          </ac:spMkLst>
        </pc:spChg>
        <pc:spChg chg="add del">
          <ac:chgData name="Yon Muniz Yuan (Codelco-Casa Matriz)" userId="S::yyonm001@codelco.cl::f20ca1ac-b253-4f4a-b9a4-571f8a82fa03" providerId="AD" clId="Web-{D7404F33-6EA4-18A2-C513-C5494B36B0E9}" dt="2021-02-11T00:44:33.554" v="3"/>
          <ac:spMkLst>
            <pc:docMk/>
            <pc:sldMk cId="3645109419" sldId="475"/>
            <ac:spMk id="8" creationId="{B3729774-9303-4C89-9F27-3AA5A1D78781}"/>
          </ac:spMkLst>
        </pc:spChg>
        <pc:spChg chg="add del mod">
          <ac:chgData name="Yon Muniz Yuan (Codelco-Casa Matriz)" userId="S::yyonm001@codelco.cl::f20ca1ac-b253-4f4a-b9a4-571f8a82fa03" providerId="AD" clId="Web-{D7404F33-6EA4-18A2-C513-C5494B36B0E9}" dt="2021-02-11T01:02:40.202" v="93"/>
          <ac:spMkLst>
            <pc:docMk/>
            <pc:sldMk cId="3645109419" sldId="475"/>
            <ac:spMk id="9" creationId="{AA78BFF8-B0A7-4AF1-B4D6-1F0A04F10F6C}"/>
          </ac:spMkLst>
        </pc:spChg>
        <pc:spChg chg="add del mod">
          <ac:chgData name="Yon Muniz Yuan (Codelco-Casa Matriz)" userId="S::yyonm001@codelco.cl::f20ca1ac-b253-4f4a-b9a4-571f8a82fa03" providerId="AD" clId="Web-{D7404F33-6EA4-18A2-C513-C5494B36B0E9}" dt="2021-02-11T00:59:45.995" v="92"/>
          <ac:spMkLst>
            <pc:docMk/>
            <pc:sldMk cId="3645109419" sldId="475"/>
            <ac:spMk id="10" creationId="{F911EBEB-1543-4C3A-9EC3-04B1BD8AAB83}"/>
          </ac:spMkLst>
        </pc:spChg>
        <pc:spChg chg="del">
          <ac:chgData name="Yon Muniz Yuan (Codelco-Casa Matriz)" userId="S::yyonm001@codelco.cl::f20ca1ac-b253-4f4a-b9a4-571f8a82fa03" providerId="AD" clId="Web-{D7404F33-6EA4-18A2-C513-C5494B36B0E9}" dt="2021-02-11T00:44:29.086" v="1"/>
          <ac:spMkLst>
            <pc:docMk/>
            <pc:sldMk cId="3645109419" sldId="475"/>
            <ac:spMk id="11" creationId="{33B5AC4A-C3B0-4600-AD62-DA53F1F8EC62}"/>
          </ac:spMkLst>
        </pc:spChg>
        <pc:spChg chg="add del mod">
          <ac:chgData name="Yon Muniz Yuan (Codelco-Casa Matriz)" userId="S::yyonm001@codelco.cl::f20ca1ac-b253-4f4a-b9a4-571f8a82fa03" providerId="AD" clId="Web-{D7404F33-6EA4-18A2-C513-C5494B36B0E9}" dt="2021-02-11T00:51:36.907" v="88"/>
          <ac:spMkLst>
            <pc:docMk/>
            <pc:sldMk cId="3645109419" sldId="475"/>
            <ac:spMk id="16" creationId="{FD4A7331-B8D8-4368-ADF4-291E84B78326}"/>
          </ac:spMkLst>
        </pc:spChg>
        <pc:spChg chg="add del mod">
          <ac:chgData name="Yon Muniz Yuan (Codelco-Casa Matriz)" userId="S::yyonm001@codelco.cl::f20ca1ac-b253-4f4a-b9a4-571f8a82fa03" providerId="AD" clId="Web-{D7404F33-6EA4-18A2-C513-C5494B36B0E9}" dt="2021-02-11T00:51:39.313" v="89"/>
          <ac:spMkLst>
            <pc:docMk/>
            <pc:sldMk cId="3645109419" sldId="475"/>
            <ac:spMk id="17" creationId="{A2BD1ECB-C0E4-44FD-9779-0FA2809FBB4F}"/>
          </ac:spMkLst>
        </pc:spChg>
        <pc:picChg chg="add del mod">
          <ac:chgData name="Yon Muniz Yuan (Codelco-Casa Matriz)" userId="S::yyonm001@codelco.cl::f20ca1ac-b253-4f4a-b9a4-571f8a82fa03" providerId="AD" clId="Web-{D7404F33-6EA4-18A2-C513-C5494B36B0E9}" dt="2021-02-11T00:49:26.435" v="87"/>
          <ac:picMkLst>
            <pc:docMk/>
            <pc:sldMk cId="3645109419" sldId="475"/>
            <ac:picMk id="5" creationId="{2FDF2D4A-68E1-40D3-ACE5-8FBFD1BA3B05}"/>
          </ac:picMkLst>
        </pc:picChg>
        <pc:picChg chg="add del mod">
          <ac:chgData name="Yon Muniz Yuan (Codelco-Casa Matriz)" userId="S::yyonm001@codelco.cl::f20ca1ac-b253-4f4a-b9a4-571f8a82fa03" providerId="AD" clId="Web-{D7404F33-6EA4-18A2-C513-C5494B36B0E9}" dt="2021-02-11T00:48:30.278" v="44"/>
          <ac:picMkLst>
            <pc:docMk/>
            <pc:sldMk cId="3645109419" sldId="475"/>
            <ac:picMk id="12" creationId="{5F22683D-EA18-4F72-A477-FE87FFC05012}"/>
          </ac:picMkLst>
        </pc:picChg>
        <pc:picChg chg="add del mod">
          <ac:chgData name="Yon Muniz Yuan (Codelco-Casa Matriz)" userId="S::yyonm001@codelco.cl::f20ca1ac-b253-4f4a-b9a4-571f8a82fa03" providerId="AD" clId="Web-{D7404F33-6EA4-18A2-C513-C5494B36B0E9}" dt="2021-02-11T00:48:30.231" v="43"/>
          <ac:picMkLst>
            <pc:docMk/>
            <pc:sldMk cId="3645109419" sldId="475"/>
            <ac:picMk id="13" creationId="{11B505C1-9187-4BA3-B2A7-A33742BDAB3C}"/>
          </ac:picMkLst>
        </pc:picChg>
        <pc:picChg chg="add del mod">
          <ac:chgData name="Yon Muniz Yuan (Codelco-Casa Matriz)" userId="S::yyonm001@codelco.cl::f20ca1ac-b253-4f4a-b9a4-571f8a82fa03" providerId="AD" clId="Web-{D7404F33-6EA4-18A2-C513-C5494B36B0E9}" dt="2021-02-11T00:49:26.435" v="86"/>
          <ac:picMkLst>
            <pc:docMk/>
            <pc:sldMk cId="3645109419" sldId="475"/>
            <ac:picMk id="14" creationId="{1842316B-7ED7-424B-953C-DC203D687091}"/>
          </ac:picMkLst>
        </pc:picChg>
        <pc:picChg chg="add del mod">
          <ac:chgData name="Yon Muniz Yuan (Codelco-Casa Matriz)" userId="S::yyonm001@codelco.cl::f20ca1ac-b253-4f4a-b9a4-571f8a82fa03" providerId="AD" clId="Web-{D7404F33-6EA4-18A2-C513-C5494B36B0E9}" dt="2021-02-11T00:49:26.435" v="85"/>
          <ac:picMkLst>
            <pc:docMk/>
            <pc:sldMk cId="3645109419" sldId="475"/>
            <ac:picMk id="15" creationId="{D9B35265-E8E2-40E1-8BF6-EAC8CFF67C9C}"/>
          </ac:picMkLst>
        </pc:picChg>
        <pc:picChg chg="add del mod">
          <ac:chgData name="Yon Muniz Yuan (Codelco-Casa Matriz)" userId="S::yyonm001@codelco.cl::f20ca1ac-b253-4f4a-b9a4-571f8a82fa03" providerId="AD" clId="Web-{D7404F33-6EA4-18A2-C513-C5494B36B0E9}" dt="2021-02-11T01:06:07.347" v="102"/>
          <ac:picMkLst>
            <pc:docMk/>
            <pc:sldMk cId="3645109419" sldId="475"/>
            <ac:picMk id="18" creationId="{42FB69C7-609B-4BCB-8CDA-B1FA1AB1F973}"/>
          </ac:picMkLst>
        </pc:picChg>
        <pc:picChg chg="add mod">
          <ac:chgData name="Yon Muniz Yuan (Codelco-Casa Matriz)" userId="S::yyonm001@codelco.cl::f20ca1ac-b253-4f4a-b9a4-571f8a82fa03" providerId="AD" clId="Web-{D7404F33-6EA4-18A2-C513-C5494B36B0E9}" dt="2021-02-11T01:06:19.066" v="108" actId="1076"/>
          <ac:picMkLst>
            <pc:docMk/>
            <pc:sldMk cId="3645109419" sldId="475"/>
            <ac:picMk id="19" creationId="{58D41873-B71C-4DDE-9B89-A45CC0049EDA}"/>
          </ac:picMkLst>
        </pc:picChg>
      </pc:sldChg>
    </pc:docChg>
  </pc:docChgLst>
  <pc:docChgLst>
    <pc:chgData name="Lagos Saldaña Alejandro Javier (Codelco-Chuquicamata)" userId="S::alago008@codelco.cl::b28ebe4a-2e01-412c-aed0-aa81d1ce4a34" providerId="AD" clId="Web-{4B0E0E76-14C7-4995-8720-C9D605AF3F2D}"/>
    <pc:docChg chg="modSld">
      <pc:chgData name="Lagos Saldaña Alejandro Javier (Codelco-Chuquicamata)" userId="S::alago008@codelco.cl::b28ebe4a-2e01-412c-aed0-aa81d1ce4a34" providerId="AD" clId="Web-{4B0E0E76-14C7-4995-8720-C9D605AF3F2D}" dt="2021-05-20T12:34:06.091" v="131" actId="20577"/>
      <pc:docMkLst>
        <pc:docMk/>
      </pc:docMkLst>
      <pc:sldChg chg="modSp">
        <pc:chgData name="Lagos Saldaña Alejandro Javier (Codelco-Chuquicamata)" userId="S::alago008@codelco.cl::b28ebe4a-2e01-412c-aed0-aa81d1ce4a34" providerId="AD" clId="Web-{4B0E0E76-14C7-4995-8720-C9D605AF3F2D}" dt="2021-05-20T12:34:06.091" v="131" actId="20577"/>
        <pc:sldMkLst>
          <pc:docMk/>
          <pc:sldMk cId="1775339418" sldId="440"/>
        </pc:sldMkLst>
        <pc:spChg chg="mod">
          <ac:chgData name="Lagos Saldaña Alejandro Javier (Codelco-Chuquicamata)" userId="S::alago008@codelco.cl::b28ebe4a-2e01-412c-aed0-aa81d1ce4a34" providerId="AD" clId="Web-{4B0E0E76-14C7-4995-8720-C9D605AF3F2D}" dt="2021-05-20T12:34:06.091" v="131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Lagos Saldaña Alejandro Javier (Codelco-Chuquicamata)" userId="S::alago008@codelco.cl::b28ebe4a-2e01-412c-aed0-aa81d1ce4a34" providerId="AD" clId="Web-{4B0E0E76-14C7-4995-8720-C9D605AF3F2D}" dt="2021-05-20T12:29:58.881" v="46" actId="20577"/>
          <ac:spMkLst>
            <pc:docMk/>
            <pc:sldMk cId="1775339418" sldId="440"/>
            <ac:spMk id="19" creationId="{488562D1-4154-4B20-8682-0B484D7B4DCB}"/>
          </ac:spMkLst>
        </pc:spChg>
      </pc:sldChg>
    </pc:docChg>
  </pc:docChgLst>
  <pc:docChgLst>
    <pc:chgData name="Ribbeck Baraibar Magdalena (Codelco-Casa Matriz)" userId="S::mribb001@codelco.cl::7bb6843e-b693-4544-85cb-a362c987f4a4" providerId="AD" clId="Web-{040787EC-B838-59FC-2541-38EDED065902}"/>
    <pc:docChg chg="modSld">
      <pc:chgData name="Ribbeck Baraibar Magdalena (Codelco-Casa Matriz)" userId="S::mribb001@codelco.cl::7bb6843e-b693-4544-85cb-a362c987f4a4" providerId="AD" clId="Web-{040787EC-B838-59FC-2541-38EDED065902}" dt="2021-04-15T16:00:02.255" v="12" actId="1076"/>
      <pc:docMkLst>
        <pc:docMk/>
      </pc:docMkLst>
      <pc:sldChg chg="modSp">
        <pc:chgData name="Ribbeck Baraibar Magdalena (Codelco-Casa Matriz)" userId="S::mribb001@codelco.cl::7bb6843e-b693-4544-85cb-a362c987f4a4" providerId="AD" clId="Web-{040787EC-B838-59FC-2541-38EDED065902}" dt="2021-04-15T15:51:56.720" v="8" actId="1076"/>
        <pc:sldMkLst>
          <pc:docMk/>
          <pc:sldMk cId="3216171305" sldId="458"/>
        </pc:sldMkLst>
        <pc:picChg chg="mod">
          <ac:chgData name="Ribbeck Baraibar Magdalena (Codelco-Casa Matriz)" userId="S::mribb001@codelco.cl::7bb6843e-b693-4544-85cb-a362c987f4a4" providerId="AD" clId="Web-{040787EC-B838-59FC-2541-38EDED065902}" dt="2021-04-15T15:51:56.720" v="8" actId="1076"/>
          <ac:picMkLst>
            <pc:docMk/>
            <pc:sldMk cId="3216171305" sldId="458"/>
            <ac:picMk id="2" creationId="{19EC7EFD-114F-4AE1-8A0D-2EE0E70E4F7D}"/>
          </ac:picMkLst>
        </pc:picChg>
      </pc:sldChg>
      <pc:sldChg chg="modSp">
        <pc:chgData name="Ribbeck Baraibar Magdalena (Codelco-Casa Matriz)" userId="S::mribb001@codelco.cl::7bb6843e-b693-4544-85cb-a362c987f4a4" providerId="AD" clId="Web-{040787EC-B838-59FC-2541-38EDED065902}" dt="2021-04-15T16:00:02.255" v="12" actId="1076"/>
        <pc:sldMkLst>
          <pc:docMk/>
          <pc:sldMk cId="483616472" sldId="483"/>
        </pc:sldMkLst>
        <pc:spChg chg="mod">
          <ac:chgData name="Ribbeck Baraibar Magdalena (Codelco-Casa Matriz)" userId="S::mribb001@codelco.cl::7bb6843e-b693-4544-85cb-a362c987f4a4" providerId="AD" clId="Web-{040787EC-B838-59FC-2541-38EDED065902}" dt="2021-04-15T16:00:02.130" v="10" actId="1076"/>
          <ac:spMkLst>
            <pc:docMk/>
            <pc:sldMk cId="483616472" sldId="483"/>
            <ac:spMk id="3" creationId="{00000000-0000-0000-0000-000000000000}"/>
          </ac:spMkLst>
        </pc:spChg>
        <pc:spChg chg="mod">
          <ac:chgData name="Ribbeck Baraibar Magdalena (Codelco-Casa Matriz)" userId="S::mribb001@codelco.cl::7bb6843e-b693-4544-85cb-a362c987f4a4" providerId="AD" clId="Web-{040787EC-B838-59FC-2541-38EDED065902}" dt="2021-04-15T16:00:02.255" v="12" actId="1076"/>
          <ac:spMkLst>
            <pc:docMk/>
            <pc:sldMk cId="483616472" sldId="483"/>
            <ac:spMk id="11" creationId="{00000000-0000-0000-0000-000000000000}"/>
          </ac:spMkLst>
        </pc:spChg>
        <pc:graphicFrameChg chg="mod">
          <ac:chgData name="Ribbeck Baraibar Magdalena (Codelco-Casa Matriz)" userId="S::mribb001@codelco.cl::7bb6843e-b693-4544-85cb-a362c987f4a4" providerId="AD" clId="Web-{040787EC-B838-59FC-2541-38EDED065902}" dt="2021-04-15T15:51:45.439" v="4" actId="1076"/>
          <ac:graphicFrameMkLst>
            <pc:docMk/>
            <pc:sldMk cId="483616472" sldId="483"/>
            <ac:graphicFrameMk id="26" creationId="{00000000-0000-0000-0000-000000000000}"/>
          </ac:graphicFrameMkLst>
        </pc:graphicFrameChg>
        <pc:picChg chg="mod">
          <ac:chgData name="Ribbeck Baraibar Magdalena (Codelco-Casa Matriz)" userId="S::mribb001@codelco.cl::7bb6843e-b693-4544-85cb-a362c987f4a4" providerId="AD" clId="Web-{040787EC-B838-59FC-2541-38EDED065902}" dt="2021-04-15T15:51:49.376" v="6" actId="1076"/>
          <ac:picMkLst>
            <pc:docMk/>
            <pc:sldMk cId="483616472" sldId="483"/>
            <ac:picMk id="18" creationId="{00000000-0000-0000-0000-000000000000}"/>
          </ac:picMkLst>
        </pc:picChg>
        <pc:picChg chg="mod">
          <ac:chgData name="Ribbeck Baraibar Magdalena (Codelco-Casa Matriz)" userId="S::mribb001@codelco.cl::7bb6843e-b693-4544-85cb-a362c987f4a4" providerId="AD" clId="Web-{040787EC-B838-59FC-2541-38EDED065902}" dt="2021-04-15T15:51:49.392" v="7" actId="1076"/>
          <ac:picMkLst>
            <pc:docMk/>
            <pc:sldMk cId="483616472" sldId="483"/>
            <ac:picMk id="25" creationId="{00000000-0000-0000-0000-000000000000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5FF4DF95-D450-A7DF-2816-901B9D283992}"/>
    <pc:docChg chg="modSld">
      <pc:chgData name="Mery Carrasco Mauricio (Codelco-Casa Matriz)" userId="S::mmery004@codelco.cl::a0378191-74de-4d59-9b37-aa421303daba" providerId="AD" clId="Web-{5FF4DF95-D450-A7DF-2816-901B9D283992}" dt="2021-08-04T04:46:42.730" v="176" actId="14100"/>
      <pc:docMkLst>
        <pc:docMk/>
      </pc:docMkLst>
      <pc:sldChg chg="modSp">
        <pc:chgData name="Mery Carrasco Mauricio (Codelco-Casa Matriz)" userId="S::mmery004@codelco.cl::a0378191-74de-4d59-9b37-aa421303daba" providerId="AD" clId="Web-{5FF4DF95-D450-A7DF-2816-901B9D283992}" dt="2021-08-04T04:41:55.144" v="161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5FF4DF95-D450-A7DF-2816-901B9D283992}" dt="2021-08-04T04:36:42.494" v="53" actId="20577"/>
          <ac:spMkLst>
            <pc:docMk/>
            <pc:sldMk cId="1544981574" sldId="409"/>
            <ac:spMk id="32" creationId="{878D481B-74FF-415D-BFF5-A8DD8F0FEC9A}"/>
          </ac:spMkLst>
        </pc:spChg>
        <pc:spChg chg="mod">
          <ac:chgData name="Mery Carrasco Mauricio (Codelco-Casa Matriz)" userId="S::mmery004@codelco.cl::a0378191-74de-4d59-9b37-aa421303daba" providerId="AD" clId="Web-{5FF4DF95-D450-A7DF-2816-901B9D283992}" dt="2021-08-04T04:41:55.144" v="161" actId="20577"/>
          <ac:spMkLst>
            <pc:docMk/>
            <pc:sldMk cId="1544981574" sldId="409"/>
            <ac:spMk id="35" creationId="{413C3D54-2186-4FCD-BF79-CC9F7E7512E4}"/>
          </ac:spMkLst>
        </pc:spChg>
      </pc:sldChg>
      <pc:sldChg chg="addSp modSp">
        <pc:chgData name="Mery Carrasco Mauricio (Codelco-Casa Matriz)" userId="S::mmery004@codelco.cl::a0378191-74de-4d59-9b37-aa421303daba" providerId="AD" clId="Web-{5FF4DF95-D450-A7DF-2816-901B9D283992}" dt="2021-08-04T04:45:31.806" v="175" actId="20577"/>
        <pc:sldMkLst>
          <pc:docMk/>
          <pc:sldMk cId="2647087036" sldId="576"/>
        </pc:sldMkLst>
        <pc:spChg chg="add mod ord">
          <ac:chgData name="Mery Carrasco Mauricio (Codelco-Casa Matriz)" userId="S::mmery004@codelco.cl::a0378191-74de-4d59-9b37-aa421303daba" providerId="AD" clId="Web-{5FF4DF95-D450-A7DF-2816-901B9D283992}" dt="2021-08-04T04:44:48.914" v="172" actId="14100"/>
          <ac:spMkLst>
            <pc:docMk/>
            <pc:sldMk cId="2647087036" sldId="576"/>
            <ac:spMk id="3" creationId="{4C48135C-FBA7-4FE0-AC63-CECB1BCE06BB}"/>
          </ac:spMkLst>
        </pc:spChg>
        <pc:spChg chg="mod">
          <ac:chgData name="Mery Carrasco Mauricio (Codelco-Casa Matriz)" userId="S::mmery004@codelco.cl::a0378191-74de-4d59-9b37-aa421303daba" providerId="AD" clId="Web-{5FF4DF95-D450-A7DF-2816-901B9D283992}" dt="2021-08-04T04:42:47.567" v="163" actId="1076"/>
          <ac:spMkLst>
            <pc:docMk/>
            <pc:sldMk cId="2647087036" sldId="576"/>
            <ac:spMk id="5" creationId="{D57101E3-207B-4809-B335-D526084CEA70}"/>
          </ac:spMkLst>
        </pc:spChg>
        <pc:spChg chg="mod">
          <ac:chgData name="Mery Carrasco Mauricio (Codelco-Casa Matriz)" userId="S::mmery004@codelco.cl::a0378191-74de-4d59-9b37-aa421303daba" providerId="AD" clId="Web-{5FF4DF95-D450-A7DF-2816-901B9D283992}" dt="2021-08-04T04:45:31.806" v="175" actId="20577"/>
          <ac:spMkLst>
            <pc:docMk/>
            <pc:sldMk cId="2647087036" sldId="576"/>
            <ac:spMk id="73" creationId="{C8831938-1001-47BF-9816-A6EF66ACD2F6}"/>
          </ac:spMkLst>
        </pc:spChg>
      </pc:sldChg>
      <pc:sldChg chg="delSp">
        <pc:chgData name="Mery Carrasco Mauricio (Codelco-Casa Matriz)" userId="S::mmery004@codelco.cl::a0378191-74de-4d59-9b37-aa421303daba" providerId="AD" clId="Web-{5FF4DF95-D450-A7DF-2816-901B9D283992}" dt="2021-08-04T04:42:20.363" v="162"/>
        <pc:sldMkLst>
          <pc:docMk/>
          <pc:sldMk cId="3701603334" sldId="577"/>
        </pc:sldMkLst>
        <pc:spChg chg="del">
          <ac:chgData name="Mery Carrasco Mauricio (Codelco-Casa Matriz)" userId="S::mmery004@codelco.cl::a0378191-74de-4d59-9b37-aa421303daba" providerId="AD" clId="Web-{5FF4DF95-D450-A7DF-2816-901B9D283992}" dt="2021-08-04T04:42:20.363" v="162"/>
          <ac:spMkLst>
            <pc:docMk/>
            <pc:sldMk cId="3701603334" sldId="577"/>
            <ac:spMk id="3" creationId="{55BD6A77-E381-42C4-BC01-0615CFD7C15D}"/>
          </ac:spMkLst>
        </pc:spChg>
      </pc:sldChg>
      <pc:sldChg chg="modSp">
        <pc:chgData name="Mery Carrasco Mauricio (Codelco-Casa Matriz)" userId="S::mmery004@codelco.cl::a0378191-74de-4d59-9b37-aa421303daba" providerId="AD" clId="Web-{5FF4DF95-D450-A7DF-2816-901B9D283992}" dt="2021-08-04T04:46:42.730" v="176" actId="14100"/>
        <pc:sldMkLst>
          <pc:docMk/>
          <pc:sldMk cId="499841031" sldId="578"/>
        </pc:sldMkLst>
        <pc:spChg chg="mod">
          <ac:chgData name="Mery Carrasco Mauricio (Codelco-Casa Matriz)" userId="S::mmery004@codelco.cl::a0378191-74de-4d59-9b37-aa421303daba" providerId="AD" clId="Web-{5FF4DF95-D450-A7DF-2816-901B9D283992}" dt="2021-08-04T04:46:42.730" v="176" actId="14100"/>
          <ac:spMkLst>
            <pc:docMk/>
            <pc:sldMk cId="499841031" sldId="578"/>
            <ac:spMk id="145" creationId="{3F302836-4F68-4641-BD29-64B0A72CA38E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B7C19D24-C17D-1BC8-4CD6-656573EB6E6E}"/>
    <pc:docChg chg="modSld">
      <pc:chgData name="Allende Bustamante Jose (Codelco-Casa Matriz)" userId="S::jalle011@codelco.cl::54345eee-8770-43bf-b080-e3e333067d62" providerId="AD" clId="Web-{B7C19D24-C17D-1BC8-4CD6-656573EB6E6E}" dt="2021-06-30T19:59:23.039" v="3" actId="1076"/>
      <pc:docMkLst>
        <pc:docMk/>
      </pc:docMkLst>
      <pc:sldChg chg="modSp">
        <pc:chgData name="Allende Bustamante Jose (Codelco-Casa Matriz)" userId="S::jalle011@codelco.cl::54345eee-8770-43bf-b080-e3e333067d62" providerId="AD" clId="Web-{B7C19D24-C17D-1BC8-4CD6-656573EB6E6E}" dt="2021-06-30T19:59:23.039" v="3" actId="1076"/>
        <pc:sldMkLst>
          <pc:docMk/>
          <pc:sldMk cId="3699923379" sldId="537"/>
        </pc:sldMkLst>
        <pc:spChg chg="mod">
          <ac:chgData name="Allende Bustamante Jose (Codelco-Casa Matriz)" userId="S::jalle011@codelco.cl::54345eee-8770-43bf-b080-e3e333067d62" providerId="AD" clId="Web-{B7C19D24-C17D-1BC8-4CD6-656573EB6E6E}" dt="2021-06-30T19:59:23.023" v="2" actId="1076"/>
          <ac:spMkLst>
            <pc:docMk/>
            <pc:sldMk cId="3699923379" sldId="537"/>
            <ac:spMk id="2" creationId="{CB18ADAD-3956-406D-83EA-0A3B1C633D9C}"/>
          </ac:spMkLst>
        </pc:spChg>
        <pc:spChg chg="mod">
          <ac:chgData name="Allende Bustamante Jose (Codelco-Casa Matriz)" userId="S::jalle011@codelco.cl::54345eee-8770-43bf-b080-e3e333067d62" providerId="AD" clId="Web-{B7C19D24-C17D-1BC8-4CD6-656573EB6E6E}" dt="2021-06-30T19:59:23.039" v="3" actId="1076"/>
          <ac:spMkLst>
            <pc:docMk/>
            <pc:sldMk cId="3699923379" sldId="537"/>
            <ac:spMk id="16" creationId="{D357F6FB-9034-4778-8663-6204D1CD4AC1}"/>
          </ac:spMkLst>
        </pc:spChg>
        <pc:grpChg chg="mod">
          <ac:chgData name="Allende Bustamante Jose (Codelco-Casa Matriz)" userId="S::jalle011@codelco.cl::54345eee-8770-43bf-b080-e3e333067d62" providerId="AD" clId="Web-{B7C19D24-C17D-1BC8-4CD6-656573EB6E6E}" dt="2021-06-30T19:59:22.929" v="0" actId="1076"/>
          <ac:grpSpMkLst>
            <pc:docMk/>
            <pc:sldMk cId="3699923379" sldId="537"/>
            <ac:grpSpMk id="13" creationId="{00000000-0000-0000-0000-000000000000}"/>
          </ac:grpSpMkLst>
        </pc:grpChg>
        <pc:grpChg chg="mod">
          <ac:chgData name="Allende Bustamante Jose (Codelco-Casa Matriz)" userId="S::jalle011@codelco.cl::54345eee-8770-43bf-b080-e3e333067d62" providerId="AD" clId="Web-{B7C19D24-C17D-1BC8-4CD6-656573EB6E6E}" dt="2021-06-30T19:59:23.023" v="1" actId="1076"/>
          <ac:grpSpMkLst>
            <pc:docMk/>
            <pc:sldMk cId="3699923379" sldId="537"/>
            <ac:grpSpMk id="14" creationId="{00000000-0000-0000-0000-000000000000}"/>
          </ac:grpSpMkLst>
        </pc:grpChg>
      </pc:sldChg>
    </pc:docChg>
  </pc:docChgLst>
  <pc:docChgLst>
    <pc:chgData name="Mery Carrasco Mauricio (Codelco-Casa Matriz)" userId="S::mmery004@codelco.cl::a0378191-74de-4d59-9b37-aa421303daba" providerId="AD" clId="Web-{506D44DF-3480-709B-BFF1-BC13DCEBE0AD}"/>
    <pc:docChg chg="addSld delSld modSld addMainMaster modMainMaster">
      <pc:chgData name="Mery Carrasco Mauricio (Codelco-Casa Matriz)" userId="S::mmery004@codelco.cl::a0378191-74de-4d59-9b37-aa421303daba" providerId="AD" clId="Web-{506D44DF-3480-709B-BFF1-BC13DCEBE0AD}" dt="2021-08-03T20:46:46.565" v="137"/>
      <pc:docMkLst>
        <pc:docMk/>
      </pc:docMkLst>
      <pc:sldChg chg="modSp">
        <pc:chgData name="Mery Carrasco Mauricio (Codelco-Casa Matriz)" userId="S::mmery004@codelco.cl::a0378191-74de-4d59-9b37-aa421303daba" providerId="AD" clId="Web-{506D44DF-3480-709B-BFF1-BC13DCEBE0AD}" dt="2021-08-03T20:34:59.697" v="124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506D44DF-3480-709B-BFF1-BC13DCEBE0AD}" dt="2021-08-03T20:34:59.697" v="124" actId="20577"/>
          <ac:spMkLst>
            <pc:docMk/>
            <pc:sldMk cId="1544981574" sldId="409"/>
            <ac:spMk id="20" creationId="{5DD814C3-F9E7-44C1-9A20-799B0B7555CF}"/>
          </ac:spMkLst>
        </pc:spChg>
      </pc:sldChg>
      <pc:sldChg chg="addCm">
        <pc:chgData name="Mery Carrasco Mauricio (Codelco-Casa Matriz)" userId="S::mmery004@codelco.cl::a0378191-74de-4d59-9b37-aa421303daba" providerId="AD" clId="Web-{506D44DF-3480-709B-BFF1-BC13DCEBE0AD}" dt="2021-08-03T20:02:54.439" v="0"/>
        <pc:sldMkLst>
          <pc:docMk/>
          <pc:sldMk cId="1775339418" sldId="440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5:18.685" v="129"/>
        <pc:sldMkLst>
          <pc:docMk/>
          <pc:sldMk cId="3182901359" sldId="523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5:32.264" v="131"/>
        <pc:sldMkLst>
          <pc:docMk/>
          <pc:sldMk cId="2010855279" sldId="524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5:49.718" v="133"/>
        <pc:sldMkLst>
          <pc:docMk/>
          <pc:sldMk cId="1193571837" sldId="525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6:38.487" v="135"/>
        <pc:sldMkLst>
          <pc:docMk/>
          <pc:sldMk cId="3647565459" sldId="526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39:30.712" v="126"/>
        <pc:sldMkLst>
          <pc:docMk/>
          <pc:sldMk cId="2643918582" sldId="527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39:36.416" v="127"/>
        <pc:sldMkLst>
          <pc:docMk/>
          <pc:sldMk cId="4077693337" sldId="528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5:43.562" v="132"/>
        <pc:sldMkLst>
          <pc:docMk/>
          <pc:sldMk cId="3660273785" sldId="533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39:26.197" v="125"/>
        <pc:sldMkLst>
          <pc:docMk/>
          <pc:sldMk cId="1731287607" sldId="536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6:34.252" v="134"/>
        <pc:sldMkLst>
          <pc:docMk/>
          <pc:sldMk cId="3699923379" sldId="537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6:46.565" v="137"/>
        <pc:sldMkLst>
          <pc:docMk/>
          <pc:sldMk cId="2372349752" sldId="541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39:48.948" v="128"/>
        <pc:sldMkLst>
          <pc:docMk/>
          <pc:sldMk cId="2727499125" sldId="542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6:38.502" v="136"/>
        <pc:sldMkLst>
          <pc:docMk/>
          <pc:sldMk cId="2238237886" sldId="544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45:23.654" v="130"/>
        <pc:sldMkLst>
          <pc:docMk/>
          <pc:sldMk cId="3338979914" sldId="549"/>
        </pc:sldMkLst>
      </pc:sldChg>
      <pc:sldChg chg="addCm">
        <pc:chgData name="Mery Carrasco Mauricio (Codelco-Casa Matriz)" userId="S::mmery004@codelco.cl::a0378191-74de-4d59-9b37-aa421303daba" providerId="AD" clId="Web-{506D44DF-3480-709B-BFF1-BC13DCEBE0AD}" dt="2021-08-03T20:16:50.355" v="1"/>
        <pc:sldMkLst>
          <pc:docMk/>
          <pc:sldMk cId="3763758550" sldId="557"/>
        </pc:sldMkLst>
      </pc:sldChg>
      <pc:sldChg chg="del">
        <pc:chgData name="Mery Carrasco Mauricio (Codelco-Casa Matriz)" userId="S::mmery004@codelco.cl::a0378191-74de-4d59-9b37-aa421303daba" providerId="AD" clId="Web-{506D44DF-3480-709B-BFF1-BC13DCEBE0AD}" dt="2021-08-03T20:20:36.534" v="4"/>
        <pc:sldMkLst>
          <pc:docMk/>
          <pc:sldMk cId="878870300" sldId="559"/>
        </pc:sldMkLst>
      </pc:sldChg>
      <pc:sldChg chg="addCm">
        <pc:chgData name="Mery Carrasco Mauricio (Codelco-Casa Matriz)" userId="S::mmery004@codelco.cl::a0378191-74de-4d59-9b37-aa421303daba" providerId="AD" clId="Web-{506D44DF-3480-709B-BFF1-BC13DCEBE0AD}" dt="2021-08-03T20:30:40.620" v="100"/>
        <pc:sldMkLst>
          <pc:docMk/>
          <pc:sldMk cId="513596260" sldId="564"/>
        </pc:sldMkLst>
      </pc:sldChg>
      <pc:sldChg chg="modSp">
        <pc:chgData name="Mery Carrasco Mauricio (Codelco-Casa Matriz)" userId="S::mmery004@codelco.cl::a0378191-74de-4d59-9b37-aa421303daba" providerId="AD" clId="Web-{506D44DF-3480-709B-BFF1-BC13DCEBE0AD}" dt="2021-08-03T20:24:41.019" v="99" actId="20577"/>
        <pc:sldMkLst>
          <pc:docMk/>
          <pc:sldMk cId="642344154" sldId="569"/>
        </pc:sldMkLst>
        <pc:spChg chg="mod">
          <ac:chgData name="Mery Carrasco Mauricio (Codelco-Casa Matriz)" userId="S::mmery004@codelco.cl::a0378191-74de-4d59-9b37-aa421303daba" providerId="AD" clId="Web-{506D44DF-3480-709B-BFF1-BC13DCEBE0AD}" dt="2021-08-03T20:24:41.019" v="99" actId="20577"/>
          <ac:spMkLst>
            <pc:docMk/>
            <pc:sldMk cId="642344154" sldId="569"/>
            <ac:spMk id="14" creationId="{44B4F61D-2A3E-494F-96A3-1A6AF2B837AC}"/>
          </ac:spMkLst>
        </pc:spChg>
      </pc:sldChg>
      <pc:sldChg chg="modSp add addCm">
        <pc:chgData name="Mery Carrasco Mauricio (Codelco-Casa Matriz)" userId="S::mmery004@codelco.cl::a0378191-74de-4d59-9b37-aa421303daba" providerId="AD" clId="Web-{506D44DF-3480-709B-BFF1-BC13DCEBE0AD}" dt="2021-08-03T20:31:26.623" v="104" actId="20577"/>
        <pc:sldMkLst>
          <pc:docMk/>
          <pc:sldMk cId="3262196641" sldId="570"/>
        </pc:sldMkLst>
        <pc:spChg chg="mod">
          <ac:chgData name="Mery Carrasco Mauricio (Codelco-Casa Matriz)" userId="S::mmery004@codelco.cl::a0378191-74de-4d59-9b37-aa421303daba" providerId="AD" clId="Web-{506D44DF-3480-709B-BFF1-BC13DCEBE0AD}" dt="2021-08-03T20:31:26.623" v="104" actId="20577"/>
          <ac:spMkLst>
            <pc:docMk/>
            <pc:sldMk cId="3262196641" sldId="570"/>
            <ac:spMk id="2" creationId="{A64CCF65-0368-4116-90F3-574EE3CB72BC}"/>
          </ac:spMkLst>
        </pc:spChg>
        <pc:spChg chg="mod">
          <ac:chgData name="Mery Carrasco Mauricio (Codelco-Casa Matriz)" userId="S::mmery004@codelco.cl::a0378191-74de-4d59-9b37-aa421303daba" providerId="AD" clId="Web-{506D44DF-3480-709B-BFF1-BC13DCEBE0AD}" dt="2021-08-03T20:20:28.065" v="3" actId="14100"/>
          <ac:spMkLst>
            <pc:docMk/>
            <pc:sldMk cId="3262196641" sldId="570"/>
            <ac:spMk id="34" creationId="{89E4D04F-12AC-4259-848E-17B72E0E6E94}"/>
          </ac:spMkLst>
        </pc:spChg>
      </pc:sldChg>
      <pc:sldMasterChg chg="modSldLayout">
        <pc:chgData name="Mery Carrasco Mauricio (Codelco-Casa Matriz)" userId="S::mmery004@codelco.cl::a0378191-74de-4d59-9b37-aa421303daba" providerId="AD" clId="Web-{506D44DF-3480-709B-BFF1-BC13DCEBE0AD}" dt="2021-08-03T20:20:07.720" v="2"/>
        <pc:sldMasterMkLst>
          <pc:docMk/>
          <pc:sldMasterMk cId="1483736372" sldId="2147483899"/>
        </pc:sldMasterMkLst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483736372" sldId="2147483899"/>
            <pc:sldLayoutMk cId="3338812451" sldId="2147484485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483736372" sldId="2147483899"/>
            <pc:sldLayoutMk cId="1566510803" sldId="2147484486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483736372" sldId="2147483899"/>
            <pc:sldLayoutMk cId="1771080821" sldId="2147484487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483736372" sldId="2147483899"/>
            <pc:sldLayoutMk cId="3879504276" sldId="2147484488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483736372" sldId="2147483899"/>
            <pc:sldLayoutMk cId="604462793" sldId="2147484489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483736372" sldId="2147483899"/>
            <pc:sldLayoutMk cId="1031026366" sldId="2147484490"/>
          </pc:sldLayoutMkLst>
        </pc:sldLayoutChg>
      </pc:sldMasterChg>
      <pc:sldMasterChg chg="add addSldLayout">
        <pc:chgData name="Mery Carrasco Mauricio (Codelco-Casa Matriz)" userId="S::mmery004@codelco.cl::a0378191-74de-4d59-9b37-aa421303daba" providerId="AD" clId="Web-{506D44DF-3480-709B-BFF1-BC13DCEBE0AD}" dt="2021-08-03T20:20:07.720" v="2"/>
        <pc:sldMasterMkLst>
          <pc:docMk/>
          <pc:sldMasterMk cId="272120271" sldId="2147483910"/>
        </pc:sldMasterMkLst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881512813" sldId="2147483911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948102356" sldId="2147483912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594116044" sldId="2147483913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1814803552" sldId="2147483914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1295510665" sldId="2147483915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1938872577" sldId="2147483916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364707725" sldId="2147483917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3165086756" sldId="2147483918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3174876450" sldId="2147483919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418561177" sldId="2147483920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3124029494" sldId="2147483921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525578004" sldId="2147483922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3618803721" sldId="2147483923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627525663" sldId="2147483924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841306598" sldId="2147483925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944893338" sldId="2147483926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912913587" sldId="2147483927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4090283692" sldId="2147483928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2875077850" sldId="2147483929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1126474575" sldId="2147483930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785955986" sldId="2147483931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1438152795" sldId="2147483932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509411565" sldId="2147483933"/>
          </pc:sldLayoutMkLst>
        </pc:sldLayoutChg>
        <pc:sldLayoutChg chg="ad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272120271" sldId="2147483910"/>
            <pc:sldLayoutMk cId="1815821183" sldId="2147483934"/>
          </pc:sldLayoutMkLst>
        </pc:sldLayoutChg>
      </pc:sldMasterChg>
      <pc:sldMasterChg chg="modSldLayout">
        <pc:chgData name="Mery Carrasco Mauricio (Codelco-Casa Matriz)" userId="S::mmery004@codelco.cl::a0378191-74de-4d59-9b37-aa421303daba" providerId="AD" clId="Web-{506D44DF-3480-709B-BFF1-BC13DCEBE0AD}" dt="2021-08-03T20:20:07.720" v="2"/>
        <pc:sldMasterMkLst>
          <pc:docMk/>
          <pc:sldMasterMk cId="4084933470" sldId="2147484172"/>
        </pc:sldMasterMkLst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4084933470" sldId="2147484172"/>
            <pc:sldLayoutMk cId="1980739597" sldId="2147484491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4084933470" sldId="2147484172"/>
            <pc:sldLayoutMk cId="3520029027" sldId="2147484492"/>
          </pc:sldLayoutMkLst>
        </pc:sldLayoutChg>
      </pc:sldMasterChg>
      <pc:sldMasterChg chg="replId modSldLayout">
        <pc:chgData name="Mery Carrasco Mauricio (Codelco-Casa Matriz)" userId="S::mmery004@codelco.cl::a0378191-74de-4d59-9b37-aa421303daba" providerId="AD" clId="Web-{506D44DF-3480-709B-BFF1-BC13DCEBE0AD}" dt="2021-08-03T20:20:07.720" v="2"/>
        <pc:sldMasterMkLst>
          <pc:docMk/>
          <pc:sldMasterMk cId="1947106969" sldId="2147484493"/>
        </pc:sldMasterMkLst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590555235" sldId="2147484494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2702103378" sldId="2147484495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284516331" sldId="2147484496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856156834" sldId="2147484497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2023059356" sldId="2147484498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3515748091" sldId="2147484499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1302026744" sldId="2147484500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3889806435" sldId="2147484501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422938849" sldId="2147484502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3856576382" sldId="2147484503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4261781644" sldId="2147484504"/>
          </pc:sldLayoutMkLst>
        </pc:sldLayoutChg>
        <pc:sldLayoutChg chg="replId">
          <pc:chgData name="Mery Carrasco Mauricio (Codelco-Casa Matriz)" userId="S::mmery004@codelco.cl::a0378191-74de-4d59-9b37-aa421303daba" providerId="AD" clId="Web-{506D44DF-3480-709B-BFF1-BC13DCEBE0AD}" dt="2021-08-03T20:20:07.720" v="2"/>
          <pc:sldLayoutMkLst>
            <pc:docMk/>
            <pc:sldMasterMk cId="1947106969" sldId="2147484493"/>
            <pc:sldLayoutMk cId="112794488" sldId="2147484505"/>
          </pc:sldLayoutMkLst>
        </pc:sldLayoutChg>
      </pc:sldMasterChg>
    </pc:docChg>
  </pc:docChgLst>
  <pc:docChgLst>
    <pc:chgData name="Carrillo Rojas Daniela (Codelco-Chuquicamata)" userId="S::dcarr014@codelco.cl::b6c6fc0c-fc39-4bf0-8e9d-fb82d681f847" providerId="AD" clId="Web-{734B9C42-CD47-A139-01CF-C22EE168960A}"/>
    <pc:docChg chg="modSld">
      <pc:chgData name="Carrillo Rojas Daniela (Codelco-Chuquicamata)" userId="S::dcarr014@codelco.cl::b6c6fc0c-fc39-4bf0-8e9d-fb82d681f847" providerId="AD" clId="Web-{734B9C42-CD47-A139-01CF-C22EE168960A}" dt="2021-01-28T14:58:13.993" v="2" actId="20577"/>
      <pc:docMkLst>
        <pc:docMk/>
      </pc:docMkLst>
      <pc:sldChg chg="modSp">
        <pc:chgData name="Carrillo Rojas Daniela (Codelco-Chuquicamata)" userId="S::dcarr014@codelco.cl::b6c6fc0c-fc39-4bf0-8e9d-fb82d681f847" providerId="AD" clId="Web-{734B9C42-CD47-A139-01CF-C22EE168960A}" dt="2021-01-28T14:58:13.993" v="2" actId="20577"/>
        <pc:sldMkLst>
          <pc:docMk/>
          <pc:sldMk cId="3642239849" sldId="466"/>
        </pc:sldMkLst>
        <pc:spChg chg="mod">
          <ac:chgData name="Carrillo Rojas Daniela (Codelco-Chuquicamata)" userId="S::dcarr014@codelco.cl::b6c6fc0c-fc39-4bf0-8e9d-fb82d681f847" providerId="AD" clId="Web-{734B9C42-CD47-A139-01CF-C22EE168960A}" dt="2021-01-28T14:58:13.993" v="2" actId="20577"/>
          <ac:spMkLst>
            <pc:docMk/>
            <pc:sldMk cId="3642239849" sldId="466"/>
            <ac:spMk id="316" creationId="{B5F69860-6CAE-442D-9CE3-DD9053215E0F}"/>
          </ac:spMkLst>
        </pc:spChg>
      </pc:sldChg>
    </pc:docChg>
  </pc:docChgLst>
  <pc:docChgLst>
    <pc:chgData name="Huidobro Matamala Juan (Codelco-Chuquicamata)" userId="S::jhuid001@codelco.cl::afdd00f7-4d72-4a9e-8227-cd11f72dd823" providerId="AD" clId="Web-{428BB39F-40D0-0000-A004-01CE433201F5}"/>
    <pc:docChg chg="modSld">
      <pc:chgData name="Huidobro Matamala Juan (Codelco-Chuquicamata)" userId="S::jhuid001@codelco.cl::afdd00f7-4d72-4a9e-8227-cd11f72dd823" providerId="AD" clId="Web-{428BB39F-40D0-0000-A004-01CE433201F5}" dt="2021-03-12T13:07:46.419" v="9"/>
      <pc:docMkLst>
        <pc:docMk/>
      </pc:docMkLst>
      <pc:sldChg chg="addSp delSp">
        <pc:chgData name="Huidobro Matamala Juan (Codelco-Chuquicamata)" userId="S::jhuid001@codelco.cl::afdd00f7-4d72-4a9e-8227-cd11f72dd823" providerId="AD" clId="Web-{428BB39F-40D0-0000-A004-01CE433201F5}" dt="2021-03-12T13:07:46.419" v="9"/>
        <pc:sldMkLst>
          <pc:docMk/>
          <pc:sldMk cId="1775339418" sldId="440"/>
        </pc:sldMkLst>
        <pc:inkChg chg="add del">
          <ac:chgData name="Huidobro Matamala Juan (Codelco-Chuquicamata)" userId="S::jhuid001@codelco.cl::afdd00f7-4d72-4a9e-8227-cd11f72dd823" providerId="AD" clId="Web-{428BB39F-40D0-0000-A004-01CE433201F5}" dt="2021-03-12T13:05:56.510" v="3"/>
          <ac:inkMkLst>
            <pc:docMk/>
            <pc:sldMk cId="1775339418" sldId="440"/>
            <ac:inkMk id="3" creationId="{7217C4BB-40FC-405F-A62D-F5A303C2DE3C}"/>
          </ac:inkMkLst>
        </pc:inkChg>
        <pc:inkChg chg="add del">
          <ac:chgData name="Huidobro Matamala Juan (Codelco-Chuquicamata)" userId="S::jhuid001@codelco.cl::afdd00f7-4d72-4a9e-8227-cd11f72dd823" providerId="AD" clId="Web-{428BB39F-40D0-0000-A004-01CE433201F5}" dt="2021-03-12T13:05:52.025" v="2"/>
          <ac:inkMkLst>
            <pc:docMk/>
            <pc:sldMk cId="1775339418" sldId="440"/>
            <ac:inkMk id="5" creationId="{17D88562-6BBA-47B8-9932-019E58F49D43}"/>
          </ac:inkMkLst>
        </pc:inkChg>
        <pc:inkChg chg="add del">
          <ac:chgData name="Huidobro Matamala Juan (Codelco-Chuquicamata)" userId="S::jhuid001@codelco.cl::afdd00f7-4d72-4a9e-8227-cd11f72dd823" providerId="AD" clId="Web-{428BB39F-40D0-0000-A004-01CE433201F5}" dt="2021-03-12T13:06:40.917" v="5"/>
          <ac:inkMkLst>
            <pc:docMk/>
            <pc:sldMk cId="1775339418" sldId="440"/>
            <ac:inkMk id="7" creationId="{BD589BB3-ACEB-4BFB-B00D-17F31F11A898}"/>
          </ac:inkMkLst>
        </pc:inkChg>
        <pc:inkChg chg="add del">
          <ac:chgData name="Huidobro Matamala Juan (Codelco-Chuquicamata)" userId="S::jhuid001@codelco.cl::afdd00f7-4d72-4a9e-8227-cd11f72dd823" providerId="AD" clId="Web-{428BB39F-40D0-0000-A004-01CE433201F5}" dt="2021-03-12T13:07:46.419" v="9"/>
          <ac:inkMkLst>
            <pc:docMk/>
            <pc:sldMk cId="1775339418" sldId="440"/>
            <ac:inkMk id="11" creationId="{900F2208-016A-4F1F-9848-FF59F4F5873C}"/>
          </ac:inkMkLst>
        </pc:inkChg>
        <pc:inkChg chg="add del">
          <ac:chgData name="Huidobro Matamala Juan (Codelco-Chuquicamata)" userId="S::jhuid001@codelco.cl::afdd00f7-4d72-4a9e-8227-cd11f72dd823" providerId="AD" clId="Web-{428BB39F-40D0-0000-A004-01CE433201F5}" dt="2021-03-12T13:07:44.215" v="8"/>
          <ac:inkMkLst>
            <pc:docMk/>
            <pc:sldMk cId="1775339418" sldId="440"/>
            <ac:inkMk id="12" creationId="{CF85B02E-1DA1-4B2A-BB53-C08B8D4391E0}"/>
          </ac:inkMkLst>
        </pc:inkChg>
      </pc:sldChg>
    </pc:docChg>
  </pc:docChgLst>
  <pc:docChgLst>
    <pc:chgData name="Gonzalez Salas Fabian (Codelco-Casa Matriz)" userId="S::fgonz072@codelco.cl::a9649211-5e72-4b4e-8dfa-cd743f2f5996" providerId="AD" clId="Web-{B6BEC99F-F030-0000-C1C7-4762017C907F}"/>
    <pc:docChg chg="modSld">
      <pc:chgData name="Gonzalez Salas Fabian (Codelco-Casa Matriz)" userId="S::fgonz072@codelco.cl::a9649211-5e72-4b4e-8dfa-cd743f2f5996" providerId="AD" clId="Web-{B6BEC99F-F030-0000-C1C7-4762017C907F}" dt="2021-05-20T13:23:15.272" v="275"/>
      <pc:docMkLst>
        <pc:docMk/>
      </pc:docMkLst>
      <pc:sldChg chg="modSp">
        <pc:chgData name="Gonzalez Salas Fabian (Codelco-Casa Matriz)" userId="S::fgonz072@codelco.cl::a9649211-5e72-4b4e-8dfa-cd743f2f5996" providerId="AD" clId="Web-{B6BEC99F-F030-0000-C1C7-4762017C907F}" dt="2021-05-20T13:02:27.518" v="48" actId="20577"/>
        <pc:sldMkLst>
          <pc:docMk/>
          <pc:sldMk cId="2155997825" sldId="375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2:27.518" v="48" actId="20577"/>
          <ac:spMkLst>
            <pc:docMk/>
            <pc:sldMk cId="2155997825" sldId="375"/>
            <ac:spMk id="37" creationId="{6DE85956-0A08-4CC0-853E-4785B3580718}"/>
          </ac:spMkLst>
        </pc:sp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2:20.940" v="43" actId="20577"/>
        <pc:sldMkLst>
          <pc:docMk/>
          <pc:sldMk cId="542542969" sldId="518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2:20.940" v="43" actId="20577"/>
          <ac:spMkLst>
            <pc:docMk/>
            <pc:sldMk cId="542542969" sldId="518"/>
            <ac:spMk id="37" creationId="{6DE85956-0A08-4CC0-853E-4785B3580718}"/>
          </ac:spMkLst>
        </pc:sp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2:09.142" v="41" actId="20577"/>
        <pc:sldMkLst>
          <pc:docMk/>
          <pc:sldMk cId="1655563711" sldId="519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2:09.142" v="41" actId="20577"/>
          <ac:spMkLst>
            <pc:docMk/>
            <pc:sldMk cId="1655563711" sldId="519"/>
            <ac:spMk id="37" creationId="{6DE85956-0A08-4CC0-853E-4785B3580718}"/>
          </ac:spMkLst>
        </pc:sp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2:05.642" v="40" actId="20577"/>
        <pc:sldMkLst>
          <pc:docMk/>
          <pc:sldMk cId="1095406074" sldId="521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2:05.642" v="40" actId="20577"/>
          <ac:spMkLst>
            <pc:docMk/>
            <pc:sldMk cId="1095406074" sldId="521"/>
            <ac:spMk id="37" creationId="{6DE85956-0A08-4CC0-853E-4785B3580718}"/>
          </ac:spMkLst>
        </pc:sp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2:03.861" v="39" actId="20577"/>
        <pc:sldMkLst>
          <pc:docMk/>
          <pc:sldMk cId="2681686832" sldId="523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2:03.861" v="39" actId="20577"/>
          <ac:spMkLst>
            <pc:docMk/>
            <pc:sldMk cId="2681686832" sldId="523"/>
            <ac:spMk id="37" creationId="{6DE85956-0A08-4CC0-853E-4785B3580718}"/>
          </ac:spMkLst>
        </pc:sp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1:58.970" v="38" actId="20577"/>
        <pc:sldMkLst>
          <pc:docMk/>
          <pc:sldMk cId="3539041446" sldId="525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1:58.970" v="38" actId="20577"/>
          <ac:spMkLst>
            <pc:docMk/>
            <pc:sldMk cId="3539041446" sldId="525"/>
            <ac:spMk id="37" creationId="{6DE85956-0A08-4CC0-853E-4785B3580718}"/>
          </ac:spMkLst>
        </pc:sp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1:41.157" v="32" actId="20577"/>
        <pc:sldMkLst>
          <pc:docMk/>
          <pc:sldMk cId="1795708575" sldId="527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1:41.157" v="32" actId="20577"/>
          <ac:spMkLst>
            <pc:docMk/>
            <pc:sldMk cId="1795708575" sldId="527"/>
            <ac:spMk id="37" creationId="{6DE85956-0A08-4CC0-853E-4785B3580718}"/>
          </ac:spMkLst>
        </pc:spChg>
      </pc:sldChg>
      <pc:sldChg chg="addSp delSp modSp">
        <pc:chgData name="Gonzalez Salas Fabian (Codelco-Casa Matriz)" userId="S::fgonz072@codelco.cl::a9649211-5e72-4b4e-8dfa-cd743f2f5996" providerId="AD" clId="Web-{B6BEC99F-F030-0000-C1C7-4762017C907F}" dt="2021-05-20T13:18:09.170" v="263" actId="20577"/>
        <pc:sldMkLst>
          <pc:docMk/>
          <pc:sldMk cId="1869297631" sldId="528"/>
        </pc:sldMkLst>
        <pc:spChg chg="add mod">
          <ac:chgData name="Gonzalez Salas Fabian (Codelco-Casa Matriz)" userId="S::fgonz072@codelco.cl::a9649211-5e72-4b4e-8dfa-cd743f2f5996" providerId="AD" clId="Web-{B6BEC99F-F030-0000-C1C7-4762017C907F}" dt="2021-05-20T13:03:25.660" v="61" actId="20577"/>
          <ac:spMkLst>
            <pc:docMk/>
            <pc:sldMk cId="1869297631" sldId="528"/>
            <ac:spMk id="5" creationId="{24A37632-23C6-4DC4-B90E-A48156D6B181}"/>
          </ac:spMkLst>
        </pc:spChg>
        <pc:spChg chg="add mod">
          <ac:chgData name="Gonzalez Salas Fabian (Codelco-Casa Matriz)" userId="S::fgonz072@codelco.cl::a9649211-5e72-4b4e-8dfa-cd743f2f5996" providerId="AD" clId="Web-{B6BEC99F-F030-0000-C1C7-4762017C907F}" dt="2021-05-20T13:13:22.709" v="143" actId="20577"/>
          <ac:spMkLst>
            <pc:docMk/>
            <pc:sldMk cId="1869297631" sldId="528"/>
            <ac:spMk id="7" creationId="{FAB3FB20-AEC5-4D79-A95C-9AA5C1B5AE28}"/>
          </ac:spMkLst>
        </pc:spChg>
        <pc:spChg chg="add mod">
          <ac:chgData name="Gonzalez Salas Fabian (Codelco-Casa Matriz)" userId="S::fgonz072@codelco.cl::a9649211-5e72-4b4e-8dfa-cd743f2f5996" providerId="AD" clId="Web-{B6BEC99F-F030-0000-C1C7-4762017C907F}" dt="2021-05-20T13:17:43.904" v="259" actId="20577"/>
          <ac:spMkLst>
            <pc:docMk/>
            <pc:sldMk cId="1869297631" sldId="528"/>
            <ac:spMk id="11" creationId="{D2291D34-4F70-4D9C-8533-5C8C332283AD}"/>
          </ac:spMkLst>
        </pc:spChg>
        <pc:spChg chg="add mod">
          <ac:chgData name="Gonzalez Salas Fabian (Codelco-Casa Matriz)" userId="S::fgonz072@codelco.cl::a9649211-5e72-4b4e-8dfa-cd743f2f5996" providerId="AD" clId="Web-{B6BEC99F-F030-0000-C1C7-4762017C907F}" dt="2021-05-20T13:18:09.170" v="263" actId="20577"/>
          <ac:spMkLst>
            <pc:docMk/>
            <pc:sldMk cId="1869297631" sldId="528"/>
            <ac:spMk id="12" creationId="{99E6E61C-2F77-474D-8C84-138AAB2303F6}"/>
          </ac:spMkLst>
        </pc:spChg>
        <pc:spChg chg="add del">
          <ac:chgData name="Gonzalez Salas Fabian (Codelco-Casa Matriz)" userId="S::fgonz072@codelco.cl::a9649211-5e72-4b4e-8dfa-cd743f2f5996" providerId="AD" clId="Web-{B6BEC99F-F030-0000-C1C7-4762017C907F}" dt="2021-05-20T13:15:08.055" v="194"/>
          <ac:spMkLst>
            <pc:docMk/>
            <pc:sldMk cId="1869297631" sldId="528"/>
            <ac:spMk id="13" creationId="{545D105E-D5FE-44C1-967B-80306E119C3A}"/>
          </ac:spMkLst>
        </pc:spChg>
        <pc:picChg chg="add mod">
          <ac:chgData name="Gonzalez Salas Fabian (Codelco-Casa Matriz)" userId="S::fgonz072@codelco.cl::a9649211-5e72-4b4e-8dfa-cd743f2f5996" providerId="AD" clId="Web-{B6BEC99F-F030-0000-C1C7-4762017C907F}" dt="2021-05-20T13:13:10.208" v="140" actId="1076"/>
          <ac:picMkLst>
            <pc:docMk/>
            <pc:sldMk cId="1869297631" sldId="528"/>
            <ac:picMk id="3" creationId="{12DFFB6D-6375-4412-8694-4C1E063D3738}"/>
          </ac:picMkLst>
        </pc:picChg>
        <pc:picChg chg="add mod modCrop">
          <ac:chgData name="Gonzalez Salas Fabian (Codelco-Casa Matriz)" userId="S::fgonz072@codelco.cl::a9649211-5e72-4b4e-8dfa-cd743f2f5996" providerId="AD" clId="Web-{B6BEC99F-F030-0000-C1C7-4762017C907F}" dt="2021-05-20T13:13:15.068" v="141" actId="1076"/>
          <ac:picMkLst>
            <pc:docMk/>
            <pc:sldMk cId="1869297631" sldId="528"/>
            <ac:picMk id="8" creationId="{A1D36149-4758-45F4-B2A8-188606F77173}"/>
          </ac:picMkLst>
        </pc:picChg>
        <pc:picChg chg="add del mod">
          <ac:chgData name="Gonzalez Salas Fabian (Codelco-Casa Matriz)" userId="S::fgonz072@codelco.cl::a9649211-5e72-4b4e-8dfa-cd743f2f5996" providerId="AD" clId="Web-{B6BEC99F-F030-0000-C1C7-4762017C907F}" dt="2021-05-20T13:12:23.066" v="125"/>
          <ac:picMkLst>
            <pc:docMk/>
            <pc:sldMk cId="1869297631" sldId="528"/>
            <ac:picMk id="9" creationId="{64183612-16B7-46CE-81FB-6CF9CD960D42}"/>
          </ac:picMkLst>
        </pc:picChg>
        <pc:picChg chg="add mod ord">
          <ac:chgData name="Gonzalez Salas Fabian (Codelco-Casa Matriz)" userId="S::fgonz072@codelco.cl::a9649211-5e72-4b4e-8dfa-cd743f2f5996" providerId="AD" clId="Web-{B6BEC99F-F030-0000-C1C7-4762017C907F}" dt="2021-05-20T13:12:55.708" v="137" actId="14100"/>
          <ac:picMkLst>
            <pc:docMk/>
            <pc:sldMk cId="1869297631" sldId="528"/>
            <ac:picMk id="10" creationId="{07E25A03-2448-4937-8F3D-A524F8EC3C87}"/>
          </ac:picMkLst>
        </pc:picChg>
        <pc:cxnChg chg="add mod">
          <ac:chgData name="Gonzalez Salas Fabian (Codelco-Casa Matriz)" userId="S::fgonz072@codelco.cl::a9649211-5e72-4b4e-8dfa-cd743f2f5996" providerId="AD" clId="Web-{B6BEC99F-F030-0000-C1C7-4762017C907F}" dt="2021-05-20T13:17:27.872" v="256" actId="14100"/>
          <ac:cxnSpMkLst>
            <pc:docMk/>
            <pc:sldMk cId="1869297631" sldId="528"/>
            <ac:cxnSpMk id="14" creationId="{FC372B25-1811-4EDA-B1CC-B683050C6CBC}"/>
          </ac:cxnSpMkLst>
        </pc:cxnChg>
        <pc:cxnChg chg="add mod">
          <ac:chgData name="Gonzalez Salas Fabian (Codelco-Casa Matriz)" userId="S::fgonz072@codelco.cl::a9649211-5e72-4b4e-8dfa-cd743f2f5996" providerId="AD" clId="Web-{B6BEC99F-F030-0000-C1C7-4762017C907F}" dt="2021-05-20T13:17:34.185" v="257" actId="1076"/>
          <ac:cxnSpMkLst>
            <pc:docMk/>
            <pc:sldMk cId="1869297631" sldId="528"/>
            <ac:cxnSpMk id="15" creationId="{16F0301B-08EB-404B-A00A-0CADA0578ED5}"/>
          </ac:cxnSpMkLst>
        </pc:cxn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1:52.142" v="36" actId="20577"/>
        <pc:sldMkLst>
          <pc:docMk/>
          <pc:sldMk cId="2435291665" sldId="529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1:52.142" v="36" actId="20577"/>
          <ac:spMkLst>
            <pc:docMk/>
            <pc:sldMk cId="2435291665" sldId="529"/>
            <ac:spMk id="37" creationId="{6DE85956-0A08-4CC0-853E-4785B3580718}"/>
          </ac:spMkLst>
        </pc:spChg>
      </pc:sldChg>
      <pc:sldChg chg="addSp modSp">
        <pc:chgData name="Gonzalez Salas Fabian (Codelco-Casa Matriz)" userId="S::fgonz072@codelco.cl::a9649211-5e72-4b4e-8dfa-cd743f2f5996" providerId="AD" clId="Web-{B6BEC99F-F030-0000-C1C7-4762017C907F}" dt="2021-05-20T13:23:15.272" v="275"/>
        <pc:sldMkLst>
          <pc:docMk/>
          <pc:sldMk cId="1296061766" sldId="530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22:57.084" v="269" actId="20577"/>
          <ac:spMkLst>
            <pc:docMk/>
            <pc:sldMk cId="1296061766" sldId="530"/>
            <ac:spMk id="2" creationId="{33E997BB-496A-4205-9583-B1EBC268BF9A}"/>
          </ac:spMkLst>
        </pc:spChg>
        <pc:picChg chg="add mod">
          <ac:chgData name="Gonzalez Salas Fabian (Codelco-Casa Matriz)" userId="S::fgonz072@codelco.cl::a9649211-5e72-4b4e-8dfa-cd743f2f5996" providerId="AD" clId="Web-{B6BEC99F-F030-0000-C1C7-4762017C907F}" dt="2021-05-20T13:23:15.272" v="275"/>
          <ac:picMkLst>
            <pc:docMk/>
            <pc:sldMk cId="1296061766" sldId="530"/>
            <ac:picMk id="5" creationId="{1AB73EE5-0D12-47F3-8874-644C6724E720}"/>
          </ac:picMkLst>
        </pc:picChg>
      </pc:sldChg>
      <pc:sldChg chg="modSp">
        <pc:chgData name="Gonzalez Salas Fabian (Codelco-Casa Matriz)" userId="S::fgonz072@codelco.cl::a9649211-5e72-4b4e-8dfa-cd743f2f5996" providerId="AD" clId="Web-{B6BEC99F-F030-0000-C1C7-4762017C907F}" dt="2021-05-20T13:01:55.205" v="37" actId="20577"/>
        <pc:sldMkLst>
          <pc:docMk/>
          <pc:sldMk cId="2547109870" sldId="531"/>
        </pc:sldMkLst>
        <pc:spChg chg="mod">
          <ac:chgData name="Gonzalez Salas Fabian (Codelco-Casa Matriz)" userId="S::fgonz072@codelco.cl::a9649211-5e72-4b4e-8dfa-cd743f2f5996" providerId="AD" clId="Web-{B6BEC99F-F030-0000-C1C7-4762017C907F}" dt="2021-05-20T13:01:55.205" v="37" actId="20577"/>
          <ac:spMkLst>
            <pc:docMk/>
            <pc:sldMk cId="2547109870" sldId="531"/>
            <ac:spMk id="37" creationId="{6DE85956-0A08-4CC0-853E-4785B3580718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F505CF79-ECD2-51C7-3F42-1904415900BE}"/>
    <pc:docChg chg="modSld">
      <pc:chgData name="Paillacar Oyarzo Paulo Ignacio (Codelco-Casa Matriz)" userId="S::ppail001@codelco.cl::3f9c4ec0-dfff-4bc5-ba03-192dd672e537" providerId="AD" clId="Web-{F505CF79-ECD2-51C7-3F42-1904415900BE}" dt="2021-05-06T06:39:55.564" v="117" actId="20577"/>
      <pc:docMkLst>
        <pc:docMk/>
      </pc:docMkLst>
      <pc:sldChg chg="addSp modSp">
        <pc:chgData name="Paillacar Oyarzo Paulo Ignacio (Codelco-Casa Matriz)" userId="S::ppail001@codelco.cl::3f9c4ec0-dfff-4bc5-ba03-192dd672e537" providerId="AD" clId="Web-{F505CF79-ECD2-51C7-3F42-1904415900BE}" dt="2021-05-06T06:39:55.564" v="117" actId="20577"/>
        <pc:sldMkLst>
          <pc:docMk/>
          <pc:sldMk cId="1403606244" sldId="503"/>
        </pc:sldMkLst>
        <pc:spChg chg="add mod">
          <ac:chgData name="Paillacar Oyarzo Paulo Ignacio (Codelco-Casa Matriz)" userId="S::ppail001@codelco.cl::3f9c4ec0-dfff-4bc5-ba03-192dd672e537" providerId="AD" clId="Web-{F505CF79-ECD2-51C7-3F42-1904415900BE}" dt="2021-05-06T06:39:55.564" v="117" actId="20577"/>
          <ac:spMkLst>
            <pc:docMk/>
            <pc:sldMk cId="1403606244" sldId="503"/>
            <ac:spMk id="5" creationId="{BC91D02A-1112-41F4-80E9-A58C79C34A3D}"/>
          </ac:spMkLst>
        </pc:spChg>
        <pc:picChg chg="mod">
          <ac:chgData name="Paillacar Oyarzo Paulo Ignacio (Codelco-Casa Matriz)" userId="S::ppail001@codelco.cl::3f9c4ec0-dfff-4bc5-ba03-192dd672e537" providerId="AD" clId="Web-{F505CF79-ECD2-51C7-3F42-1904415900BE}" dt="2021-05-06T06:34:24.607" v="4" actId="1076"/>
          <ac:picMkLst>
            <pc:docMk/>
            <pc:sldMk cId="1403606244" sldId="503"/>
            <ac:picMk id="13" creationId="{969DA09D-5E10-4860-9C69-41CA028421E2}"/>
          </ac:picMkLst>
        </pc:picChg>
        <pc:picChg chg="mod">
          <ac:chgData name="Paillacar Oyarzo Paulo Ignacio (Codelco-Casa Matriz)" userId="S::ppail001@codelco.cl::3f9c4ec0-dfff-4bc5-ba03-192dd672e537" providerId="AD" clId="Web-{F505CF79-ECD2-51C7-3F42-1904415900BE}" dt="2021-05-06T06:34:24.529" v="3" actId="1076"/>
          <ac:picMkLst>
            <pc:docMk/>
            <pc:sldMk cId="1403606244" sldId="503"/>
            <ac:picMk id="14" creationId="{B0C56115-585E-4FFA-91B2-94404D480249}"/>
          </ac:picMkLst>
        </pc:picChg>
      </pc:sldChg>
    </pc:docChg>
  </pc:docChgLst>
  <pc:docChgLst>
    <pc:chgData name="Valenzuela Alfaro Alvaro (Contratista-Casa Matriz)" userId="S::avale036@contratistas.codelco.cl::beebaec1-f16e-436d-a3cd-8566efe3ac18" providerId="AD" clId="Web-{E8A01FB7-2370-DFB7-8053-13AFE8CED0F6}"/>
    <pc:docChg chg="modSld">
      <pc:chgData name="Valenzuela Alfaro Alvaro (Contratista-Casa Matriz)" userId="S::avale036@contratistas.codelco.cl::beebaec1-f16e-436d-a3cd-8566efe3ac18" providerId="AD" clId="Web-{E8A01FB7-2370-DFB7-8053-13AFE8CED0F6}" dt="2021-01-14T12:26:42.192" v="8"/>
      <pc:docMkLst>
        <pc:docMk/>
      </pc:docMkLst>
      <pc:sldChg chg="addSp delSp modSp">
        <pc:chgData name="Valenzuela Alfaro Alvaro (Contratista-Casa Matriz)" userId="S::avale036@contratistas.codelco.cl::beebaec1-f16e-436d-a3cd-8566efe3ac18" providerId="AD" clId="Web-{E8A01FB7-2370-DFB7-8053-13AFE8CED0F6}" dt="2021-01-14T12:26:42.192" v="8"/>
        <pc:sldMkLst>
          <pc:docMk/>
          <pc:sldMk cId="1938484616" sldId="430"/>
        </pc:sldMkLst>
        <pc:picChg chg="mod">
          <ac:chgData name="Valenzuela Alfaro Alvaro (Contratista-Casa Matriz)" userId="S::avale036@contratistas.codelco.cl::beebaec1-f16e-436d-a3cd-8566efe3ac18" providerId="AD" clId="Web-{E8A01FB7-2370-DFB7-8053-13AFE8CED0F6}" dt="2021-01-14T12:15:22.315" v="2" actId="1076"/>
          <ac:picMkLst>
            <pc:docMk/>
            <pc:sldMk cId="1938484616" sldId="430"/>
            <ac:picMk id="6" creationId="{8C37CDBA-AD24-486A-BA91-43944C1C2455}"/>
          </ac:picMkLst>
        </pc:picChg>
        <pc:cxnChg chg="add del mod">
          <ac:chgData name="Valenzuela Alfaro Alvaro (Contratista-Casa Matriz)" userId="S::avale036@contratistas.codelco.cl::beebaec1-f16e-436d-a3cd-8566efe3ac18" providerId="AD" clId="Web-{E8A01FB7-2370-DFB7-8053-13AFE8CED0F6}" dt="2021-01-14T12:23:11.749" v="7"/>
          <ac:cxnSpMkLst>
            <pc:docMk/>
            <pc:sldMk cId="1938484616" sldId="430"/>
            <ac:cxnSpMk id="5" creationId="{47B61983-D78A-4ACB-8B5D-D27BCC0AFCC0}"/>
          </ac:cxnSpMkLst>
        </pc:cxnChg>
        <pc:cxnChg chg="add">
          <ac:chgData name="Valenzuela Alfaro Alvaro (Contratista-Casa Matriz)" userId="S::avale036@contratistas.codelco.cl::beebaec1-f16e-436d-a3cd-8566efe3ac18" providerId="AD" clId="Web-{E8A01FB7-2370-DFB7-8053-13AFE8CED0F6}" dt="2021-01-14T12:26:42.192" v="8"/>
          <ac:cxnSpMkLst>
            <pc:docMk/>
            <pc:sldMk cId="1938484616" sldId="430"/>
            <ac:cxnSpMk id="7" creationId="{270B98CA-D727-45F4-9181-AE6981F0A9A1}"/>
          </ac:cxnSpMkLst>
        </pc:cxnChg>
      </pc:sldChg>
    </pc:docChg>
  </pc:docChgLst>
  <pc:docChgLst>
    <pc:chgData name="Valido Mora Juan (Codelco-Casa Matriz)" userId="S::jvali001@codelco.cl::41763420-9600-40de-a518-8d4e0996242c" providerId="AD" clId="Web-{4A00A269-C710-540E-09B5-80067F135B76}"/>
    <pc:docChg chg="modSld">
      <pc:chgData name="Valido Mora Juan (Codelco-Casa Matriz)" userId="S::jvali001@codelco.cl::41763420-9600-40de-a518-8d4e0996242c" providerId="AD" clId="Web-{4A00A269-C710-540E-09B5-80067F135B76}" dt="2021-01-28T15:35:22.523" v="1" actId="20577"/>
      <pc:docMkLst>
        <pc:docMk/>
      </pc:docMkLst>
      <pc:sldChg chg="modSp">
        <pc:chgData name="Valido Mora Juan (Codelco-Casa Matriz)" userId="S::jvali001@codelco.cl::41763420-9600-40de-a518-8d4e0996242c" providerId="AD" clId="Web-{4A00A269-C710-540E-09B5-80067F135B76}" dt="2021-01-28T15:35:22.523" v="1" actId="20577"/>
        <pc:sldMkLst>
          <pc:docMk/>
          <pc:sldMk cId="2488319862" sldId="452"/>
        </pc:sldMkLst>
        <pc:spChg chg="mod">
          <ac:chgData name="Valido Mora Juan (Codelco-Casa Matriz)" userId="S::jvali001@codelco.cl::41763420-9600-40de-a518-8d4e0996242c" providerId="AD" clId="Web-{4A00A269-C710-540E-09B5-80067F135B76}" dt="2021-01-28T15:35:22.523" v="1" actId="20577"/>
          <ac:spMkLst>
            <pc:docMk/>
            <pc:sldMk cId="2488319862" sldId="452"/>
            <ac:spMk id="38" creationId="{00000000-0000-0000-0000-000000000000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7C5E524A-B26A-9C6A-A5DF-BB0CE190209E}"/>
    <pc:docChg chg="modSld">
      <pc:chgData name="Mery Carrasco Mauricio (Codelco-Casa Matriz)" userId="S::mmery004@codelco.cl::a0378191-74de-4d59-9b37-aa421303daba" providerId="AD" clId="Web-{7C5E524A-B26A-9C6A-A5DF-BB0CE190209E}" dt="2021-10-12T20:24:39.557" v="99" actId="20577"/>
      <pc:docMkLst>
        <pc:docMk/>
      </pc:docMkLst>
      <pc:sldChg chg="addSp delSp modSp">
        <pc:chgData name="Mery Carrasco Mauricio (Codelco-Casa Matriz)" userId="S::mmery004@codelco.cl::a0378191-74de-4d59-9b37-aa421303daba" providerId="AD" clId="Web-{7C5E524A-B26A-9C6A-A5DF-BB0CE190209E}" dt="2021-10-12T20:24:39.557" v="99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7C5E524A-B26A-9C6A-A5DF-BB0CE190209E}" dt="2021-10-12T20:15:30.424" v="34" actId="20577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3:52.532" v="16" actId="20577"/>
          <ac:spMkLst>
            <pc:docMk/>
            <pc:sldMk cId="1544981574" sldId="409"/>
            <ac:spMk id="21" creationId="{839346A3-1820-4C50-8F02-466E51D4A44E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4:32.970" v="29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3:52.438" v="15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3:53.063" v="18" actId="20577"/>
          <ac:spMkLst>
            <pc:docMk/>
            <pc:sldMk cId="1544981574" sldId="409"/>
            <ac:spMk id="29" creationId="{31BF07D5-AA9B-42A1-B33C-DC4420D200A2}"/>
          </ac:spMkLst>
        </pc:spChg>
        <pc:spChg chg="add mod">
          <ac:chgData name="Mery Carrasco Mauricio (Codelco-Casa Matriz)" userId="S::mmery004@codelco.cl::a0378191-74de-4d59-9b37-aa421303daba" providerId="AD" clId="Web-{7C5E524A-B26A-9C6A-A5DF-BB0CE190209E}" dt="2021-10-12T20:19:04.333" v="50" actId="20577"/>
          <ac:spMkLst>
            <pc:docMk/>
            <pc:sldMk cId="1544981574" sldId="409"/>
            <ac:spMk id="30" creationId="{80DA451C-344B-42B1-BA41-7CE5254B3EA5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3:13.219" v="11" actId="20577"/>
          <ac:spMkLst>
            <pc:docMk/>
            <pc:sldMk cId="1544981574" sldId="409"/>
            <ac:spMk id="31" creationId="{0F0C68C8-7E5C-4702-92C2-12695702903C}"/>
          </ac:spMkLst>
        </pc:spChg>
        <pc:spChg chg="del">
          <ac:chgData name="Mery Carrasco Mauricio (Codelco-Casa Matriz)" userId="S::mmery004@codelco.cl::a0378191-74de-4d59-9b37-aa421303daba" providerId="AD" clId="Web-{7C5E524A-B26A-9C6A-A5DF-BB0CE190209E}" dt="2021-10-12T20:13:53.344" v="20"/>
          <ac:spMkLst>
            <pc:docMk/>
            <pc:sldMk cId="1544981574" sldId="409"/>
            <ac:spMk id="32" creationId="{878D481B-74FF-415D-BFF5-A8DD8F0FEC9A}"/>
          </ac:spMkLst>
        </pc:spChg>
        <pc:spChg chg="add mod">
          <ac:chgData name="Mery Carrasco Mauricio (Codelco-Casa Matriz)" userId="S::mmery004@codelco.cl::a0378191-74de-4d59-9b37-aa421303daba" providerId="AD" clId="Web-{7C5E524A-B26A-9C6A-A5DF-BB0CE190209E}" dt="2021-10-12T20:24:39.557" v="99" actId="20577"/>
          <ac:spMkLst>
            <pc:docMk/>
            <pc:sldMk cId="1544981574" sldId="409"/>
            <ac:spMk id="33" creationId="{9613C15F-B106-42CF-905D-5FC695AEEF44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4:13.173" v="22" actId="1076"/>
          <ac:spMkLst>
            <pc:docMk/>
            <pc:sldMk cId="1544981574" sldId="409"/>
            <ac:spMk id="35" creationId="{413C3D54-2186-4FCD-BF79-CC9F7E7512E4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4:13.204" v="23" actId="1076"/>
          <ac:spMkLst>
            <pc:docMk/>
            <pc:sldMk cId="1544981574" sldId="409"/>
            <ac:spMk id="36" creationId="{B595D2F3-9C47-4FEE-9CCC-EBCC6DF263EC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4:32.798" v="27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4:13.235" v="24" actId="1076"/>
          <ac:spMkLst>
            <pc:docMk/>
            <pc:sldMk cId="1544981574" sldId="409"/>
            <ac:spMk id="40" creationId="{413C3D54-2186-4FCD-BF79-CC9F7E7512E4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3:32.797" v="13" actId="20577"/>
          <ac:spMkLst>
            <pc:docMk/>
            <pc:sldMk cId="1544981574" sldId="409"/>
            <ac:spMk id="41" creationId="{79B6483E-7060-4A55-A8F4-C7DD2AF3826E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6:17.003" v="43" actId="14100"/>
          <ac:spMkLst>
            <pc:docMk/>
            <pc:sldMk cId="1544981574" sldId="409"/>
            <ac:spMk id="42" creationId="{B595D2F3-9C47-4FEE-9CCC-EBCC6DF263EC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5:03.861" v="31" actId="1076"/>
          <ac:spMkLst>
            <pc:docMk/>
            <pc:sldMk cId="1544981574" sldId="409"/>
            <ac:spMk id="44" creationId="{413C3D54-2186-4FCD-BF79-CC9F7E7512E4}"/>
          </ac:spMkLst>
        </pc:spChg>
        <pc:spChg chg="del">
          <ac:chgData name="Mery Carrasco Mauricio (Codelco-Casa Matriz)" userId="S::mmery004@codelco.cl::a0378191-74de-4d59-9b37-aa421303daba" providerId="AD" clId="Web-{7C5E524A-B26A-9C6A-A5DF-BB0CE190209E}" dt="2021-10-12T20:13:53.282" v="19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Mery Carrasco Mauricio (Codelco-Casa Matriz)" userId="S::mmery004@codelco.cl::a0378191-74de-4d59-9b37-aa421303daba" providerId="AD" clId="Web-{7C5E524A-B26A-9C6A-A5DF-BB0CE190209E}" dt="2021-10-12T20:14:13.141" v="21" actId="1076"/>
          <ac:spMkLst>
            <pc:docMk/>
            <pc:sldMk cId="1544981574" sldId="409"/>
            <ac:spMk id="52" creationId="{B595D2F3-9C47-4FEE-9CCC-EBCC6DF263EC}"/>
          </ac:spMkLst>
        </pc:spChg>
      </pc:sldChg>
      <pc:sldChg chg="modSp">
        <pc:chgData name="Mery Carrasco Mauricio (Codelco-Casa Matriz)" userId="S::mmery004@codelco.cl::a0378191-74de-4d59-9b37-aa421303daba" providerId="AD" clId="Web-{7C5E524A-B26A-9C6A-A5DF-BB0CE190209E}" dt="2021-10-12T18:09:24.058" v="2" actId="20577"/>
        <pc:sldMkLst>
          <pc:docMk/>
          <pc:sldMk cId="2159727526" sldId="603"/>
        </pc:sldMkLst>
        <pc:spChg chg="mod">
          <ac:chgData name="Mery Carrasco Mauricio (Codelco-Casa Matriz)" userId="S::mmery004@codelco.cl::a0378191-74de-4d59-9b37-aa421303daba" providerId="AD" clId="Web-{7C5E524A-B26A-9C6A-A5DF-BB0CE190209E}" dt="2021-10-12T18:09:24.058" v="2" actId="20577"/>
          <ac:spMkLst>
            <pc:docMk/>
            <pc:sldMk cId="2159727526" sldId="603"/>
            <ac:spMk id="2" creationId="{755F471E-EC70-4A1D-A048-321F54208221}"/>
          </ac:spMkLst>
        </pc:spChg>
      </pc:sldChg>
      <pc:sldChg chg="modSp">
        <pc:chgData name="Mery Carrasco Mauricio (Codelco-Casa Matriz)" userId="S::mmery004@codelco.cl::a0378191-74de-4d59-9b37-aa421303daba" providerId="AD" clId="Web-{7C5E524A-B26A-9C6A-A5DF-BB0CE190209E}" dt="2021-10-12T18:10:11.265" v="5" actId="14100"/>
        <pc:sldMkLst>
          <pc:docMk/>
          <pc:sldMk cId="2077651801" sldId="610"/>
        </pc:sldMkLst>
        <pc:spChg chg="mod">
          <ac:chgData name="Mery Carrasco Mauricio (Codelco-Casa Matriz)" userId="S::mmery004@codelco.cl::a0378191-74de-4d59-9b37-aa421303daba" providerId="AD" clId="Web-{7C5E524A-B26A-9C6A-A5DF-BB0CE190209E}" dt="2021-10-12T18:10:11.265" v="5" actId="14100"/>
          <ac:spMkLst>
            <pc:docMk/>
            <pc:sldMk cId="2077651801" sldId="610"/>
            <ac:spMk id="2" creationId="{5BA6B4CF-13F4-4452-9BCB-2C4426295737}"/>
          </ac:spMkLst>
        </pc:spChg>
      </pc:sldChg>
      <pc:sldChg chg="modSp">
        <pc:chgData name="Mery Carrasco Mauricio (Codelco-Casa Matriz)" userId="S::mmery004@codelco.cl::a0378191-74de-4d59-9b37-aa421303daba" providerId="AD" clId="Web-{7C5E524A-B26A-9C6A-A5DF-BB0CE190209E}" dt="2021-10-12T18:15:43.615" v="6" actId="14100"/>
        <pc:sldMkLst>
          <pc:docMk/>
          <pc:sldMk cId="2898598324" sldId="615"/>
        </pc:sldMkLst>
        <pc:spChg chg="mod">
          <ac:chgData name="Mery Carrasco Mauricio (Codelco-Casa Matriz)" userId="S::mmery004@codelco.cl::a0378191-74de-4d59-9b37-aa421303daba" providerId="AD" clId="Web-{7C5E524A-B26A-9C6A-A5DF-BB0CE190209E}" dt="2021-10-12T18:15:43.615" v="6" actId="14100"/>
          <ac:spMkLst>
            <pc:docMk/>
            <pc:sldMk cId="2898598324" sldId="615"/>
            <ac:spMk id="46" creationId="{00000000-0000-0000-0000-000000000000}"/>
          </ac:spMkLst>
        </pc:spChg>
      </pc:sldChg>
      <pc:sldChg chg="modSp">
        <pc:chgData name="Mery Carrasco Mauricio (Codelco-Casa Matriz)" userId="S::mmery004@codelco.cl::a0378191-74de-4d59-9b37-aa421303daba" providerId="AD" clId="Web-{7C5E524A-B26A-9C6A-A5DF-BB0CE190209E}" dt="2021-10-12T18:16:21.915" v="8" actId="1076"/>
        <pc:sldMkLst>
          <pc:docMk/>
          <pc:sldMk cId="629380034" sldId="617"/>
        </pc:sldMkLst>
        <pc:spChg chg="mod">
          <ac:chgData name="Mery Carrasco Mauricio (Codelco-Casa Matriz)" userId="S::mmery004@codelco.cl::a0378191-74de-4d59-9b37-aa421303daba" providerId="AD" clId="Web-{7C5E524A-B26A-9C6A-A5DF-BB0CE190209E}" dt="2021-10-12T18:16:21.915" v="8" actId="1076"/>
          <ac:spMkLst>
            <pc:docMk/>
            <pc:sldMk cId="629380034" sldId="617"/>
            <ac:spMk id="2" creationId="{5BA6B4CF-13F4-4452-9BCB-2C4426295737}"/>
          </ac:spMkLst>
        </pc:spChg>
      </pc:sldChg>
      <pc:sldChg chg="mod modShow">
        <pc:chgData name="Mery Carrasco Mauricio (Codelco-Casa Matriz)" userId="S::mmery004@codelco.cl::a0378191-74de-4d59-9b37-aa421303daba" providerId="AD" clId="Web-{7C5E524A-B26A-9C6A-A5DF-BB0CE190209E}" dt="2021-10-12T18:18:54.878" v="9"/>
        <pc:sldMkLst>
          <pc:docMk/>
          <pc:sldMk cId="2648493667" sldId="618"/>
        </pc:sldMkLst>
      </pc:sldChg>
    </pc:docChg>
  </pc:docChgLst>
  <pc:docChgLst>
    <pc:chgData name="Allende Bustamante Jose (Codelco-Casa Matriz)" userId="S::jalle011@codelco.cl::54345eee-8770-43bf-b080-e3e333067d62" providerId="AD" clId="Web-{2EF4DBE5-F57B-6C61-CFC8-4A69F60A6C0A}"/>
    <pc:docChg chg="addSld delSld modSld addMainMaster modMainMaster">
      <pc:chgData name="Allende Bustamante Jose (Codelco-Casa Matriz)" userId="S::jalle011@codelco.cl::54345eee-8770-43bf-b080-e3e333067d62" providerId="AD" clId="Web-{2EF4DBE5-F57B-6C61-CFC8-4A69F60A6C0A}" dt="2020-11-05T11:46:55.777" v="7"/>
      <pc:docMkLst>
        <pc:docMk/>
      </pc:docMkLst>
      <pc:sldChg chg="del">
        <pc:chgData name="Allende Bustamante Jose (Codelco-Casa Matriz)" userId="S::jalle011@codelco.cl::54345eee-8770-43bf-b080-e3e333067d62" providerId="AD" clId="Web-{2EF4DBE5-F57B-6C61-CFC8-4A69F60A6C0A}" dt="2020-11-05T11:46:55.777" v="7"/>
        <pc:sldMkLst>
          <pc:docMk/>
          <pc:sldMk cId="3306750721" sldId="425"/>
        </pc:sldMkLst>
      </pc:sldChg>
      <pc:sldChg chg="add">
        <pc:chgData name="Allende Bustamante Jose (Codelco-Casa Matriz)" userId="S::jalle011@codelco.cl::54345eee-8770-43bf-b080-e3e333067d62" providerId="AD" clId="Web-{2EF4DBE5-F57B-6C61-CFC8-4A69F60A6C0A}" dt="2020-11-05T11:46:49.277" v="5"/>
        <pc:sldMkLst>
          <pc:docMk/>
          <pc:sldMk cId="363938330" sldId="426"/>
        </pc:sldMkLst>
      </pc:sldChg>
      <pc:sldChg chg="addSp modSp del">
        <pc:chgData name="Allende Bustamante Jose (Codelco-Casa Matriz)" userId="S::jalle011@codelco.cl::54345eee-8770-43bf-b080-e3e333067d62" providerId="AD" clId="Web-{2EF4DBE5-F57B-6C61-CFC8-4A69F60A6C0A}" dt="2020-11-05T11:46:40.401" v="4"/>
        <pc:sldMkLst>
          <pc:docMk/>
          <pc:sldMk cId="3467923751" sldId="426"/>
        </pc:sldMkLst>
        <pc:spChg chg="add mod">
          <ac:chgData name="Allende Bustamante Jose (Codelco-Casa Matriz)" userId="S::jalle011@codelco.cl::54345eee-8770-43bf-b080-e3e333067d62" providerId="AD" clId="Web-{2EF4DBE5-F57B-6C61-CFC8-4A69F60A6C0A}" dt="2020-11-05T11:46:17.525" v="1"/>
          <ac:spMkLst>
            <pc:docMk/>
            <pc:sldMk cId="3467923751" sldId="426"/>
            <ac:spMk id="3" creationId="{BEF1C027-C922-4C77-B073-9D867482D5A0}"/>
          </ac:spMkLst>
        </pc:spChg>
        <pc:spChg chg="add mod">
          <ac:chgData name="Allende Bustamante Jose (Codelco-Casa Matriz)" userId="S::jalle011@codelco.cl::54345eee-8770-43bf-b080-e3e333067d62" providerId="AD" clId="Web-{2EF4DBE5-F57B-6C61-CFC8-4A69F60A6C0A}" dt="2020-11-05T11:46:32.322" v="3"/>
          <ac:spMkLst>
            <pc:docMk/>
            <pc:sldMk cId="3467923751" sldId="426"/>
            <ac:spMk id="7" creationId="{E8B15A5B-BF40-488C-A48B-4032E553759D}"/>
          </ac:spMkLst>
        </pc:spChg>
      </pc:sldChg>
      <pc:sldChg chg="add">
        <pc:chgData name="Allende Bustamante Jose (Codelco-Casa Matriz)" userId="S::jalle011@codelco.cl::54345eee-8770-43bf-b080-e3e333067d62" providerId="AD" clId="Web-{2EF4DBE5-F57B-6C61-CFC8-4A69F60A6C0A}" dt="2020-11-05T11:46:49.652" v="6"/>
        <pc:sldMkLst>
          <pc:docMk/>
          <pc:sldMk cId="2377927775" sldId="427"/>
        </pc:sldMkLst>
      </pc:sldChg>
      <pc:sldMasterChg chg="replId modSldLayout">
        <pc:chgData name="Allende Bustamante Jose (Codelco-Casa Matriz)" userId="S::jalle011@codelco.cl::54345eee-8770-43bf-b080-e3e333067d62" providerId="AD" clId="Web-{2EF4DBE5-F57B-6C61-CFC8-4A69F60A6C0A}" dt="2020-11-05T11:46:49.277" v="5"/>
        <pc:sldMasterMkLst>
          <pc:docMk/>
          <pc:sldMasterMk cId="2902907280" sldId="2147484179"/>
        </pc:sldMasterMkLst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24151649" sldId="2147484180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759379819" sldId="2147484181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621031689" sldId="2147484182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309080689" sldId="2147484183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90454871" sldId="2147484184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3376924466" sldId="2147484185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3515544053" sldId="2147484186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77699422" sldId="2147484187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180066835" sldId="2147484188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527016719" sldId="2147484189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3039951745" sldId="2147484190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4072279422" sldId="2147484191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04062971" sldId="2147484192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970623038" sldId="2147484193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041545926" sldId="2147484194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233181439" sldId="2147484195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765845834" sldId="2147484196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2162212557" sldId="2147484197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22525313" sldId="2147484198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143393362" sldId="2147484199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1702415732" sldId="2147484200"/>
          </pc:sldLayoutMkLst>
        </pc:sldLayoutChg>
        <pc:sldLayoutChg chg="replI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2902907280" sldId="2147484179"/>
            <pc:sldLayoutMk cId="3955316613" sldId="2147484201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2EF4DBE5-F57B-6C61-CFC8-4A69F60A6C0A}" dt="2020-11-05T11:46:49.277" v="5"/>
        <pc:sldMasterMkLst>
          <pc:docMk/>
          <pc:sldMasterMk cId="119532437" sldId="2147484386"/>
        </pc:sldMasterMkLst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4104576165" sldId="2147483884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755675163" sldId="2147483888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662424424" sldId="2147483889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027724938" sldId="2147483890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478193182" sldId="2147483891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778024804" sldId="2147483892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4186438150" sldId="2147483893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1589923893" sldId="2147483894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68072105" sldId="2147483895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4076045338" sldId="2147483896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144558586" sldId="2147483897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295147781" sldId="2147483898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813149349" sldId="2147484287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2323692354" sldId="2147484288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359280727" sldId="2147484289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772583658" sldId="2147484290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3471601062" sldId="2147484291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2881434168" sldId="2147484292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880663324" sldId="2147484293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1963708480" sldId="2147484399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513558781" sldId="2147484400"/>
          </pc:sldLayoutMkLst>
        </pc:sldLayoutChg>
        <pc:sldLayoutChg chg="add">
          <pc:chgData name="Allende Bustamante Jose (Codelco-Casa Matriz)" userId="S::jalle011@codelco.cl::54345eee-8770-43bf-b080-e3e333067d62" providerId="AD" clId="Web-{2EF4DBE5-F57B-6C61-CFC8-4A69F60A6C0A}" dt="2020-11-05T11:46:49.277" v="5"/>
          <pc:sldLayoutMkLst>
            <pc:docMk/>
            <pc:sldMasterMk cId="119532437" sldId="2147484386"/>
            <pc:sldLayoutMk cId="1614011457" sldId="2147484549"/>
          </pc:sldLayoutMkLst>
        </pc:sldLayoutChg>
      </pc:sldMasterChg>
    </pc:docChg>
  </pc:docChgLst>
  <pc:docChgLst>
    <pc:chgData name="Hasche Henriquez Juan (Codelco-Casa Matriz)" userId="S::jhasc001@codelco.cl::3c6fd06c-6148-4623-afa3-6f26df7f9780" providerId="AD" clId="Web-{EF26E702-9C64-ADEC-2163-6A10AF1D973D}"/>
    <pc:docChg chg="addSld delSld modSld">
      <pc:chgData name="Hasche Henriquez Juan (Codelco-Casa Matriz)" userId="S::jhasc001@codelco.cl::3c6fd06c-6148-4623-afa3-6f26df7f9780" providerId="AD" clId="Web-{EF26E702-9C64-ADEC-2163-6A10AF1D973D}" dt="2021-08-04T15:49:50.200" v="152" actId="20577"/>
      <pc:docMkLst>
        <pc:docMk/>
      </pc:docMkLst>
      <pc:sldChg chg="del">
        <pc:chgData name="Hasche Henriquez Juan (Codelco-Casa Matriz)" userId="S::jhasc001@codelco.cl::3c6fd06c-6148-4623-afa3-6f26df7f9780" providerId="AD" clId="Web-{EF26E702-9C64-ADEC-2163-6A10AF1D973D}" dt="2021-08-04T13:14:36.560" v="14"/>
        <pc:sldMkLst>
          <pc:docMk/>
          <pc:sldMk cId="3701603334" sldId="577"/>
        </pc:sldMkLst>
      </pc:sldChg>
      <pc:sldChg chg="addSp delSp modSp add">
        <pc:chgData name="Hasche Henriquez Juan (Codelco-Casa Matriz)" userId="S::jhasc001@codelco.cl::3c6fd06c-6148-4623-afa3-6f26df7f9780" providerId="AD" clId="Web-{EF26E702-9C64-ADEC-2163-6A10AF1D973D}" dt="2021-08-04T15:49:50.200" v="152" actId="20577"/>
        <pc:sldMkLst>
          <pc:docMk/>
          <pc:sldMk cId="828536262" sldId="583"/>
        </pc:sldMkLst>
        <pc:spChg chg="mod">
          <ac:chgData name="Hasche Henriquez Juan (Codelco-Casa Matriz)" userId="S::jhasc001@codelco.cl::3c6fd06c-6148-4623-afa3-6f26df7f9780" providerId="AD" clId="Web-{EF26E702-9C64-ADEC-2163-6A10AF1D973D}" dt="2021-08-04T14:30:16.830" v="147" actId="14100"/>
          <ac:spMkLst>
            <pc:docMk/>
            <pc:sldMk cId="828536262" sldId="583"/>
            <ac:spMk id="2" creationId="{595D8838-B65C-4C27-A946-FCFF32FE8E92}"/>
          </ac:spMkLst>
        </pc:spChg>
        <pc:spChg chg="add mod">
          <ac:chgData name="Hasche Henriquez Juan (Codelco-Casa Matriz)" userId="S::jhasc001@codelco.cl::3c6fd06c-6148-4623-afa3-6f26df7f9780" providerId="AD" clId="Web-{EF26E702-9C64-ADEC-2163-6A10AF1D973D}" dt="2021-08-04T15:49:44.684" v="151" actId="20577"/>
          <ac:spMkLst>
            <pc:docMk/>
            <pc:sldMk cId="828536262" sldId="583"/>
            <ac:spMk id="3" creationId="{F8707E08-A03E-430A-A4B9-1B4E1BD9E293}"/>
          </ac:spMkLst>
        </pc:spChg>
        <pc:spChg chg="del mod">
          <ac:chgData name="Hasche Henriquez Juan (Codelco-Casa Matriz)" userId="S::jhasc001@codelco.cl::3c6fd06c-6148-4623-afa3-6f26df7f9780" providerId="AD" clId="Web-{EF26E702-9C64-ADEC-2163-6A10AF1D973D}" dt="2021-08-04T13:50:09.849" v="78"/>
          <ac:spMkLst>
            <pc:docMk/>
            <pc:sldMk cId="828536262" sldId="583"/>
            <ac:spMk id="13" creationId="{38B4F83D-620C-4790-A531-BE47656B0812}"/>
          </ac:spMkLst>
        </pc:spChg>
        <pc:spChg chg="add del mod">
          <ac:chgData name="Hasche Henriquez Juan (Codelco-Casa Matriz)" userId="S::jhasc001@codelco.cl::3c6fd06c-6148-4623-afa3-6f26df7f9780" providerId="AD" clId="Web-{EF26E702-9C64-ADEC-2163-6A10AF1D973D}" dt="2021-08-04T13:52:49.494" v="96"/>
          <ac:spMkLst>
            <pc:docMk/>
            <pc:sldMk cId="828536262" sldId="583"/>
            <ac:spMk id="22" creationId="{1513F403-DE13-4AA8-8FC3-DE6F5076B795}"/>
          </ac:spMkLst>
        </pc:spChg>
        <pc:spChg chg="add mod">
          <ac:chgData name="Hasche Henriquez Juan (Codelco-Casa Matriz)" userId="S::jhasc001@codelco.cl::3c6fd06c-6148-4623-afa3-6f26df7f9780" providerId="AD" clId="Web-{EF26E702-9C64-ADEC-2163-6A10AF1D973D}" dt="2021-08-04T15:49:50.200" v="152" actId="20577"/>
          <ac:spMkLst>
            <pc:docMk/>
            <pc:sldMk cId="828536262" sldId="583"/>
            <ac:spMk id="24" creationId="{D00EB433-FA14-4092-A00F-0F8E035D3D6E}"/>
          </ac:spMkLst>
        </pc:spChg>
        <pc:spChg chg="add mod">
          <ac:chgData name="Hasche Henriquez Juan (Codelco-Casa Matriz)" userId="S::jhasc001@codelco.cl::3c6fd06c-6148-4623-afa3-6f26df7f9780" providerId="AD" clId="Web-{EF26E702-9C64-ADEC-2163-6A10AF1D973D}" dt="2021-08-04T15:49:34.981" v="150" actId="20577"/>
          <ac:spMkLst>
            <pc:docMk/>
            <pc:sldMk cId="828536262" sldId="583"/>
            <ac:spMk id="25" creationId="{2FEAD372-2F96-452D-BCCF-17E4CC15B954}"/>
          </ac:spMkLst>
        </pc:spChg>
        <pc:spChg chg="mod">
          <ac:chgData name="Hasche Henriquez Juan (Codelco-Casa Matriz)" userId="S::jhasc001@codelco.cl::3c6fd06c-6148-4623-afa3-6f26df7f9780" providerId="AD" clId="Web-{EF26E702-9C64-ADEC-2163-6A10AF1D973D}" dt="2021-08-04T14:27:54.294" v="136" actId="20577"/>
          <ac:spMkLst>
            <pc:docMk/>
            <pc:sldMk cId="828536262" sldId="583"/>
            <ac:spMk id="26" creationId="{00000000-0000-0000-0000-000000000000}"/>
          </ac:spMkLst>
        </pc:spChg>
        <pc:spChg chg="del mod">
          <ac:chgData name="Hasche Henriquez Juan (Codelco-Casa Matriz)" userId="S::jhasc001@codelco.cl::3c6fd06c-6148-4623-afa3-6f26df7f9780" providerId="AD" clId="Web-{EF26E702-9C64-ADEC-2163-6A10AF1D973D}" dt="2021-08-04T13:59:02.912" v="125"/>
          <ac:spMkLst>
            <pc:docMk/>
            <pc:sldMk cId="828536262" sldId="583"/>
            <ac:spMk id="37" creationId="{38B4F83D-620C-4790-A531-BE47656B0812}"/>
          </ac:spMkLst>
        </pc:spChg>
        <pc:spChg chg="del mod">
          <ac:chgData name="Hasche Henriquez Juan (Codelco-Casa Matriz)" userId="S::jhasc001@codelco.cl::3c6fd06c-6148-4623-afa3-6f26df7f9780" providerId="AD" clId="Web-{EF26E702-9C64-ADEC-2163-6A10AF1D973D}" dt="2021-08-04T13:58:02.035" v="117"/>
          <ac:spMkLst>
            <pc:docMk/>
            <pc:sldMk cId="828536262" sldId="583"/>
            <ac:spMk id="42" creationId="{38B4F83D-620C-4790-A531-BE47656B0812}"/>
          </ac:spMkLst>
        </pc:spChg>
        <pc:picChg chg="add del mod">
          <ac:chgData name="Hasche Henriquez Juan (Codelco-Casa Matriz)" userId="S::jhasc001@codelco.cl::3c6fd06c-6148-4623-afa3-6f26df7f9780" providerId="AD" clId="Web-{EF26E702-9C64-ADEC-2163-6A10AF1D973D}" dt="2021-08-04T14:05:33.502" v="130"/>
          <ac:picMkLst>
            <pc:docMk/>
            <pc:sldMk cId="828536262" sldId="583"/>
            <ac:picMk id="6" creationId="{1F6A8CE7-AFF3-4121-BB6E-D300E6B988D5}"/>
          </ac:picMkLst>
        </pc:picChg>
        <pc:picChg chg="add mod">
          <ac:chgData name="Hasche Henriquez Juan (Codelco-Casa Matriz)" userId="S::jhasc001@codelco.cl::3c6fd06c-6148-4623-afa3-6f26df7f9780" providerId="AD" clId="Web-{EF26E702-9C64-ADEC-2163-6A10AF1D973D}" dt="2021-08-04T14:06:06.519" v="135" actId="1076"/>
          <ac:picMkLst>
            <pc:docMk/>
            <pc:sldMk cId="828536262" sldId="583"/>
            <ac:picMk id="7" creationId="{5D2503A9-F6A3-43AB-A486-DE730ED05DFD}"/>
          </ac:picMkLst>
        </pc:picChg>
        <pc:picChg chg="mod">
          <ac:chgData name="Hasche Henriquez Juan (Codelco-Casa Matriz)" userId="S::jhasc001@codelco.cl::3c6fd06c-6148-4623-afa3-6f26df7f9780" providerId="AD" clId="Web-{EF26E702-9C64-ADEC-2163-6A10AF1D973D}" dt="2021-08-04T13:51:49.352" v="86" actId="1076"/>
          <ac:picMkLst>
            <pc:docMk/>
            <pc:sldMk cId="828536262" sldId="583"/>
            <ac:picMk id="44" creationId="{00000000-0000-0000-0000-000000000000}"/>
          </ac:picMkLst>
        </pc:picChg>
        <pc:picChg chg="del mod">
          <ac:chgData name="Hasche Henriquez Juan (Codelco-Casa Matriz)" userId="S::jhasc001@codelco.cl::3c6fd06c-6148-4623-afa3-6f26df7f9780" providerId="AD" clId="Web-{EF26E702-9C64-ADEC-2163-6A10AF1D973D}" dt="2021-08-04T14:05:38.909" v="131"/>
          <ac:picMkLst>
            <pc:docMk/>
            <pc:sldMk cId="828536262" sldId="583"/>
            <ac:picMk id="45" creationId="{00000000-0000-0000-0000-000000000000}"/>
          </ac:picMkLst>
        </pc:picChg>
      </pc:sldChg>
      <pc:sldChg chg="addSp delSp modSp add del replId">
        <pc:chgData name="Hasche Henriquez Juan (Codelco-Casa Matriz)" userId="S::jhasc001@codelco.cl::3c6fd06c-6148-4623-afa3-6f26df7f9780" providerId="AD" clId="Web-{EF26E702-9C64-ADEC-2163-6A10AF1D973D}" dt="2021-08-04T13:10:08.147" v="12"/>
        <pc:sldMkLst>
          <pc:docMk/>
          <pc:sldMk cId="3690035882" sldId="583"/>
        </pc:sldMkLst>
        <pc:spChg chg="del">
          <ac:chgData name="Hasche Henriquez Juan (Codelco-Casa Matriz)" userId="S::jhasc001@codelco.cl::3c6fd06c-6148-4623-afa3-6f26df7f9780" providerId="AD" clId="Web-{EF26E702-9C64-ADEC-2163-6A10AF1D973D}" dt="2021-08-04T13:09:51.022" v="2"/>
          <ac:spMkLst>
            <pc:docMk/>
            <pc:sldMk cId="3690035882" sldId="583"/>
            <ac:spMk id="13" creationId="{38B4F83D-620C-4790-A531-BE47656B0812}"/>
          </ac:spMkLst>
        </pc:spChg>
        <pc:spChg chg="del">
          <ac:chgData name="Hasche Henriquez Juan (Codelco-Casa Matriz)" userId="S::jhasc001@codelco.cl::3c6fd06c-6148-4623-afa3-6f26df7f9780" providerId="AD" clId="Web-{EF26E702-9C64-ADEC-2163-6A10AF1D973D}" dt="2021-08-04T13:09:51.037" v="8"/>
          <ac:spMkLst>
            <pc:docMk/>
            <pc:sldMk cId="3690035882" sldId="583"/>
            <ac:spMk id="14" creationId="{8131C964-2013-4D94-858E-75338C17C907}"/>
          </ac:spMkLst>
        </pc:spChg>
        <pc:spChg chg="del">
          <ac:chgData name="Hasche Henriquez Juan (Codelco-Casa Matriz)" userId="S::jhasc001@codelco.cl::3c6fd06c-6148-4623-afa3-6f26df7f9780" providerId="AD" clId="Web-{EF26E702-9C64-ADEC-2163-6A10AF1D973D}" dt="2021-08-04T13:09:51.037" v="7"/>
          <ac:spMkLst>
            <pc:docMk/>
            <pc:sldMk cId="3690035882" sldId="583"/>
            <ac:spMk id="16" creationId="{844EC8F6-9393-4DA0-A9A6-6D4FD4107F88}"/>
          </ac:spMkLst>
        </pc:spChg>
        <pc:spChg chg="del">
          <ac:chgData name="Hasche Henriquez Juan (Codelco-Casa Matriz)" userId="S::jhasc001@codelco.cl::3c6fd06c-6148-4623-afa3-6f26df7f9780" providerId="AD" clId="Web-{EF26E702-9C64-ADEC-2163-6A10AF1D973D}" dt="2021-08-04T13:09:51.022" v="1"/>
          <ac:spMkLst>
            <pc:docMk/>
            <pc:sldMk cId="3690035882" sldId="583"/>
            <ac:spMk id="17" creationId="{3C3C65EC-2B5B-45AE-9A7B-2C6F1C85C8D9}"/>
          </ac:spMkLst>
        </pc:spChg>
        <pc:picChg chg="add del mod">
          <ac:chgData name="Hasche Henriquez Juan (Codelco-Casa Matriz)" userId="S::jhasc001@codelco.cl::3c6fd06c-6148-4623-afa3-6f26df7f9780" providerId="AD" clId="Web-{EF26E702-9C64-ADEC-2163-6A10AF1D973D}" dt="2021-08-04T13:10:04.100" v="11"/>
          <ac:picMkLst>
            <pc:docMk/>
            <pc:sldMk cId="3690035882" sldId="583"/>
            <ac:picMk id="3" creationId="{1E7470B2-8778-4089-897E-C14F1946DD0C}"/>
          </ac:picMkLst>
        </pc:picChg>
        <pc:picChg chg="del">
          <ac:chgData name="Hasche Henriquez Juan (Codelco-Casa Matriz)" userId="S::jhasc001@codelco.cl::3c6fd06c-6148-4623-afa3-6f26df7f9780" providerId="AD" clId="Web-{EF26E702-9C64-ADEC-2163-6A10AF1D973D}" dt="2021-08-04T13:09:51.037" v="6"/>
          <ac:picMkLst>
            <pc:docMk/>
            <pc:sldMk cId="3690035882" sldId="583"/>
            <ac:picMk id="5" creationId="{40E9460C-FA06-43C4-B7EE-DC00D07E1100}"/>
          </ac:picMkLst>
        </pc:picChg>
        <pc:picChg chg="del">
          <ac:chgData name="Hasche Henriquez Juan (Codelco-Casa Matriz)" userId="S::jhasc001@codelco.cl::3c6fd06c-6148-4623-afa3-6f26df7f9780" providerId="AD" clId="Web-{EF26E702-9C64-ADEC-2163-6A10AF1D973D}" dt="2021-08-04T13:09:51.037" v="4"/>
          <ac:picMkLst>
            <pc:docMk/>
            <pc:sldMk cId="3690035882" sldId="583"/>
            <ac:picMk id="10" creationId="{E44F8134-DC91-42D2-9854-F2482F568EB1}"/>
          </ac:picMkLst>
        </pc:picChg>
        <pc:picChg chg="del">
          <ac:chgData name="Hasche Henriquez Juan (Codelco-Casa Matriz)" userId="S::jhasc001@codelco.cl::3c6fd06c-6148-4623-afa3-6f26df7f9780" providerId="AD" clId="Web-{EF26E702-9C64-ADEC-2163-6A10AF1D973D}" dt="2021-08-04T13:09:51.022" v="3"/>
          <ac:picMkLst>
            <pc:docMk/>
            <pc:sldMk cId="3690035882" sldId="583"/>
            <ac:picMk id="11" creationId="{8635E531-C719-4374-A4B1-75D649985E5C}"/>
          </ac:picMkLst>
        </pc:picChg>
        <pc:cxnChg chg="del">
          <ac:chgData name="Hasche Henriquez Juan (Codelco-Casa Matriz)" userId="S::jhasc001@codelco.cl::3c6fd06c-6148-4623-afa3-6f26df7f9780" providerId="AD" clId="Web-{EF26E702-9C64-ADEC-2163-6A10AF1D973D}" dt="2021-08-04T13:09:51.037" v="5"/>
          <ac:cxnSpMkLst>
            <pc:docMk/>
            <pc:sldMk cId="3690035882" sldId="583"/>
            <ac:cxnSpMk id="9" creationId="{C0746B1F-DAB2-462C-915B-0B3349CDCE02}"/>
          </ac:cxnSpMkLst>
        </pc:cxnChg>
      </pc:sldChg>
    </pc:docChg>
  </pc:docChgLst>
  <pc:docChgLst>
    <pc:chgData name="Huidobro Matamala Juan (Codelco-Chuquicamata)" userId="S::jhuid001@codelco.cl::afdd00f7-4d72-4a9e-8227-cd11f72dd823" providerId="AD" clId="Web-{BBA52A2E-469E-A8EB-5CC2-7AA62045D11C}"/>
    <pc:docChg chg="modSld">
      <pc:chgData name="Huidobro Matamala Juan (Codelco-Chuquicamata)" userId="S::jhuid001@codelco.cl::afdd00f7-4d72-4a9e-8227-cd11f72dd823" providerId="AD" clId="Web-{BBA52A2E-469E-A8EB-5CC2-7AA62045D11C}" dt="2020-10-08T14:42:43.201" v="1"/>
      <pc:docMkLst>
        <pc:docMk/>
      </pc:docMkLst>
      <pc:sldChg chg="addSp">
        <pc:chgData name="Huidobro Matamala Juan (Codelco-Chuquicamata)" userId="S::jhuid001@codelco.cl::afdd00f7-4d72-4a9e-8227-cd11f72dd823" providerId="AD" clId="Web-{BBA52A2E-469E-A8EB-5CC2-7AA62045D11C}" dt="2020-10-08T14:42:43.201" v="1"/>
        <pc:sldMkLst>
          <pc:docMk/>
          <pc:sldMk cId="2155997825" sldId="375"/>
        </pc:sldMkLst>
        <pc:inkChg chg="add">
          <ac:chgData name="Huidobro Matamala Juan (Codelco-Chuquicamata)" userId="S::jhuid001@codelco.cl::afdd00f7-4d72-4a9e-8227-cd11f72dd823" providerId="AD" clId="Web-{BBA52A2E-469E-A8EB-5CC2-7AA62045D11C}" dt="2020-10-08T14:42:43.201" v="1"/>
          <ac:inkMkLst>
            <pc:docMk/>
            <pc:sldMk cId="2155997825" sldId="375"/>
            <ac:inkMk id="6" creationId="{43E0B965-4311-40FE-9438-AE980061FAD0}"/>
          </ac:inkMkLst>
        </pc:inkChg>
      </pc:sldChg>
      <pc:sldChg chg="addSp">
        <pc:chgData name="Huidobro Matamala Juan (Codelco-Chuquicamata)" userId="S::jhuid001@codelco.cl::afdd00f7-4d72-4a9e-8227-cd11f72dd823" providerId="AD" clId="Web-{BBA52A2E-469E-A8EB-5CC2-7AA62045D11C}" dt="2020-10-08T14:41:07.275" v="0"/>
        <pc:sldMkLst>
          <pc:docMk/>
          <pc:sldMk cId="131058556" sldId="410"/>
        </pc:sldMkLst>
        <pc:inkChg chg="add">
          <ac:chgData name="Huidobro Matamala Juan (Codelco-Chuquicamata)" userId="S::jhuid001@codelco.cl::afdd00f7-4d72-4a9e-8227-cd11f72dd823" providerId="AD" clId="Web-{BBA52A2E-469E-A8EB-5CC2-7AA62045D11C}" dt="2020-10-08T14:41:07.275" v="0"/>
          <ac:inkMkLst>
            <pc:docMk/>
            <pc:sldMk cId="131058556" sldId="410"/>
            <ac:inkMk id="8" creationId="{63B063FA-7D5D-4719-BEEC-90BFAE1EB034}"/>
          </ac:inkMkLst>
        </pc:inkChg>
      </pc:sldChg>
    </pc:docChg>
  </pc:docChgLst>
  <pc:docChgLst>
    <pc:chgData name="Mery Carrasco Mauricio (Codelco-Casa Matriz)" userId="S::mmery004@codelco.cl::a0378191-74de-4d59-9b37-aa421303daba" providerId="AD" clId="Web-{50E8D91C-89D8-8419-C4E5-029BEF5D4516}"/>
    <pc:docChg chg="addSld delSld modSld sldOrd addMainMaster modMainMaster">
      <pc:chgData name="Mery Carrasco Mauricio (Codelco-Casa Matriz)" userId="S::mmery004@codelco.cl::a0378191-74de-4d59-9b37-aa421303daba" providerId="AD" clId="Web-{50E8D91C-89D8-8419-C4E5-029BEF5D4516}" dt="2021-08-03T20:00:37.670" v="152"/>
      <pc:docMkLst>
        <pc:docMk/>
      </pc:docMkLst>
      <pc:sldChg chg="ord">
        <pc:chgData name="Mery Carrasco Mauricio (Codelco-Casa Matriz)" userId="S::mmery004@codelco.cl::a0378191-74de-4d59-9b37-aa421303daba" providerId="AD" clId="Web-{50E8D91C-89D8-8419-C4E5-029BEF5D4516}" dt="2021-08-03T19:22:05.453" v="77"/>
        <pc:sldMkLst>
          <pc:docMk/>
          <pc:sldMk cId="3676194439" sldId="342"/>
        </pc:sldMkLst>
      </pc:sldChg>
      <pc:sldChg chg="modSp">
        <pc:chgData name="Mery Carrasco Mauricio (Codelco-Casa Matriz)" userId="S::mmery004@codelco.cl::a0378191-74de-4d59-9b37-aa421303daba" providerId="AD" clId="Web-{50E8D91C-89D8-8419-C4E5-029BEF5D4516}" dt="2021-08-03T19:37:07.639" v="151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37:07.639" v="151" actId="1076"/>
          <ac:spMkLst>
            <pc:docMk/>
            <pc:sldMk cId="2155997825" sldId="37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37:03.686" v="150" actId="1076"/>
          <ac:spMkLst>
            <pc:docMk/>
            <pc:sldMk cId="2155997825" sldId="375"/>
            <ac:spMk id="33" creationId="{D1447759-3F21-48D6-AB39-027999D4AD5B}"/>
          </ac:spMkLst>
        </pc:spChg>
      </pc:sldChg>
      <pc:sldChg chg="addSp modSp">
        <pc:chgData name="Mery Carrasco Mauricio (Codelco-Casa Matriz)" userId="S::mmery004@codelco.cl::a0378191-74de-4d59-9b37-aa421303daba" providerId="AD" clId="Web-{50E8D91C-89D8-8419-C4E5-029BEF5D4516}" dt="2021-08-03T19:24:46.318" v="111" actId="20577"/>
        <pc:sldMkLst>
          <pc:docMk/>
          <pc:sldMk cId="1544981574" sldId="409"/>
        </pc:sldMkLst>
        <pc:spChg chg="add mod">
          <ac:chgData name="Mery Carrasco Mauricio (Codelco-Casa Matriz)" userId="S::mmery004@codelco.cl::a0378191-74de-4d59-9b37-aa421303daba" providerId="AD" clId="Web-{50E8D91C-89D8-8419-C4E5-029BEF5D4516}" dt="2021-08-03T19:24:46.318" v="111" actId="20577"/>
          <ac:spMkLst>
            <pc:docMk/>
            <pc:sldMk cId="1544981574" sldId="409"/>
            <ac:spMk id="2" creationId="{A93F5B3E-526D-49D9-B7E6-BA43501466DF}"/>
          </ac:spMkLst>
        </pc:spChg>
      </pc:sldChg>
      <pc:sldChg chg="modSp ord">
        <pc:chgData name="Mery Carrasco Mauricio (Codelco-Casa Matriz)" userId="S::mmery004@codelco.cl::a0378191-74de-4d59-9b37-aa421303daba" providerId="AD" clId="Web-{50E8D91C-89D8-8419-C4E5-029BEF5D4516}" dt="2021-08-03T19:22:34.642" v="98" actId="2057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22:34.642" v="98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2:23.423" v="92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modSp">
        <pc:chgData name="Mery Carrasco Mauricio (Codelco-Casa Matriz)" userId="S::mmery004@codelco.cl::a0378191-74de-4d59-9b37-aa421303daba" providerId="AD" clId="Web-{50E8D91C-89D8-8419-C4E5-029BEF5D4516}" dt="2021-08-03T19:17:23.772" v="14"/>
        <pc:sldMkLst>
          <pc:docMk/>
          <pc:sldMk cId="2313332346" sldId="556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17:04.381" v="8"/>
          <ac:spMkLst>
            <pc:docMk/>
            <pc:sldMk cId="2313332346" sldId="556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23.772" v="14"/>
          <ac:spMkLst>
            <pc:docMk/>
            <pc:sldMk cId="2313332346" sldId="556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04.365" v="7"/>
          <ac:spMkLst>
            <pc:docMk/>
            <pc:sldMk cId="2313332346" sldId="556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23.772" v="13"/>
          <ac:spMkLst>
            <pc:docMk/>
            <pc:sldMk cId="2313332346" sldId="556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04.319" v="3"/>
          <ac:spMkLst>
            <pc:docMk/>
            <pc:sldMk cId="2313332346" sldId="556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23.741" v="9"/>
          <ac:spMkLst>
            <pc:docMk/>
            <pc:sldMk cId="2313332346" sldId="556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04.350" v="6"/>
          <ac:spMkLst>
            <pc:docMk/>
            <pc:sldMk cId="2313332346" sldId="556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04.334" v="4"/>
          <ac:spMkLst>
            <pc:docMk/>
            <pc:sldMk cId="2313332346" sldId="556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23.741" v="10"/>
          <ac:spMkLst>
            <pc:docMk/>
            <pc:sldMk cId="2313332346" sldId="556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23.757" v="12"/>
          <ac:spMkLst>
            <pc:docMk/>
            <pc:sldMk cId="2313332346" sldId="556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04.350" v="5"/>
          <ac:spMkLst>
            <pc:docMk/>
            <pc:sldMk cId="2313332346" sldId="556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7:23.757" v="11"/>
          <ac:spMkLst>
            <pc:docMk/>
            <pc:sldMk cId="2313332346" sldId="556"/>
            <ac:spMk id="48" creationId="{62444E91-07F2-4258-A080-F0F76AFF8F81}"/>
          </ac:spMkLst>
        </pc:spChg>
      </pc:sldChg>
      <pc:sldChg chg="new ord">
        <pc:chgData name="Mery Carrasco Mauricio (Codelco-Casa Matriz)" userId="S::mmery004@codelco.cl::a0378191-74de-4d59-9b37-aa421303daba" providerId="AD" clId="Web-{50E8D91C-89D8-8419-C4E5-029BEF5D4516}" dt="2021-08-03T19:16:15.051" v="1"/>
        <pc:sldMkLst>
          <pc:docMk/>
          <pc:sldMk cId="3763758550" sldId="557"/>
        </pc:sldMkLst>
      </pc:sldChg>
      <pc:sldChg chg="modSp add replId">
        <pc:chgData name="Mery Carrasco Mauricio (Codelco-Casa Matriz)" userId="S::mmery004@codelco.cl::a0378191-74de-4d59-9b37-aa421303daba" providerId="AD" clId="Web-{50E8D91C-89D8-8419-C4E5-029BEF5D4516}" dt="2021-08-03T19:19:00.572" v="31"/>
        <pc:sldMkLst>
          <pc:docMk/>
          <pc:sldMk cId="3594889304" sldId="558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18:39.884" v="25"/>
          <ac:spMkLst>
            <pc:docMk/>
            <pc:sldMk cId="3594889304" sldId="558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00.572" v="31"/>
          <ac:spMkLst>
            <pc:docMk/>
            <pc:sldMk cId="3594889304" sldId="558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8:39.869" v="24"/>
          <ac:spMkLst>
            <pc:docMk/>
            <pc:sldMk cId="3594889304" sldId="558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00.572" v="30"/>
          <ac:spMkLst>
            <pc:docMk/>
            <pc:sldMk cId="3594889304" sldId="558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8:39.837" v="20"/>
          <ac:spMkLst>
            <pc:docMk/>
            <pc:sldMk cId="3594889304" sldId="558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00.541" v="26"/>
          <ac:spMkLst>
            <pc:docMk/>
            <pc:sldMk cId="3594889304" sldId="558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8:39.853" v="22"/>
          <ac:spMkLst>
            <pc:docMk/>
            <pc:sldMk cId="3594889304" sldId="558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8:39.837" v="21"/>
          <ac:spMkLst>
            <pc:docMk/>
            <pc:sldMk cId="3594889304" sldId="558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00.541" v="27"/>
          <ac:spMkLst>
            <pc:docMk/>
            <pc:sldMk cId="3594889304" sldId="558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00.557" v="28"/>
          <ac:spMkLst>
            <pc:docMk/>
            <pc:sldMk cId="3594889304" sldId="558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8:39.853" v="23"/>
          <ac:spMkLst>
            <pc:docMk/>
            <pc:sldMk cId="3594889304" sldId="558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00.557" v="29"/>
          <ac:spMkLst>
            <pc:docMk/>
            <pc:sldMk cId="3594889304" sldId="558"/>
            <ac:spMk id="51" creationId="{F913A60D-2783-4406-9452-4739CB932FC8}"/>
          </ac:spMkLst>
        </pc:spChg>
      </pc:sldChg>
      <pc:sldChg chg="new ord">
        <pc:chgData name="Mery Carrasco Mauricio (Codelco-Casa Matriz)" userId="S::mmery004@codelco.cl::a0378191-74de-4d59-9b37-aa421303daba" providerId="AD" clId="Web-{50E8D91C-89D8-8419-C4E5-029BEF5D4516}" dt="2021-08-03T19:19:24.620" v="34"/>
        <pc:sldMkLst>
          <pc:docMk/>
          <pc:sldMk cId="878870300" sldId="559"/>
        </pc:sldMkLst>
      </pc:sldChg>
      <pc:sldChg chg="modSp add replId">
        <pc:chgData name="Mery Carrasco Mauricio (Codelco-Casa Matriz)" userId="S::mmery004@codelco.cl::a0378191-74de-4d59-9b37-aa421303daba" providerId="AD" clId="Web-{50E8D91C-89D8-8419-C4E5-029BEF5D4516}" dt="2021-08-03T19:20:06.199" v="46"/>
        <pc:sldMkLst>
          <pc:docMk/>
          <pc:sldMk cId="1718909961" sldId="560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19:55.949" v="40"/>
          <ac:spMkLst>
            <pc:docMk/>
            <pc:sldMk cId="1718909961" sldId="560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06.199" v="46"/>
          <ac:spMkLst>
            <pc:docMk/>
            <pc:sldMk cId="1718909961" sldId="560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55.949" v="39"/>
          <ac:spMkLst>
            <pc:docMk/>
            <pc:sldMk cId="1718909961" sldId="560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06.199" v="45"/>
          <ac:spMkLst>
            <pc:docMk/>
            <pc:sldMk cId="1718909961" sldId="560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55.934" v="37"/>
          <ac:spMkLst>
            <pc:docMk/>
            <pc:sldMk cId="1718909961" sldId="560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55.918" v="35"/>
          <ac:spMkLst>
            <pc:docMk/>
            <pc:sldMk cId="1718909961" sldId="560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06.168" v="41"/>
          <ac:spMkLst>
            <pc:docMk/>
            <pc:sldMk cId="1718909961" sldId="560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06.184" v="43"/>
          <ac:spMkLst>
            <pc:docMk/>
            <pc:sldMk cId="1718909961" sldId="560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55.918" v="36"/>
          <ac:spMkLst>
            <pc:docMk/>
            <pc:sldMk cId="1718909961" sldId="560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06.168" v="42"/>
          <ac:spMkLst>
            <pc:docMk/>
            <pc:sldMk cId="1718909961" sldId="560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19:55.934" v="38"/>
          <ac:spMkLst>
            <pc:docMk/>
            <pc:sldMk cId="1718909961" sldId="560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06.184" v="44"/>
          <ac:spMkLst>
            <pc:docMk/>
            <pc:sldMk cId="1718909961" sldId="560"/>
            <ac:spMk id="51" creationId="{F913A60D-2783-4406-9452-4739CB932FC8}"/>
          </ac:spMkLst>
        </pc:spChg>
      </pc:sldChg>
      <pc:sldChg chg="add replId">
        <pc:chgData name="Mery Carrasco Mauricio (Codelco-Casa Matriz)" userId="S::mmery004@codelco.cl::a0378191-74de-4d59-9b37-aa421303daba" providerId="AD" clId="Web-{50E8D91C-89D8-8419-C4E5-029BEF5D4516}" dt="2021-08-03T19:18:21.071" v="18"/>
        <pc:sldMkLst>
          <pc:docMk/>
          <pc:sldMk cId="1543957027" sldId="561"/>
        </pc:sldMkLst>
      </pc:sldChg>
      <pc:sldChg chg="modSp add replId">
        <pc:chgData name="Mery Carrasco Mauricio (Codelco-Casa Matriz)" userId="S::mmery004@codelco.cl::a0378191-74de-4d59-9b37-aa421303daba" providerId="AD" clId="Web-{50E8D91C-89D8-8419-C4E5-029BEF5D4516}" dt="2021-08-03T19:20:57.576" v="61"/>
        <pc:sldMkLst>
          <pc:docMk/>
          <pc:sldMk cId="2710820077" sldId="562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20:44.935" v="55"/>
          <ac:spMkLst>
            <pc:docMk/>
            <pc:sldMk cId="2710820077" sldId="562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57.576" v="61"/>
          <ac:spMkLst>
            <pc:docMk/>
            <pc:sldMk cId="2710820077" sldId="562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44.888" v="50"/>
          <ac:spMkLst>
            <pc:docMk/>
            <pc:sldMk cId="2710820077" sldId="562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57.529" v="56"/>
          <ac:spMkLst>
            <pc:docMk/>
            <pc:sldMk cId="2710820077" sldId="562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44.920" v="53"/>
          <ac:spMkLst>
            <pc:docMk/>
            <pc:sldMk cId="2710820077" sldId="562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44.888" v="51"/>
          <ac:spMkLst>
            <pc:docMk/>
            <pc:sldMk cId="2710820077" sldId="562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57.545" v="57"/>
          <ac:spMkLst>
            <pc:docMk/>
            <pc:sldMk cId="2710820077" sldId="562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57.561" v="59"/>
          <ac:spMkLst>
            <pc:docMk/>
            <pc:sldMk cId="2710820077" sldId="562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44.904" v="52"/>
          <ac:spMkLst>
            <pc:docMk/>
            <pc:sldMk cId="2710820077" sldId="562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57.545" v="58"/>
          <ac:spMkLst>
            <pc:docMk/>
            <pc:sldMk cId="2710820077" sldId="562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44.920" v="54"/>
          <ac:spMkLst>
            <pc:docMk/>
            <pc:sldMk cId="2710820077" sldId="562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0:57.561" v="60"/>
          <ac:spMkLst>
            <pc:docMk/>
            <pc:sldMk cId="2710820077" sldId="562"/>
            <ac:spMk id="51" creationId="{F913A60D-2783-4406-9452-4739CB932FC8}"/>
          </ac:spMkLst>
        </pc:spChg>
      </pc:sldChg>
      <pc:sldChg chg="add replId">
        <pc:chgData name="Mery Carrasco Mauricio (Codelco-Casa Matriz)" userId="S::mmery004@codelco.cl::a0378191-74de-4d59-9b37-aa421303daba" providerId="AD" clId="Web-{50E8D91C-89D8-8419-C4E5-029BEF5D4516}" dt="2021-08-03T19:19:24.448" v="33"/>
        <pc:sldMkLst>
          <pc:docMk/>
          <pc:sldMk cId="2016978074" sldId="563"/>
        </pc:sldMkLst>
      </pc:sldChg>
      <pc:sldChg chg="add ord replId">
        <pc:chgData name="Mery Carrasco Mauricio (Codelco-Casa Matriz)" userId="S::mmery004@codelco.cl::a0378191-74de-4d59-9b37-aa421303daba" providerId="AD" clId="Web-{50E8D91C-89D8-8419-C4E5-029BEF5D4516}" dt="2021-08-03T19:20:21.762" v="49"/>
        <pc:sldMkLst>
          <pc:docMk/>
          <pc:sldMk cId="513596260" sldId="564"/>
        </pc:sldMkLst>
      </pc:sldChg>
      <pc:sldChg chg="modSp add replId">
        <pc:chgData name="Mery Carrasco Mauricio (Codelco-Casa Matriz)" userId="S::mmery004@codelco.cl::a0378191-74de-4d59-9b37-aa421303daba" providerId="AD" clId="Web-{50E8D91C-89D8-8419-C4E5-029BEF5D4516}" dt="2021-08-03T19:21:41.031" v="76"/>
        <pc:sldMkLst>
          <pc:docMk/>
          <pc:sldMk cId="662694252" sldId="565"/>
        </pc:sldMkLst>
        <pc:spChg chg="mod">
          <ac:chgData name="Mery Carrasco Mauricio (Codelco-Casa Matriz)" userId="S::mmery004@codelco.cl::a0378191-74de-4d59-9b37-aa421303daba" providerId="AD" clId="Web-{50E8D91C-89D8-8419-C4E5-029BEF5D4516}" dt="2021-08-03T19:21:32.234" v="70"/>
          <ac:spMkLst>
            <pc:docMk/>
            <pc:sldMk cId="662694252" sldId="56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41.031" v="76"/>
          <ac:spMkLst>
            <pc:docMk/>
            <pc:sldMk cId="662694252" sldId="56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32.187" v="65"/>
          <ac:spMkLst>
            <pc:docMk/>
            <pc:sldMk cId="662694252" sldId="56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40.999" v="71"/>
          <ac:spMkLst>
            <pc:docMk/>
            <pc:sldMk cId="662694252" sldId="56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32.218" v="68"/>
          <ac:spMkLst>
            <pc:docMk/>
            <pc:sldMk cId="662694252" sldId="56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32.202" v="66"/>
          <ac:spMkLst>
            <pc:docMk/>
            <pc:sldMk cId="662694252" sldId="56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40.999" v="72"/>
          <ac:spMkLst>
            <pc:docMk/>
            <pc:sldMk cId="662694252" sldId="56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41.015" v="74"/>
          <ac:spMkLst>
            <pc:docMk/>
            <pc:sldMk cId="662694252" sldId="56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32.202" v="67"/>
          <ac:spMkLst>
            <pc:docMk/>
            <pc:sldMk cId="662694252" sldId="56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41.015" v="73"/>
          <ac:spMkLst>
            <pc:docMk/>
            <pc:sldMk cId="662694252" sldId="56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32.218" v="69"/>
          <ac:spMkLst>
            <pc:docMk/>
            <pc:sldMk cId="662694252" sldId="56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0E8D91C-89D8-8419-C4E5-029BEF5D4516}" dt="2021-08-03T19:21:41.015" v="75"/>
          <ac:spMkLst>
            <pc:docMk/>
            <pc:sldMk cId="662694252" sldId="565"/>
            <ac:spMk id="51" creationId="{F913A60D-2783-4406-9452-4739CB932FC8}"/>
          </ac:spMkLst>
        </pc:spChg>
      </pc:sldChg>
      <pc:sldChg chg="add replId">
        <pc:chgData name="Mery Carrasco Mauricio (Codelco-Casa Matriz)" userId="S::mmery004@codelco.cl::a0378191-74de-4d59-9b37-aa421303daba" providerId="AD" clId="Web-{50E8D91C-89D8-8419-C4E5-029BEF5D4516}" dt="2021-08-03T19:21:06.295" v="62"/>
        <pc:sldMkLst>
          <pc:docMk/>
          <pc:sldMk cId="571964646" sldId="566"/>
        </pc:sldMkLst>
      </pc:sldChg>
      <pc:sldChg chg="add ord replId">
        <pc:chgData name="Mery Carrasco Mauricio (Codelco-Casa Matriz)" userId="S::mmery004@codelco.cl::a0378191-74de-4d59-9b37-aa421303daba" providerId="AD" clId="Web-{50E8D91C-89D8-8419-C4E5-029BEF5D4516}" dt="2021-08-03T19:21:14.858" v="64"/>
        <pc:sldMkLst>
          <pc:docMk/>
          <pc:sldMk cId="1884211262" sldId="567"/>
        </pc:sldMkLst>
      </pc:sldChg>
      <pc:sldChg chg="del">
        <pc:chgData name="Mery Carrasco Mauricio (Codelco-Casa Matriz)" userId="S::mmery004@codelco.cl::a0378191-74de-4d59-9b37-aa421303daba" providerId="AD" clId="Web-{50E8D91C-89D8-8419-C4E5-029BEF5D4516}" dt="2021-08-03T20:00:37.670" v="152"/>
        <pc:sldMkLst>
          <pc:docMk/>
          <pc:sldMk cId="2140894581" sldId="568"/>
        </pc:sldMkLst>
      </pc:sldChg>
      <pc:sldChg chg="addSp delSp modSp add mod ord modClrScheme chgLayout">
        <pc:chgData name="Mery Carrasco Mauricio (Codelco-Casa Matriz)" userId="S::mmery004@codelco.cl::a0378191-74de-4d59-9b37-aa421303daba" providerId="AD" clId="Web-{50E8D91C-89D8-8419-C4E5-029BEF5D4516}" dt="2021-08-03T19:34:45.119" v="149" actId="14100"/>
        <pc:sldMkLst>
          <pc:docMk/>
          <pc:sldMk cId="642344154" sldId="569"/>
        </pc:sldMkLst>
        <pc:spChg chg="add del">
          <ac:chgData name="Mery Carrasco Mauricio (Codelco-Casa Matriz)" userId="S::mmery004@codelco.cl::a0378191-74de-4d59-9b37-aa421303daba" providerId="AD" clId="Web-{50E8D91C-89D8-8419-C4E5-029BEF5D4516}" dt="2021-08-03T19:34:38.587" v="148"/>
          <ac:spMkLst>
            <pc:docMk/>
            <pc:sldMk cId="642344154" sldId="569"/>
            <ac:spMk id="2" creationId="{CDDA66DB-B1D6-443A-B36D-2A34B5D0A15A}"/>
          </ac:spMkLst>
        </pc:spChg>
        <pc:spChg chg="mod ord">
          <ac:chgData name="Mery Carrasco Mauricio (Codelco-Casa Matriz)" userId="S::mmery004@codelco.cl::a0378191-74de-4d59-9b37-aa421303daba" providerId="AD" clId="Web-{50E8D91C-89D8-8419-C4E5-029BEF5D4516}" dt="2021-08-03T19:34:45.119" v="149" actId="14100"/>
          <ac:spMkLst>
            <pc:docMk/>
            <pc:sldMk cId="642344154" sldId="569"/>
            <ac:spMk id="14" creationId="{44B4F61D-2A3E-494F-96A3-1A6AF2B837AC}"/>
          </ac:spMkLst>
        </pc:spChg>
        <pc:spChg chg="mod ord">
          <ac:chgData name="Mery Carrasco Mauricio (Codelco-Casa Matriz)" userId="S::mmery004@codelco.cl::a0378191-74de-4d59-9b37-aa421303daba" providerId="AD" clId="Web-{50E8D91C-89D8-8419-C4E5-029BEF5D4516}" dt="2021-08-03T19:34:31.681" v="147"/>
          <ac:spMkLst>
            <pc:docMk/>
            <pc:sldMk cId="642344154" sldId="569"/>
            <ac:spMk id="15" creationId="{CD0B7DD4-E12F-497F-96B0-2183E0CFDADD}"/>
          </ac:spMkLst>
        </pc:spChg>
        <pc:spChg chg="mod ord">
          <ac:chgData name="Mery Carrasco Mauricio (Codelco-Casa Matriz)" userId="S::mmery004@codelco.cl::a0378191-74de-4d59-9b37-aa421303daba" providerId="AD" clId="Web-{50E8D91C-89D8-8419-C4E5-029BEF5D4516}" dt="2021-08-03T19:34:31.681" v="147"/>
          <ac:spMkLst>
            <pc:docMk/>
            <pc:sldMk cId="642344154" sldId="569"/>
            <ac:spMk id="16" creationId="{C362A9E2-540B-4ECF-B6C5-C1DF31564628}"/>
          </ac:spMkLst>
        </pc:spChg>
      </pc:sldChg>
      <pc:sldMasterChg chg="modSldLayout">
        <pc:chgData name="Mery Carrasco Mauricio (Codelco-Casa Matriz)" userId="S::mmery004@codelco.cl::a0378191-74de-4d59-9b37-aa421303daba" providerId="AD" clId="Web-{50E8D91C-89D8-8419-C4E5-029BEF5D4516}" dt="2021-08-03T19:31:05.002" v="112"/>
        <pc:sldMasterMkLst>
          <pc:docMk/>
          <pc:sldMasterMk cId="1408756453" sldId="2147484118"/>
        </pc:sldMasterMkLst>
        <pc:sldLayoutChg chg="replI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1408756453" sldId="2147484118"/>
            <pc:sldLayoutMk cId="3000918942" sldId="2147484471"/>
          </pc:sldLayoutMkLst>
        </pc:sldLayoutChg>
      </pc:sldMasterChg>
      <pc:sldMasterChg chg="add addSldLayout">
        <pc:chgData name="Mery Carrasco Mauricio (Codelco-Casa Matriz)" userId="S::mmery004@codelco.cl::a0378191-74de-4d59-9b37-aa421303daba" providerId="AD" clId="Web-{50E8D91C-89D8-8419-C4E5-029BEF5D4516}" dt="2021-08-03T19:31:05.002" v="112"/>
        <pc:sldMasterMkLst>
          <pc:docMk/>
          <pc:sldMasterMk cId="3386525249" sldId="2147484469"/>
        </pc:sldMasterMkLst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24885987" sldId="2147484405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2688593317" sldId="2147484470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854515088" sldId="2147484472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921966453" sldId="2147484473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528294560" sldId="2147484474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775015373" sldId="2147484475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2312678822" sldId="2147484476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1943807728" sldId="2147484477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128788021" sldId="2147484478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1224719349" sldId="2147484479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2169503006" sldId="2147484480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1413098168" sldId="2147484481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1546407957" sldId="2147484482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19649062" sldId="2147484483"/>
          </pc:sldLayoutMkLst>
        </pc:sldLayoutChg>
        <pc:sldLayoutChg chg="add">
          <pc:chgData name="Mery Carrasco Mauricio (Codelco-Casa Matriz)" userId="S::mmery004@codelco.cl::a0378191-74de-4d59-9b37-aa421303daba" providerId="AD" clId="Web-{50E8D91C-89D8-8419-C4E5-029BEF5D4516}" dt="2021-08-03T19:31:05.002" v="112"/>
          <pc:sldLayoutMkLst>
            <pc:docMk/>
            <pc:sldMasterMk cId="3386525249" sldId="2147484469"/>
            <pc:sldLayoutMk cId="3677900212" sldId="2147484484"/>
          </pc:sldLayoutMkLst>
        </pc:sldLayoutChg>
      </pc:sldMasterChg>
    </pc:docChg>
  </pc:docChgLst>
  <pc:docChgLst>
    <pc:chgData name="Sepulveda Masferrer Ivan (Codelco-Casa Matriz)" userId="S::isepu004@codelco.cl::f0567dff-420e-4d09-834c-804720bcdca6" providerId="AD" clId="Web-{E7DF069F-4D0F-E3FE-14A2-519642AD85FB}"/>
    <pc:docChg chg="addSld modSld">
      <pc:chgData name="Sepulveda Masferrer Ivan (Codelco-Casa Matriz)" userId="S::isepu004@codelco.cl::f0567dff-420e-4d09-834c-804720bcdca6" providerId="AD" clId="Web-{E7DF069F-4D0F-E3FE-14A2-519642AD85FB}" dt="2022-04-12T20:51:17.515" v="272" actId="1076"/>
      <pc:docMkLst>
        <pc:docMk/>
      </pc:docMkLst>
      <pc:sldChg chg="addSp delSp modSp">
        <pc:chgData name="Sepulveda Masferrer Ivan (Codelco-Casa Matriz)" userId="S::isepu004@codelco.cl::f0567dff-420e-4d09-834c-804720bcdca6" providerId="AD" clId="Web-{E7DF069F-4D0F-E3FE-14A2-519642AD85FB}" dt="2022-04-12T20:50:53.546" v="271" actId="14100"/>
        <pc:sldMkLst>
          <pc:docMk/>
          <pc:sldMk cId="2220647586" sldId="637"/>
        </pc:sldMkLst>
        <pc:spChg chg="add del">
          <ac:chgData name="Sepulveda Masferrer Ivan (Codelco-Casa Matriz)" userId="S::isepu004@codelco.cl::f0567dff-420e-4d09-834c-804720bcdca6" providerId="AD" clId="Web-{E7DF069F-4D0F-E3FE-14A2-519642AD85FB}" dt="2022-04-12T15:43:42.815" v="28"/>
          <ac:spMkLst>
            <pc:docMk/>
            <pc:sldMk cId="2220647586" sldId="637"/>
            <ac:spMk id="3" creationId="{D5C018DA-B2FF-B5F3-68DC-19516FE57FD1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43:42.815" v="27"/>
          <ac:spMkLst>
            <pc:docMk/>
            <pc:sldMk cId="2220647586" sldId="637"/>
            <ac:spMk id="4" creationId="{D4F814EF-86B6-E1B3-48A4-76388DDCC7C4}"/>
          </ac:spMkLst>
        </pc:spChg>
        <pc:spChg chg="mod">
          <ac:chgData name="Sepulveda Masferrer Ivan (Codelco-Casa Matriz)" userId="S::isepu004@codelco.cl::f0567dff-420e-4d09-834c-804720bcdca6" providerId="AD" clId="Web-{E7DF069F-4D0F-E3FE-14A2-519642AD85FB}" dt="2022-04-12T15:41:41.577" v="4" actId="20577"/>
          <ac:spMkLst>
            <pc:docMk/>
            <pc:sldMk cId="2220647586" sldId="637"/>
            <ac:spMk id="5" creationId="{D57101E3-207B-4809-B335-D526084CEA70}"/>
          </ac:spMkLst>
        </pc:spChg>
        <pc:spChg chg="del mod">
          <ac:chgData name="Sepulveda Masferrer Ivan (Codelco-Casa Matriz)" userId="S::isepu004@codelco.cl::f0567dff-420e-4d09-834c-804720bcdca6" providerId="AD" clId="Web-{E7DF069F-4D0F-E3FE-14A2-519642AD85FB}" dt="2022-04-12T15:43:42.315" v="20"/>
          <ac:spMkLst>
            <pc:docMk/>
            <pc:sldMk cId="2220647586" sldId="637"/>
            <ac:spMk id="6" creationId="{00000000-0000-0000-0000-000000000000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43:42.815" v="26"/>
          <ac:spMkLst>
            <pc:docMk/>
            <pc:sldMk cId="2220647586" sldId="637"/>
            <ac:spMk id="7" creationId="{E571A9BE-0AD6-69D3-2978-9CFA5957FD14}"/>
          </ac:spMkLst>
        </pc:spChg>
        <pc:spChg chg="mod">
          <ac:chgData name="Sepulveda Masferrer Ivan (Codelco-Casa Matriz)" userId="S::isepu004@codelco.cl::f0567dff-420e-4d09-834c-804720bcdca6" providerId="AD" clId="Web-{E7DF069F-4D0F-E3FE-14A2-519642AD85FB}" dt="2022-04-12T15:41:03.279" v="1" actId="1076"/>
          <ac:spMkLst>
            <pc:docMk/>
            <pc:sldMk cId="2220647586" sldId="637"/>
            <ac:spMk id="9" creationId="{00000000-0000-0000-0000-000000000000}"/>
          </ac:spMkLst>
        </pc:spChg>
        <pc:spChg chg="add mod">
          <ac:chgData name="Sepulveda Masferrer Ivan (Codelco-Casa Matriz)" userId="S::isepu004@codelco.cl::f0567dff-420e-4d09-834c-804720bcdca6" providerId="AD" clId="Web-{E7DF069F-4D0F-E3FE-14A2-519642AD85FB}" dt="2022-04-12T20:30:10.098" v="205" actId="20577"/>
          <ac:spMkLst>
            <pc:docMk/>
            <pc:sldMk cId="2220647586" sldId="637"/>
            <ac:spMk id="10" creationId="{42BEAB6E-6C0F-AD7F-482D-57451C91804D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43:42.268" v="19"/>
          <ac:spMkLst>
            <pc:docMk/>
            <pc:sldMk cId="2220647586" sldId="637"/>
            <ac:spMk id="10" creationId="{A4201E3D-F63E-A5F8-45E4-73DAF05B23B9}"/>
          </ac:spMkLst>
        </pc:spChg>
        <pc:spChg chg="add del mod">
          <ac:chgData name="Sepulveda Masferrer Ivan (Codelco-Casa Matriz)" userId="S::isepu004@codelco.cl::f0567dff-420e-4d09-834c-804720bcdca6" providerId="AD" clId="Web-{E7DF069F-4D0F-E3FE-14A2-519642AD85FB}" dt="2022-04-12T20:27:01.610" v="186"/>
          <ac:spMkLst>
            <pc:docMk/>
            <pc:sldMk cId="2220647586" sldId="637"/>
            <ac:spMk id="11" creationId="{39822776-8948-C5A2-6127-988A95488397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43:42.893" v="30"/>
          <ac:spMkLst>
            <pc:docMk/>
            <pc:sldMk cId="2220647586" sldId="637"/>
            <ac:spMk id="12" creationId="{DBB55420-A640-E716-15A3-02A7F16E13DB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43:42.846" v="29"/>
          <ac:spMkLst>
            <pc:docMk/>
            <pc:sldMk cId="2220647586" sldId="637"/>
            <ac:spMk id="13" creationId="{8C42F5FE-8CA9-0F62-7525-81500D21401D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43:42.815" v="25"/>
          <ac:spMkLst>
            <pc:docMk/>
            <pc:sldMk cId="2220647586" sldId="637"/>
            <ac:spMk id="14" creationId="{594255B0-4435-036D-DC8A-A4BDF5F77F67}"/>
          </ac:spMkLst>
        </pc:spChg>
        <pc:spChg chg="add del mod">
          <ac:chgData name="Sepulveda Masferrer Ivan (Codelco-Casa Matriz)" userId="S::isepu004@codelco.cl::f0567dff-420e-4d09-834c-804720bcdca6" providerId="AD" clId="Web-{E7DF069F-4D0F-E3FE-14A2-519642AD85FB}" dt="2022-04-12T15:54:52.101" v="37"/>
          <ac:spMkLst>
            <pc:docMk/>
            <pc:sldMk cId="2220647586" sldId="637"/>
            <ac:spMk id="15" creationId="{9F85A4DD-CE8E-EFD0-D235-DB513E95B4B8}"/>
          </ac:spMkLst>
        </pc:spChg>
        <pc:spChg chg="add del">
          <ac:chgData name="Sepulveda Masferrer Ivan (Codelco-Casa Matriz)" userId="S::isepu004@codelco.cl::f0567dff-420e-4d09-834c-804720bcdca6" providerId="AD" clId="Web-{E7DF069F-4D0F-E3FE-14A2-519642AD85FB}" dt="2022-04-12T15:53:57.818" v="34"/>
          <ac:spMkLst>
            <pc:docMk/>
            <pc:sldMk cId="2220647586" sldId="637"/>
            <ac:spMk id="16" creationId="{10012BA2-1419-2763-06EF-6FDB293B13D8}"/>
          </ac:spMkLst>
        </pc:spChg>
        <pc:spChg chg="add mod">
          <ac:chgData name="Sepulveda Masferrer Ivan (Codelco-Casa Matriz)" userId="S::isepu004@codelco.cl::f0567dff-420e-4d09-834c-804720bcdca6" providerId="AD" clId="Web-{E7DF069F-4D0F-E3FE-14A2-519642AD85FB}" dt="2022-04-12T20:31:20.037" v="220" actId="20577"/>
          <ac:spMkLst>
            <pc:docMk/>
            <pc:sldMk cId="2220647586" sldId="637"/>
            <ac:spMk id="18" creationId="{45A48AB9-0968-EFB1-40BC-345314D5473F}"/>
          </ac:spMkLst>
        </pc:spChg>
        <pc:spChg chg="add mod">
          <ac:chgData name="Sepulveda Masferrer Ivan (Codelco-Casa Matriz)" userId="S::isepu004@codelco.cl::f0567dff-420e-4d09-834c-804720bcdca6" providerId="AD" clId="Web-{E7DF069F-4D0F-E3FE-14A2-519642AD85FB}" dt="2022-04-12T20:50:53.546" v="271" actId="14100"/>
          <ac:spMkLst>
            <pc:docMk/>
            <pc:sldMk cId="2220647586" sldId="637"/>
            <ac:spMk id="24" creationId="{EBECBFD3-16AD-070E-F19D-7E5ED4D06D38}"/>
          </ac:spMkLst>
        </pc:spChg>
        <pc:grpChg chg="add del mod">
          <ac:chgData name="Sepulveda Masferrer Ivan (Codelco-Casa Matriz)" userId="S::isepu004@codelco.cl::f0567dff-420e-4d09-834c-804720bcdca6" providerId="AD" clId="Web-{E7DF069F-4D0F-E3FE-14A2-519642AD85FB}" dt="2022-04-12T20:13:41.280" v="150"/>
          <ac:grpSpMkLst>
            <pc:docMk/>
            <pc:sldMk cId="2220647586" sldId="637"/>
            <ac:grpSpMk id="3" creationId="{9DD86F4A-1EDE-65BA-3E8E-B85640B9256C}"/>
          </ac:grpSpMkLst>
        </pc:grpChg>
        <pc:picChg chg="add del mod">
          <ac:chgData name="Sepulveda Masferrer Ivan (Codelco-Casa Matriz)" userId="S::isepu004@codelco.cl::f0567dff-420e-4d09-834c-804720bcdca6" providerId="AD" clId="Web-{E7DF069F-4D0F-E3FE-14A2-519642AD85FB}" dt="2022-04-12T20:13:41.280" v="149"/>
          <ac:picMkLst>
            <pc:docMk/>
            <pc:sldMk cId="2220647586" sldId="637"/>
            <ac:picMk id="4" creationId="{66428F6B-DFA7-AB98-CF15-74F9CE26F2D5}"/>
          </ac:picMkLst>
        </pc:picChg>
        <pc:picChg chg="add del mod">
          <ac:chgData name="Sepulveda Masferrer Ivan (Codelco-Casa Matriz)" userId="S::isepu004@codelco.cl::f0567dff-420e-4d09-834c-804720bcdca6" providerId="AD" clId="Web-{E7DF069F-4D0F-E3FE-14A2-519642AD85FB}" dt="2022-04-12T20:16:38.175" v="160"/>
          <ac:picMkLst>
            <pc:docMk/>
            <pc:sldMk cId="2220647586" sldId="637"/>
            <ac:picMk id="6" creationId="{6EC23FA4-74D5-2494-F382-98BC23B09AEE}"/>
          </ac:picMkLst>
        </pc:picChg>
        <pc:picChg chg="add mod">
          <ac:chgData name="Sepulveda Masferrer Ivan (Codelco-Casa Matriz)" userId="S::isepu004@codelco.cl::f0567dff-420e-4d09-834c-804720bcdca6" providerId="AD" clId="Web-{E7DF069F-4D0F-E3FE-14A2-519642AD85FB}" dt="2022-04-12T20:19:50.679" v="167" actId="14100"/>
          <ac:picMkLst>
            <pc:docMk/>
            <pc:sldMk cId="2220647586" sldId="637"/>
            <ac:picMk id="7" creationId="{A2D0C66A-AD93-4738-A9D4-F19F958A642A}"/>
          </ac:picMkLst>
        </pc:picChg>
        <pc:picChg chg="add mod">
          <ac:chgData name="Sepulveda Masferrer Ivan (Codelco-Casa Matriz)" userId="S::isepu004@codelco.cl::f0567dff-420e-4d09-834c-804720bcdca6" providerId="AD" clId="Web-{E7DF069F-4D0F-E3FE-14A2-519642AD85FB}" dt="2022-04-12T20:23:16.652" v="169" actId="1076"/>
          <ac:picMkLst>
            <pc:docMk/>
            <pc:sldMk cId="2220647586" sldId="637"/>
            <ac:picMk id="21" creationId="{1886360C-1E51-A029-6C83-746F5845AE80}"/>
          </ac:picMkLst>
        </pc:picChg>
        <pc:picChg chg="add mod">
          <ac:chgData name="Sepulveda Masferrer Ivan (Codelco-Casa Matriz)" userId="S::isepu004@codelco.cl::f0567dff-420e-4d09-834c-804720bcdca6" providerId="AD" clId="Web-{E7DF069F-4D0F-E3FE-14A2-519642AD85FB}" dt="2022-04-12T20:40:16.033" v="264" actId="1076"/>
          <ac:picMkLst>
            <pc:docMk/>
            <pc:sldMk cId="2220647586" sldId="637"/>
            <ac:picMk id="23" creationId="{DB589E26-F1C9-1397-80EF-01946412A5EB}"/>
          </ac:picMkLst>
        </pc:picChg>
        <pc:cxnChg chg="add mod">
          <ac:chgData name="Sepulveda Masferrer Ivan (Codelco-Casa Matriz)" userId="S::isepu004@codelco.cl::f0567dff-420e-4d09-834c-804720bcdca6" providerId="AD" clId="Web-{E7DF069F-4D0F-E3FE-14A2-519642AD85FB}" dt="2022-04-12T20:40:32.970" v="265" actId="14100"/>
          <ac:cxnSpMkLst>
            <pc:docMk/>
            <pc:sldMk cId="2220647586" sldId="637"/>
            <ac:cxnSpMk id="26" creationId="{634D2A74-4D82-52AB-8547-93BDC454FBF9}"/>
          </ac:cxnSpMkLst>
        </pc:cxnChg>
      </pc:sldChg>
      <pc:sldChg chg="delSp">
        <pc:chgData name="Sepulveda Masferrer Ivan (Codelco-Casa Matriz)" userId="S::isepu004@codelco.cl::f0567dff-420e-4d09-834c-804720bcdca6" providerId="AD" clId="Web-{E7DF069F-4D0F-E3FE-14A2-519642AD85FB}" dt="2022-04-12T20:41:01.987" v="266"/>
        <pc:sldMkLst>
          <pc:docMk/>
          <pc:sldMk cId="4197670824" sldId="655"/>
        </pc:sldMkLst>
        <pc:spChg chg="del">
          <ac:chgData name="Sepulveda Masferrer Ivan (Codelco-Casa Matriz)" userId="S::isepu004@codelco.cl::f0567dff-420e-4d09-834c-804720bcdca6" providerId="AD" clId="Web-{E7DF069F-4D0F-E3FE-14A2-519642AD85FB}" dt="2022-04-12T20:41:01.987" v="266"/>
          <ac:spMkLst>
            <pc:docMk/>
            <pc:sldMk cId="4197670824" sldId="655"/>
            <ac:spMk id="6" creationId="{00000000-0000-0000-0000-000000000000}"/>
          </ac:spMkLst>
        </pc:spChg>
      </pc:sldChg>
      <pc:sldChg chg="modSp">
        <pc:chgData name="Sepulveda Masferrer Ivan (Codelco-Casa Matriz)" userId="S::isepu004@codelco.cl::f0567dff-420e-4d09-834c-804720bcdca6" providerId="AD" clId="Web-{E7DF069F-4D0F-E3FE-14A2-519642AD85FB}" dt="2022-04-12T20:51:17.515" v="272" actId="1076"/>
        <pc:sldMkLst>
          <pc:docMk/>
          <pc:sldMk cId="417169339" sldId="658"/>
        </pc:sldMkLst>
        <pc:spChg chg="mod">
          <ac:chgData name="Sepulveda Masferrer Ivan (Codelco-Casa Matriz)" userId="S::isepu004@codelco.cl::f0567dff-420e-4d09-834c-804720bcdca6" providerId="AD" clId="Web-{E7DF069F-4D0F-E3FE-14A2-519642AD85FB}" dt="2022-04-12T20:51:17.515" v="272" actId="1076"/>
          <ac:spMkLst>
            <pc:docMk/>
            <pc:sldMk cId="417169339" sldId="658"/>
            <ac:spMk id="7" creationId="{00000000-0000-0000-0000-000000000000}"/>
          </ac:spMkLst>
        </pc:spChg>
      </pc:sldChg>
      <pc:sldChg chg="modSp add replId">
        <pc:chgData name="Sepulveda Masferrer Ivan (Codelco-Casa Matriz)" userId="S::isepu004@codelco.cl::f0567dff-420e-4d09-834c-804720bcdca6" providerId="AD" clId="Web-{E7DF069F-4D0F-E3FE-14A2-519642AD85FB}" dt="2022-04-12T20:37:17.263" v="263" actId="20577"/>
        <pc:sldMkLst>
          <pc:docMk/>
          <pc:sldMk cId="1888806830" sldId="667"/>
        </pc:sldMkLst>
        <pc:spChg chg="mod">
          <ac:chgData name="Sepulveda Masferrer Ivan (Codelco-Casa Matriz)" userId="S::isepu004@codelco.cl::f0567dff-420e-4d09-834c-804720bcdca6" providerId="AD" clId="Web-{E7DF069F-4D0F-E3FE-14A2-519642AD85FB}" dt="2022-04-12T20:36:56.247" v="258" actId="20577"/>
          <ac:spMkLst>
            <pc:docMk/>
            <pc:sldMk cId="1888806830" sldId="667"/>
            <ac:spMk id="7" creationId="{80860266-3902-4D38-87BE-A090F3FDB2F5}"/>
          </ac:spMkLst>
        </pc:spChg>
        <pc:spChg chg="mod">
          <ac:chgData name="Sepulveda Masferrer Ivan (Codelco-Casa Matriz)" userId="S::isepu004@codelco.cl::f0567dff-420e-4d09-834c-804720bcdca6" providerId="AD" clId="Web-{E7DF069F-4D0F-E3FE-14A2-519642AD85FB}" dt="2022-04-12T20:37:16.998" v="259" actId="20577"/>
          <ac:spMkLst>
            <pc:docMk/>
            <pc:sldMk cId="1888806830" sldId="667"/>
            <ac:spMk id="9" creationId="{80860266-3902-4D38-87BE-A090F3FDB2F5}"/>
          </ac:spMkLst>
        </pc:spChg>
        <pc:spChg chg="mod">
          <ac:chgData name="Sepulveda Masferrer Ivan (Codelco-Casa Matriz)" userId="S::isepu004@codelco.cl::f0567dff-420e-4d09-834c-804720bcdca6" providerId="AD" clId="Web-{E7DF069F-4D0F-E3FE-14A2-519642AD85FB}" dt="2022-04-12T20:37:17.185" v="261" actId="20577"/>
          <ac:spMkLst>
            <pc:docMk/>
            <pc:sldMk cId="1888806830" sldId="667"/>
            <ac:spMk id="11" creationId="{80860266-3902-4D38-87BE-A090F3FDB2F5}"/>
          </ac:spMkLst>
        </pc:spChg>
        <pc:spChg chg="mod">
          <ac:chgData name="Sepulveda Masferrer Ivan (Codelco-Casa Matriz)" userId="S::isepu004@codelco.cl::f0567dff-420e-4d09-834c-804720bcdca6" providerId="AD" clId="Web-{E7DF069F-4D0F-E3FE-14A2-519642AD85FB}" dt="2022-04-12T20:37:17.263" v="263" actId="20577"/>
          <ac:spMkLst>
            <pc:docMk/>
            <pc:sldMk cId="1888806830" sldId="667"/>
            <ac:spMk id="13" creationId="{80860266-3902-4D38-87BE-A090F3FDB2F5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72990232-0A09-7F20-19C5-31DBC35D65E9}"/>
    <pc:docChg chg="modSld sldOrd">
      <pc:chgData name="Mery Carrasco Mauricio (Codelco-Casa Matriz)" userId="S::mmery004@codelco.cl::a0378191-74de-4d59-9b37-aa421303daba" providerId="AD" clId="Web-{72990232-0A09-7F20-19C5-31DBC35D65E9}" dt="2021-03-12T14:33:46.442" v="3"/>
      <pc:docMkLst>
        <pc:docMk/>
      </pc:docMkLst>
      <pc:sldChg chg="modSp">
        <pc:chgData name="Mery Carrasco Mauricio (Codelco-Casa Matriz)" userId="S::mmery004@codelco.cl::a0378191-74de-4d59-9b37-aa421303daba" providerId="AD" clId="Web-{72990232-0A09-7F20-19C5-31DBC35D65E9}" dt="2021-03-12T14:33:16.770" v="2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72990232-0A09-7F20-19C5-31DBC35D65E9}" dt="2021-03-12T14:33:16.770" v="2" actId="20577"/>
          <ac:spMkLst>
            <pc:docMk/>
            <pc:sldMk cId="1544981574" sldId="409"/>
            <ac:spMk id="19" creationId="{A9EEF7B6-576E-4A25-B47C-4A7D15289EE7}"/>
          </ac:spMkLst>
        </pc:spChg>
      </pc:sldChg>
      <pc:sldChg chg="ord">
        <pc:chgData name="Mery Carrasco Mauricio (Codelco-Casa Matriz)" userId="S::mmery004@codelco.cl::a0378191-74de-4d59-9b37-aa421303daba" providerId="AD" clId="Web-{72990232-0A09-7F20-19C5-31DBC35D65E9}" dt="2021-03-12T14:33:46.442" v="3"/>
        <pc:sldMkLst>
          <pc:docMk/>
          <pc:sldMk cId="3055505354" sldId="441"/>
        </pc:sldMkLst>
      </pc:sldChg>
    </pc:docChg>
  </pc:docChgLst>
  <pc:docChgLst>
    <pc:chgData name="Mery Carrasco Mauricio (Codelco-Casa Matriz)" userId="S::mmery004@codelco.cl::a0378191-74de-4d59-9b37-aa421303daba" providerId="AD" clId="Web-{907C8601-555E-D238-0489-7CD154135225}"/>
    <pc:docChg chg="modSld">
      <pc:chgData name="Mery Carrasco Mauricio (Codelco-Casa Matriz)" userId="S::mmery004@codelco.cl::a0378191-74de-4d59-9b37-aa421303daba" providerId="AD" clId="Web-{907C8601-555E-D238-0489-7CD154135225}" dt="2020-11-05T12:35:08.976" v="184" actId="20577"/>
      <pc:docMkLst>
        <pc:docMk/>
      </pc:docMkLst>
      <pc:sldChg chg="modSp">
        <pc:chgData name="Mery Carrasco Mauricio (Codelco-Casa Matriz)" userId="S::mmery004@codelco.cl::a0378191-74de-4d59-9b37-aa421303daba" providerId="AD" clId="Web-{907C8601-555E-D238-0489-7CD154135225}" dt="2020-11-05T12:35:08.976" v="184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907C8601-555E-D238-0489-7CD154135225}" dt="2020-11-05T12:35:08.976" v="184" actId="20577"/>
          <ac:spMkLst>
            <pc:docMk/>
            <pc:sldMk cId="1259302253" sldId="353"/>
            <ac:spMk id="11" creationId="{DB92C4CF-7AC4-4BFA-9A29-156AEC1C5231}"/>
          </ac:spMkLst>
        </pc:spChg>
      </pc:sldChg>
      <pc:sldChg chg="delSp modSp">
        <pc:chgData name="Mery Carrasco Mauricio (Codelco-Casa Matriz)" userId="S::mmery004@codelco.cl::a0378191-74de-4d59-9b37-aa421303daba" providerId="AD" clId="Web-{907C8601-555E-D238-0489-7CD154135225}" dt="2020-11-05T12:34:05.707" v="180" actId="20577"/>
        <pc:sldMkLst>
          <pc:docMk/>
          <pc:sldMk cId="1943212446" sldId="416"/>
        </pc:sldMkLst>
        <pc:spChg chg="mod">
          <ac:chgData name="Mery Carrasco Mauricio (Codelco-Casa Matriz)" userId="S::mmery004@codelco.cl::a0378191-74de-4d59-9b37-aa421303daba" providerId="AD" clId="Web-{907C8601-555E-D238-0489-7CD154135225}" dt="2020-11-05T12:34:05.707" v="180" actId="20577"/>
          <ac:spMkLst>
            <pc:docMk/>
            <pc:sldMk cId="1943212446" sldId="416"/>
            <ac:spMk id="17" creationId="{9C4C5E3E-6150-4685-BEAC-9E2042B17D9D}"/>
          </ac:spMkLst>
        </pc:spChg>
        <pc:spChg chg="mod">
          <ac:chgData name="Mery Carrasco Mauricio (Codelco-Casa Matriz)" userId="S::mmery004@codelco.cl::a0378191-74de-4d59-9b37-aa421303daba" providerId="AD" clId="Web-{907C8601-555E-D238-0489-7CD154135225}" dt="2020-11-05T12:32:54.641" v="153" actId="20577"/>
          <ac:spMkLst>
            <pc:docMk/>
            <pc:sldMk cId="1943212446" sldId="416"/>
            <ac:spMk id="26" creationId="{C05AF7CA-BE06-4010-A753-779C63F68D58}"/>
          </ac:spMkLst>
        </pc:spChg>
        <pc:inkChg chg="del">
          <ac:chgData name="Mery Carrasco Mauricio (Codelco-Casa Matriz)" userId="S::mmery004@codelco.cl::a0378191-74de-4d59-9b37-aa421303daba" providerId="AD" clId="Web-{907C8601-555E-D238-0489-7CD154135225}" dt="2020-11-05T12:25:54.509" v="3"/>
          <ac:inkMkLst>
            <pc:docMk/>
            <pc:sldMk cId="1943212446" sldId="416"/>
            <ac:inkMk id="4" creationId="{DAD1FCCD-1CB7-4C56-99F9-0F887D480E08}"/>
          </ac:inkMkLst>
        </pc:inkChg>
        <pc:inkChg chg="del">
          <ac:chgData name="Mery Carrasco Mauricio (Codelco-Casa Matriz)" userId="S::mmery004@codelco.cl::a0378191-74de-4d59-9b37-aa421303daba" providerId="AD" clId="Web-{907C8601-555E-D238-0489-7CD154135225}" dt="2020-11-05T12:25:54.477" v="2"/>
          <ac:inkMkLst>
            <pc:docMk/>
            <pc:sldMk cId="1943212446" sldId="416"/>
            <ac:inkMk id="5" creationId="{F8B7083C-5F9C-42F4-8BBA-778D92161AE1}"/>
          </ac:inkMkLst>
        </pc:inkChg>
        <pc:inkChg chg="del">
          <ac:chgData name="Mery Carrasco Mauricio (Codelco-Casa Matriz)" userId="S::mmery004@codelco.cl::a0378191-74de-4d59-9b37-aa421303daba" providerId="AD" clId="Web-{907C8601-555E-D238-0489-7CD154135225}" dt="2020-11-05T12:25:54.462" v="1"/>
          <ac:inkMkLst>
            <pc:docMk/>
            <pc:sldMk cId="1943212446" sldId="416"/>
            <ac:inkMk id="6" creationId="{79C3F197-265F-4034-84D6-1E6A41B22E09}"/>
          </ac:inkMkLst>
        </pc:inkChg>
        <pc:inkChg chg="del">
          <ac:chgData name="Mery Carrasco Mauricio (Codelco-Casa Matriz)" userId="S::mmery004@codelco.cl::a0378191-74de-4d59-9b37-aa421303daba" providerId="AD" clId="Web-{907C8601-555E-D238-0489-7CD154135225}" dt="2020-11-05T12:25:54.431" v="0"/>
          <ac:inkMkLst>
            <pc:docMk/>
            <pc:sldMk cId="1943212446" sldId="416"/>
            <ac:inkMk id="8" creationId="{11AE8B6E-E85C-4FD2-8AE4-4D68F12BFCF4}"/>
          </ac:inkMkLst>
        </pc:inkChg>
      </pc:sldChg>
    </pc:docChg>
  </pc:docChgLst>
  <pc:docChgLst>
    <pc:chgData name="Mery Carrasco Mauricio (Codelco-Casa Matriz)" userId="S::mmery004@codelco.cl::a0378191-74de-4d59-9b37-aa421303daba" providerId="AD" clId="Web-{B0AFAC15-505D-2309-850A-A6705A284F93}"/>
    <pc:docChg chg="delSld modSld">
      <pc:chgData name="Mery Carrasco Mauricio (Codelco-Casa Matriz)" userId="S::mmery004@codelco.cl::a0378191-74de-4d59-9b37-aa421303daba" providerId="AD" clId="Web-{B0AFAC15-505D-2309-850A-A6705A284F93}" dt="2021-04-26T12:27:03.163" v="176"/>
      <pc:docMkLst>
        <pc:docMk/>
      </pc:docMkLst>
      <pc:sldChg chg="modSp">
        <pc:chgData name="Mery Carrasco Mauricio (Codelco-Casa Matriz)" userId="S::mmery004@codelco.cl::a0378191-74de-4d59-9b37-aa421303daba" providerId="AD" clId="Web-{B0AFAC15-505D-2309-850A-A6705A284F93}" dt="2021-04-26T12:03:31.214" v="7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B0AFAC15-505D-2309-850A-A6705A284F93}" dt="2021-04-26T12:03:30.746" v="4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03:31.214" v="7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addSp delSp modSp">
        <pc:chgData name="Mery Carrasco Mauricio (Codelco-Casa Matriz)" userId="S::mmery004@codelco.cl::a0378191-74de-4d59-9b37-aa421303daba" providerId="AD" clId="Web-{B0AFAC15-505D-2309-850A-A6705A284F93}" dt="2021-04-26T12:25:35.834" v="174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B0AFAC15-505D-2309-850A-A6705A284F93}" dt="2021-04-26T12:24:13.973" v="140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988" v="141" actId="1076"/>
          <ac:spMkLst>
            <pc:docMk/>
            <pc:sldMk cId="2155997825" sldId="37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177" v="164" actId="1076"/>
          <ac:spMkLst>
            <pc:docMk/>
            <pc:sldMk cId="2155997825" sldId="375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066" v="146" actId="1076"/>
          <ac:spMkLst>
            <pc:docMk/>
            <pc:sldMk cId="2155997825" sldId="375"/>
            <ac:spMk id="17" creationId="{552090A5-F322-40DD-8355-465D65FAB046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098" v="147" actId="1076"/>
          <ac:spMkLst>
            <pc:docMk/>
            <pc:sldMk cId="2155997825" sldId="375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113" v="148" actId="1076"/>
          <ac:spMkLst>
            <pc:docMk/>
            <pc:sldMk cId="2155997825" sldId="375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129" v="149" actId="1076"/>
          <ac:spMkLst>
            <pc:docMk/>
            <pc:sldMk cId="2155997825" sldId="375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144" v="150" actId="1076"/>
          <ac:spMkLst>
            <pc:docMk/>
            <pc:sldMk cId="2155997825" sldId="375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160" v="151" actId="1076"/>
          <ac:spMkLst>
            <pc:docMk/>
            <pc:sldMk cId="2155997825" sldId="375"/>
            <ac:spMk id="24" creationId="{99091804-6602-4E77-B3DC-179EC9B09D1A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193" v="165" actId="1076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208" v="166" actId="1076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224" v="167" actId="1076"/>
          <ac:spMkLst>
            <pc:docMk/>
            <pc:sldMk cId="2155997825" sldId="375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240" v="168" actId="1076"/>
          <ac:spMkLst>
            <pc:docMk/>
            <pc:sldMk cId="2155997825" sldId="375"/>
            <ac:spMk id="30" creationId="{FC6F8EAE-BF9D-4CD4-A556-34E7503884BF}"/>
          </ac:spMkLst>
        </pc:spChg>
        <pc:spChg chg="add mod">
          <ac:chgData name="Mery Carrasco Mauricio (Codelco-Casa Matriz)" userId="S::mmery004@codelco.cl::a0378191-74de-4d59-9b37-aa421303daba" providerId="AD" clId="Web-{B0AFAC15-505D-2309-850A-A6705A284F93}" dt="2021-04-26T12:24:14.176" v="152" actId="1076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255" v="169" actId="1076"/>
          <ac:spMkLst>
            <pc:docMk/>
            <pc:sldMk cId="2155997825" sldId="375"/>
            <ac:spMk id="33" creationId="{D1447759-3F21-48D6-AB39-027999D4AD5B}"/>
          </ac:spMkLst>
        </pc:spChg>
        <pc:spChg chg="add mod">
          <ac:chgData name="Mery Carrasco Mauricio (Codelco-Casa Matriz)" userId="S::mmery004@codelco.cl::a0378191-74de-4d59-9b37-aa421303daba" providerId="AD" clId="Web-{B0AFAC15-505D-2309-850A-A6705A284F93}" dt="2021-04-26T12:24:14.191" v="153" actId="1076"/>
          <ac:spMkLst>
            <pc:docMk/>
            <pc:sldMk cId="2155997825" sldId="375"/>
            <ac:spMk id="34" creationId="{4D6685A8-C632-4230-9E08-284878417DE5}"/>
          </ac:spMkLst>
        </pc:spChg>
        <pc:spChg chg="add del">
          <ac:chgData name="Mery Carrasco Mauricio (Codelco-Casa Matriz)" userId="S::mmery004@codelco.cl::a0378191-74de-4d59-9b37-aa421303daba" providerId="AD" clId="Web-{B0AFAC15-505D-2309-850A-A6705A284F93}" dt="2021-04-26T12:22:22.486" v="116"/>
          <ac:spMkLst>
            <pc:docMk/>
            <pc:sldMk cId="2155997825" sldId="375"/>
            <ac:spMk id="35" creationId="{C82F1863-5E1C-4E69-89C5-FDF16EF79429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333" v="172" actId="1076"/>
          <ac:spMkLst>
            <pc:docMk/>
            <pc:sldMk cId="2155997825" sldId="375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879" v="134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894" v="135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5:34.302" v="170" actId="1076"/>
          <ac:spMkLst>
            <pc:docMk/>
            <pc:sldMk cId="2155997825" sldId="375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34.957" v="154" actId="1076"/>
          <ac:spMkLst>
            <pc:docMk/>
            <pc:sldMk cId="2155997825" sldId="375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004" v="142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910" v="136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926" v="137" actId="1076"/>
          <ac:spMkLst>
            <pc:docMk/>
            <pc:sldMk cId="2155997825" sldId="375"/>
            <ac:spMk id="43" creationId="{D3E50C62-A68A-4CB0-A20F-755A1D68CAD2}"/>
          </ac:spMkLst>
        </pc:spChg>
        <pc:spChg chg="add del">
          <ac:chgData name="Mery Carrasco Mauricio (Codelco-Casa Matriz)" userId="S::mmery004@codelco.cl::a0378191-74de-4d59-9b37-aa421303daba" providerId="AD" clId="Web-{B0AFAC15-505D-2309-850A-A6705A284F93}" dt="2021-04-26T12:22:22.486" v="115"/>
          <ac:spMkLst>
            <pc:docMk/>
            <pc:sldMk cId="2155997825" sldId="375"/>
            <ac:spMk id="44" creationId="{5AB65753-0CA3-478E-9C17-E0A394D38D99}"/>
          </ac:spMkLst>
        </pc:spChg>
        <pc:spChg chg="add mod">
          <ac:chgData name="Mery Carrasco Mauricio (Codelco-Casa Matriz)" userId="S::mmery004@codelco.cl::a0378191-74de-4d59-9b37-aa421303daba" providerId="AD" clId="Web-{B0AFAC15-505D-2309-850A-A6705A284F93}" dt="2021-04-26T12:25:35.834" v="174" actId="1076"/>
          <ac:spMkLst>
            <pc:docMk/>
            <pc:sldMk cId="2155997825" sldId="37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019" v="143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941" v="138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3.957" v="139" actId="1076"/>
          <ac:spMkLst>
            <pc:docMk/>
            <pc:sldMk cId="2155997825" sldId="375"/>
            <ac:spMk id="48" creationId="{62444E91-07F2-4258-A080-F0F76AFF8F81}"/>
          </ac:spMkLst>
        </pc:spChg>
        <pc:spChg chg="add del">
          <ac:chgData name="Mery Carrasco Mauricio (Codelco-Casa Matriz)" userId="S::mmery004@codelco.cl::a0378191-74de-4d59-9b37-aa421303daba" providerId="AD" clId="Web-{B0AFAC15-505D-2309-850A-A6705A284F93}" dt="2021-04-26T12:22:57.596" v="130"/>
          <ac:spMkLst>
            <pc:docMk/>
            <pc:sldMk cId="2155997825" sldId="375"/>
            <ac:spMk id="49" creationId="{B378E210-80FB-467D-A923-5F79AC590E9F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035" v="144" actId="1076"/>
          <ac:spMkLst>
            <pc:docMk/>
            <pc:sldMk cId="2155997825" sldId="37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4:14.051" v="145" actId="1076"/>
          <ac:spMkLst>
            <pc:docMk/>
            <pc:sldMk cId="2155997825" sldId="375"/>
            <ac:spMk id="51" creationId="{F913A60D-2783-4406-9452-4739CB932FC8}"/>
          </ac:spMkLst>
        </pc:spChg>
      </pc:sldChg>
      <pc:sldChg chg="modSp">
        <pc:chgData name="Mery Carrasco Mauricio (Codelco-Casa Matriz)" userId="S::mmery004@codelco.cl::a0378191-74de-4d59-9b37-aa421303daba" providerId="AD" clId="Web-{B0AFAC15-505D-2309-850A-A6705A284F93}" dt="2021-04-26T12:27:03.163" v="176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B0AFAC15-505D-2309-850A-A6705A284F93}" dt="2021-04-26T12:27:03.163" v="176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26:52.085" v="175"/>
          <ac:spMkLst>
            <pc:docMk/>
            <pc:sldMk cId="1544981574" sldId="409"/>
            <ac:spMk id="39" creationId="{92D09D5F-B4BB-4B26-A56A-D76176A78E5D}"/>
          </ac:spMkLst>
        </pc:spChg>
      </pc:sldChg>
      <pc:sldChg chg="modSp">
        <pc:chgData name="Mery Carrasco Mauricio (Codelco-Casa Matriz)" userId="S::mmery004@codelco.cl::a0378191-74de-4d59-9b37-aa421303daba" providerId="AD" clId="Web-{B0AFAC15-505D-2309-850A-A6705A284F93}" dt="2021-04-26T12:05:51.467" v="39" actId="2057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B0AFAC15-505D-2309-850A-A6705A284F93}" dt="2021-04-26T12:05:51.467" v="39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Mery Carrasco Mauricio (Codelco-Casa Matriz)" userId="S::mmery004@codelco.cl::a0378191-74de-4d59-9b37-aa421303daba" providerId="AD" clId="Web-{B0AFAC15-505D-2309-850A-A6705A284F93}" dt="2021-04-26T12:04:27.137" v="35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06" v="18"/>
        <pc:sldMkLst>
          <pc:docMk/>
          <pc:sldMk cId="3216171305" sldId="458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059" v="15"/>
        <pc:sldMkLst>
          <pc:docMk/>
          <pc:sldMk cId="3704017336" sldId="460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5.981" v="11"/>
        <pc:sldMkLst>
          <pc:docMk/>
          <pc:sldMk cId="907356848" sldId="461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52" v="22"/>
        <pc:sldMkLst>
          <pc:docMk/>
          <pc:sldMk cId="3619697702" sldId="465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074" v="16"/>
        <pc:sldMkLst>
          <pc:docMk/>
          <pc:sldMk cId="1156667839" sldId="468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215" v="25"/>
        <pc:sldMkLst>
          <pc:docMk/>
          <pc:sldMk cId="3720476170" sldId="470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37" v="21"/>
        <pc:sldMkLst>
          <pc:docMk/>
          <pc:sldMk cId="2396319988" sldId="471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246" v="26"/>
        <pc:sldMkLst>
          <pc:docMk/>
          <pc:sldMk cId="2685714109" sldId="472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262" v="27"/>
        <pc:sldMkLst>
          <pc:docMk/>
          <pc:sldMk cId="4288567005" sldId="473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277" v="28"/>
        <pc:sldMkLst>
          <pc:docMk/>
          <pc:sldMk cId="3536291820" sldId="474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99" v="24"/>
        <pc:sldMkLst>
          <pc:docMk/>
          <pc:sldMk cId="141198979" sldId="475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027" v="14"/>
        <pc:sldMkLst>
          <pc:docMk/>
          <pc:sldMk cId="4120835215" sldId="481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5.949" v="9"/>
        <pc:sldMkLst>
          <pc:docMk/>
          <pc:sldMk cId="1139246217" sldId="482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06" v="19"/>
        <pc:sldMkLst>
          <pc:docMk/>
          <pc:sldMk cId="483616472" sldId="483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21" v="20"/>
        <pc:sldMkLst>
          <pc:docMk/>
          <pc:sldMk cId="3181890570" sldId="484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012" v="13"/>
        <pc:sldMkLst>
          <pc:docMk/>
          <pc:sldMk cId="2912461427" sldId="485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5.965" v="10"/>
        <pc:sldMkLst>
          <pc:docMk/>
          <pc:sldMk cId="2817932794" sldId="486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5.996" v="12"/>
        <pc:sldMkLst>
          <pc:docMk/>
          <pc:sldMk cId="4168263200" sldId="487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090" v="17"/>
        <pc:sldMkLst>
          <pc:docMk/>
          <pc:sldMk cId="3375657157" sldId="491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6.152" v="23"/>
        <pc:sldMkLst>
          <pc:docMk/>
          <pc:sldMk cId="1595313586" sldId="492"/>
        </pc:sldMkLst>
      </pc:sldChg>
      <pc:sldChg chg="del">
        <pc:chgData name="Mery Carrasco Mauricio (Codelco-Casa Matriz)" userId="S::mmery004@codelco.cl::a0378191-74de-4d59-9b37-aa421303daba" providerId="AD" clId="Web-{B0AFAC15-505D-2309-850A-A6705A284F93}" dt="2021-04-26T12:04:05.934" v="8"/>
        <pc:sldMkLst>
          <pc:docMk/>
          <pc:sldMk cId="2558767317" sldId="495"/>
        </pc:sldMkLst>
      </pc:sldChg>
    </pc:docChg>
  </pc:docChgLst>
  <pc:docChgLst>
    <pc:chgData name="Valido Mora Juan (Codelco-Casa Matriz)" userId="S::jvali001@codelco.cl::41763420-9600-40de-a518-8d4e0996242c" providerId="AD" clId="Web-{50671637-2623-565E-11A7-7DE73B4488C2}"/>
    <pc:docChg chg="addSld delSld modSld">
      <pc:chgData name="Valido Mora Juan (Codelco-Casa Matriz)" userId="S::jvali001@codelco.cl::41763420-9600-40de-a518-8d4e0996242c" providerId="AD" clId="Web-{50671637-2623-565E-11A7-7DE73B4488C2}" dt="2021-01-14T14:03:09.167" v="56"/>
      <pc:docMkLst>
        <pc:docMk/>
      </pc:docMkLst>
      <pc:sldChg chg="modSp">
        <pc:chgData name="Valido Mora Juan (Codelco-Casa Matriz)" userId="S::jvali001@codelco.cl::41763420-9600-40de-a518-8d4e0996242c" providerId="AD" clId="Web-{50671637-2623-565E-11A7-7DE73B4488C2}" dt="2021-01-14T13:50:23.913" v="4" actId="20577"/>
        <pc:sldMkLst>
          <pc:docMk/>
          <pc:sldMk cId="474715341" sldId="344"/>
        </pc:sldMkLst>
        <pc:spChg chg="mod">
          <ac:chgData name="Valido Mora Juan (Codelco-Casa Matriz)" userId="S::jvali001@codelco.cl::41763420-9600-40de-a518-8d4e0996242c" providerId="AD" clId="Web-{50671637-2623-565E-11A7-7DE73B4488C2}" dt="2021-01-14T13:50:23.913" v="4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addSp modSp">
        <pc:chgData name="Valido Mora Juan (Codelco-Casa Matriz)" userId="S::jvali001@codelco.cl::41763420-9600-40de-a518-8d4e0996242c" providerId="AD" clId="Web-{50671637-2623-565E-11A7-7DE73B4488C2}" dt="2021-01-14T13:59:24.270" v="51" actId="1076"/>
        <pc:sldMkLst>
          <pc:docMk/>
          <pc:sldMk cId="772336465" sldId="346"/>
        </pc:sldMkLst>
        <pc:spChg chg="add mod">
          <ac:chgData name="Valido Mora Juan (Codelco-Casa Matriz)" userId="S::jvali001@codelco.cl::41763420-9600-40de-a518-8d4e0996242c" providerId="AD" clId="Web-{50671637-2623-565E-11A7-7DE73B4488C2}" dt="2021-01-14T13:59:24.270" v="51" actId="1076"/>
          <ac:spMkLst>
            <pc:docMk/>
            <pc:sldMk cId="772336465" sldId="346"/>
            <ac:spMk id="3" creationId="{3262E134-23C0-4873-80BC-8C49E3C2C935}"/>
          </ac:spMkLst>
        </pc:spChg>
        <pc:picChg chg="mod">
          <ac:chgData name="Valido Mora Juan (Codelco-Casa Matriz)" userId="S::jvali001@codelco.cl::41763420-9600-40de-a518-8d4e0996242c" providerId="AD" clId="Web-{50671637-2623-565E-11A7-7DE73B4488C2}" dt="2021-01-14T13:59:24.270" v="50" actId="1076"/>
          <ac:picMkLst>
            <pc:docMk/>
            <pc:sldMk cId="772336465" sldId="346"/>
            <ac:picMk id="2" creationId="{E7DDD9D2-C80A-46E2-8279-276FA9DB258D}"/>
          </ac:picMkLst>
        </pc:picChg>
      </pc:sldChg>
      <pc:sldChg chg="delSp modSp">
        <pc:chgData name="Valido Mora Juan (Codelco-Casa Matriz)" userId="S::jvali001@codelco.cl::41763420-9600-40de-a518-8d4e0996242c" providerId="AD" clId="Web-{50671637-2623-565E-11A7-7DE73B4488C2}" dt="2021-01-14T13:52:26.119" v="32" actId="1076"/>
        <pc:sldMkLst>
          <pc:docMk/>
          <pc:sldMk cId="2341050607" sldId="438"/>
        </pc:sldMkLst>
        <pc:spChg chg="del">
          <ac:chgData name="Valido Mora Juan (Codelco-Casa Matriz)" userId="S::jvali001@codelco.cl::41763420-9600-40de-a518-8d4e0996242c" providerId="AD" clId="Web-{50671637-2623-565E-11A7-7DE73B4488C2}" dt="2021-01-14T13:52:11.666" v="24"/>
          <ac:spMkLst>
            <pc:docMk/>
            <pc:sldMk cId="2341050607" sldId="438"/>
            <ac:spMk id="4" creationId="{C1574ACF-5ACF-405C-8770-FF8FE03869C4}"/>
          </ac:spMkLst>
        </pc:spChg>
        <pc:grpChg chg="mod">
          <ac:chgData name="Valido Mora Juan (Codelco-Casa Matriz)" userId="S::jvali001@codelco.cl::41763420-9600-40de-a518-8d4e0996242c" providerId="AD" clId="Web-{50671637-2623-565E-11A7-7DE73B4488C2}" dt="2021-01-14T13:52:25.885" v="27" actId="1076"/>
          <ac:grpSpMkLst>
            <pc:docMk/>
            <pc:sldMk cId="2341050607" sldId="438"/>
            <ac:grpSpMk id="7" creationId="{00000000-0000-0000-0000-000000000000}"/>
          </ac:grpSpMkLst>
        </pc:grpChg>
        <pc:grpChg chg="mod">
          <ac:chgData name="Valido Mora Juan (Codelco-Casa Matriz)" userId="S::jvali001@codelco.cl::41763420-9600-40de-a518-8d4e0996242c" providerId="AD" clId="Web-{50671637-2623-565E-11A7-7DE73B4488C2}" dt="2021-01-14T13:52:25.994" v="29" actId="1076"/>
          <ac:grpSpMkLst>
            <pc:docMk/>
            <pc:sldMk cId="2341050607" sldId="438"/>
            <ac:grpSpMk id="12" creationId="{00000000-0000-0000-0000-000000000000}"/>
          </ac:grpSpMkLst>
        </pc:grpChg>
        <pc:grpChg chg="mod">
          <ac:chgData name="Valido Mora Juan (Codelco-Casa Matriz)" userId="S::jvali001@codelco.cl::41763420-9600-40de-a518-8d4e0996242c" providerId="AD" clId="Web-{50671637-2623-565E-11A7-7DE73B4488C2}" dt="2021-01-14T13:52:26.072" v="31" actId="1076"/>
          <ac:grpSpMkLst>
            <pc:docMk/>
            <pc:sldMk cId="2341050607" sldId="438"/>
            <ac:grpSpMk id="17" creationId="{00000000-0000-0000-0000-000000000000}"/>
          </ac:grpSpMkLst>
        </pc:grpChg>
        <pc:graphicFrameChg chg="mod">
          <ac:chgData name="Valido Mora Juan (Codelco-Casa Matriz)" userId="S::jvali001@codelco.cl::41763420-9600-40de-a518-8d4e0996242c" providerId="AD" clId="Web-{50671637-2623-565E-11A7-7DE73B4488C2}" dt="2021-01-14T13:52:25.791" v="25" actId="1076"/>
          <ac:graphicFrameMkLst>
            <pc:docMk/>
            <pc:sldMk cId="2341050607" sldId="438"/>
            <ac:graphicFrameMk id="5" creationId="{00000000-0000-0000-0000-000000000000}"/>
          </ac:graphicFrameMkLst>
        </pc:graphicFrameChg>
        <pc:graphicFrameChg chg="mod">
          <ac:chgData name="Valido Mora Juan (Codelco-Casa Matriz)" userId="S::jvali001@codelco.cl::41763420-9600-40de-a518-8d4e0996242c" providerId="AD" clId="Web-{50671637-2623-565E-11A7-7DE73B4488C2}" dt="2021-01-14T13:52:25.916" v="28" actId="1076"/>
          <ac:graphicFrameMkLst>
            <pc:docMk/>
            <pc:sldMk cId="2341050607" sldId="438"/>
            <ac:graphicFrameMk id="11" creationId="{00000000-0000-0000-0000-000000000000}"/>
          </ac:graphicFrameMkLst>
        </pc:graphicFrameChg>
        <pc:graphicFrameChg chg="mod">
          <ac:chgData name="Valido Mora Juan (Codelco-Casa Matriz)" userId="S::jvali001@codelco.cl::41763420-9600-40de-a518-8d4e0996242c" providerId="AD" clId="Web-{50671637-2623-565E-11A7-7DE73B4488C2}" dt="2021-01-14T13:52:26.119" v="32" actId="1076"/>
          <ac:graphicFrameMkLst>
            <pc:docMk/>
            <pc:sldMk cId="2341050607" sldId="438"/>
            <ac:graphicFrameMk id="20" creationId="{00000000-0000-0000-0000-000000000000}"/>
          </ac:graphicFrameMkLst>
        </pc:graphicFrameChg>
        <pc:picChg chg="mod">
          <ac:chgData name="Valido Mora Juan (Codelco-Casa Matriz)" userId="S::jvali001@codelco.cl::41763420-9600-40de-a518-8d4e0996242c" providerId="AD" clId="Web-{50671637-2623-565E-11A7-7DE73B4488C2}" dt="2021-01-14T13:52:25.807" v="26" actId="1076"/>
          <ac:picMkLst>
            <pc:docMk/>
            <pc:sldMk cId="2341050607" sldId="438"/>
            <ac:picMk id="6" creationId="{00000000-0000-0000-0000-000000000000}"/>
          </ac:picMkLst>
        </pc:picChg>
        <pc:picChg chg="mod">
          <ac:chgData name="Valido Mora Juan (Codelco-Casa Matriz)" userId="S::jvali001@codelco.cl::41763420-9600-40de-a518-8d4e0996242c" providerId="AD" clId="Web-{50671637-2623-565E-11A7-7DE73B4488C2}" dt="2021-01-14T13:52:26.025" v="30" actId="1076"/>
          <ac:picMkLst>
            <pc:docMk/>
            <pc:sldMk cId="2341050607" sldId="438"/>
            <ac:picMk id="16" creationId="{00000000-0000-0000-0000-000000000000}"/>
          </ac:picMkLst>
        </pc:picChg>
      </pc:sldChg>
      <pc:sldChg chg="delSp modSp">
        <pc:chgData name="Valido Mora Juan (Codelco-Casa Matriz)" userId="S::jvali001@codelco.cl::41763420-9600-40de-a518-8d4e0996242c" providerId="AD" clId="Web-{50671637-2623-565E-11A7-7DE73B4488C2}" dt="2021-01-14T13:52:54.698" v="36" actId="14100"/>
        <pc:sldMkLst>
          <pc:docMk/>
          <pc:sldMk cId="1552965294" sldId="439"/>
        </pc:sldMkLst>
        <pc:spChg chg="del">
          <ac:chgData name="Valido Mora Juan (Codelco-Casa Matriz)" userId="S::jvali001@codelco.cl::41763420-9600-40de-a518-8d4e0996242c" providerId="AD" clId="Web-{50671637-2623-565E-11A7-7DE73B4488C2}" dt="2021-01-14T13:50:09.631" v="0"/>
          <ac:spMkLst>
            <pc:docMk/>
            <pc:sldMk cId="1552965294" sldId="439"/>
            <ac:spMk id="4" creationId="{C1574ACF-5ACF-405C-8770-FF8FE03869C4}"/>
          </ac:spMkLst>
        </pc:spChg>
        <pc:spChg chg="mod">
          <ac:chgData name="Valido Mora Juan (Codelco-Casa Matriz)" userId="S::jvali001@codelco.cl::41763420-9600-40de-a518-8d4e0996242c" providerId="AD" clId="Web-{50671637-2623-565E-11A7-7DE73B4488C2}" dt="2021-01-14T13:52:54.698" v="36" actId="14100"/>
          <ac:spMkLst>
            <pc:docMk/>
            <pc:sldMk cId="1552965294" sldId="439"/>
            <ac:spMk id="39" creationId="{00000000-0000-0000-0000-000000000000}"/>
          </ac:spMkLst>
        </pc:spChg>
        <pc:picChg chg="mod">
          <ac:chgData name="Valido Mora Juan (Codelco-Casa Matriz)" userId="S::jvali001@codelco.cl::41763420-9600-40de-a518-8d4e0996242c" providerId="AD" clId="Web-{50671637-2623-565E-11A7-7DE73B4488C2}" dt="2021-01-14T13:52:42.385" v="35" actId="1076"/>
          <ac:picMkLst>
            <pc:docMk/>
            <pc:sldMk cId="1552965294" sldId="439"/>
            <ac:picMk id="40" creationId="{00000000-0000-0000-0000-000000000000}"/>
          </ac:picMkLst>
        </pc:picChg>
      </pc:sldChg>
      <pc:sldChg chg="delSp add del replId">
        <pc:chgData name="Valido Mora Juan (Codelco-Casa Matriz)" userId="S::jvali001@codelco.cl::41763420-9600-40de-a518-8d4e0996242c" providerId="AD" clId="Web-{50671637-2623-565E-11A7-7DE73B4488C2}" dt="2021-01-14T14:03:09.167" v="56"/>
        <pc:sldMkLst>
          <pc:docMk/>
          <pc:sldMk cId="3466268859" sldId="440"/>
        </pc:sldMkLst>
        <pc:spChg chg="del">
          <ac:chgData name="Valido Mora Juan (Codelco-Casa Matriz)" userId="S::jvali001@codelco.cl::41763420-9600-40de-a518-8d4e0996242c" providerId="AD" clId="Web-{50671637-2623-565E-11A7-7DE73B4488C2}" dt="2021-01-14T14:02:18.243" v="55"/>
          <ac:spMkLst>
            <pc:docMk/>
            <pc:sldMk cId="3466268859" sldId="440"/>
            <ac:spMk id="38" creationId="{00000000-0000-0000-0000-000000000000}"/>
          </ac:spMkLst>
        </pc:spChg>
        <pc:spChg chg="del">
          <ac:chgData name="Valido Mora Juan (Codelco-Casa Matriz)" userId="S::jvali001@codelco.cl::41763420-9600-40de-a518-8d4e0996242c" providerId="AD" clId="Web-{50671637-2623-565E-11A7-7DE73B4488C2}" dt="2021-01-14T14:02:15.243" v="53"/>
          <ac:spMkLst>
            <pc:docMk/>
            <pc:sldMk cId="3466268859" sldId="440"/>
            <ac:spMk id="39" creationId="{00000000-0000-0000-0000-000000000000}"/>
          </ac:spMkLst>
        </pc:spChg>
        <pc:picChg chg="del">
          <ac:chgData name="Valido Mora Juan (Codelco-Casa Matriz)" userId="S::jvali001@codelco.cl::41763420-9600-40de-a518-8d4e0996242c" providerId="AD" clId="Web-{50671637-2623-565E-11A7-7DE73B4488C2}" dt="2021-01-14T14:02:15.243" v="54"/>
          <ac:picMkLst>
            <pc:docMk/>
            <pc:sldMk cId="3466268859" sldId="440"/>
            <ac:picMk id="40" creationId="{00000000-0000-0000-0000-000000000000}"/>
          </ac:picMkLst>
        </pc:picChg>
      </pc:sldChg>
    </pc:docChg>
  </pc:docChgLst>
  <pc:docChgLst>
    <pc:chgData name="Huidobro Matamala Juan (Codelco-Chuquicamata)" userId="S::jhuid001@codelco.cl::afdd00f7-4d72-4a9e-8227-cd11f72dd823" providerId="AD" clId="Web-{826AB2DF-2983-D9D2-FE67-6917517C2951}"/>
    <pc:docChg chg="modSld">
      <pc:chgData name="Huidobro Matamala Juan (Codelco-Chuquicamata)" userId="S::jhuid001@codelco.cl::afdd00f7-4d72-4a9e-8227-cd11f72dd823" providerId="AD" clId="Web-{826AB2DF-2983-D9D2-FE67-6917517C2951}" dt="2020-11-04T22:14:17.055" v="4"/>
      <pc:docMkLst>
        <pc:docMk/>
      </pc:docMkLst>
      <pc:sldChg chg="addSp">
        <pc:chgData name="Huidobro Matamala Juan (Codelco-Chuquicamata)" userId="S::jhuid001@codelco.cl::afdd00f7-4d72-4a9e-8227-cd11f72dd823" providerId="AD" clId="Web-{826AB2DF-2983-D9D2-FE67-6917517C2951}" dt="2020-11-04T22:14:17.055" v="4"/>
        <pc:sldMkLst>
          <pc:docMk/>
          <pc:sldMk cId="1943212446" sldId="416"/>
        </pc:sldMkLst>
        <pc:inkChg chg="add">
          <ac:chgData name="Huidobro Matamala Juan (Codelco-Chuquicamata)" userId="S::jhuid001@codelco.cl::afdd00f7-4d72-4a9e-8227-cd11f72dd823" providerId="AD" clId="Web-{826AB2DF-2983-D9D2-FE67-6917517C2951}" dt="2020-11-04T21:56:05.259" v="0"/>
          <ac:inkMkLst>
            <pc:docMk/>
            <pc:sldMk cId="1943212446" sldId="416"/>
            <ac:inkMk id="2" creationId="{8B5EB74C-C94F-4697-8CA2-5C7B414A4FE2}"/>
          </ac:inkMkLst>
        </pc:inkChg>
        <pc:inkChg chg="add">
          <ac:chgData name="Huidobro Matamala Juan (Codelco-Chuquicamata)" userId="S::jhuid001@codelco.cl::afdd00f7-4d72-4a9e-8227-cd11f72dd823" providerId="AD" clId="Web-{826AB2DF-2983-D9D2-FE67-6917517C2951}" dt="2020-11-04T22:05:08.336" v="1"/>
          <ac:inkMkLst>
            <pc:docMk/>
            <pc:sldMk cId="1943212446" sldId="416"/>
            <ac:inkMk id="4" creationId="{DAD1FCCD-1CB7-4C56-99F9-0F887D480E08}"/>
          </ac:inkMkLst>
        </pc:inkChg>
        <pc:inkChg chg="add">
          <ac:chgData name="Huidobro Matamala Juan (Codelco-Chuquicamata)" userId="S::jhuid001@codelco.cl::afdd00f7-4d72-4a9e-8227-cd11f72dd823" providerId="AD" clId="Web-{826AB2DF-2983-D9D2-FE67-6917517C2951}" dt="2020-11-04T22:05:09.805" v="2"/>
          <ac:inkMkLst>
            <pc:docMk/>
            <pc:sldMk cId="1943212446" sldId="416"/>
            <ac:inkMk id="5" creationId="{F8B7083C-5F9C-42F4-8BBA-778D92161AE1}"/>
          </ac:inkMkLst>
        </pc:inkChg>
        <pc:inkChg chg="add">
          <ac:chgData name="Huidobro Matamala Juan (Codelco-Chuquicamata)" userId="S::jhuid001@codelco.cl::afdd00f7-4d72-4a9e-8227-cd11f72dd823" providerId="AD" clId="Web-{826AB2DF-2983-D9D2-FE67-6917517C2951}" dt="2020-11-04T22:10:47.346" v="3"/>
          <ac:inkMkLst>
            <pc:docMk/>
            <pc:sldMk cId="1943212446" sldId="416"/>
            <ac:inkMk id="6" creationId="{79C3F197-265F-4034-84D6-1E6A41B22E09}"/>
          </ac:inkMkLst>
        </pc:inkChg>
        <pc:inkChg chg="add">
          <ac:chgData name="Huidobro Matamala Juan (Codelco-Chuquicamata)" userId="S::jhuid001@codelco.cl::afdd00f7-4d72-4a9e-8227-cd11f72dd823" providerId="AD" clId="Web-{826AB2DF-2983-D9D2-FE67-6917517C2951}" dt="2020-11-04T22:14:17.055" v="4"/>
          <ac:inkMkLst>
            <pc:docMk/>
            <pc:sldMk cId="1943212446" sldId="416"/>
            <ac:inkMk id="8" creationId="{11AE8B6E-E85C-4FD2-8AE4-4D68F12BFCF4}"/>
          </ac:inkMkLst>
        </pc:inkChg>
      </pc:sldChg>
    </pc:docChg>
  </pc:docChgLst>
  <pc:docChgLst>
    <pc:chgData name="Allende Bustamante Jose (Codelco-Casa Matriz)" userId="S::jalle011@codelco.cl::54345eee-8770-43bf-b080-e3e333067d62" providerId="AD" clId="Web-{5FC3376A-2C03-B55E-036E-D9389510FC59}"/>
    <pc:docChg chg="addSld">
      <pc:chgData name="Allende Bustamante Jose (Codelco-Casa Matriz)" userId="S::jalle011@codelco.cl::54345eee-8770-43bf-b080-e3e333067d62" providerId="AD" clId="Web-{5FC3376A-2C03-B55E-036E-D9389510FC59}" dt="2021-01-28T14:29:34.686" v="0"/>
      <pc:docMkLst>
        <pc:docMk/>
      </pc:docMkLst>
      <pc:sldChg chg="new">
        <pc:chgData name="Allende Bustamante Jose (Codelco-Casa Matriz)" userId="S::jalle011@codelco.cl::54345eee-8770-43bf-b080-e3e333067d62" providerId="AD" clId="Web-{5FC3376A-2C03-B55E-036E-D9389510FC59}" dt="2021-01-28T14:29:34.686" v="0"/>
        <pc:sldMkLst>
          <pc:docMk/>
          <pc:sldMk cId="2927933070" sldId="455"/>
        </pc:sldMkLst>
      </pc:sldChg>
    </pc:docChg>
  </pc:docChgLst>
  <pc:docChgLst>
    <pc:chgData name="Allende Bustamante Jose (Codelco-Casa Matriz)" userId="S::jalle011@codelco.cl::54345eee-8770-43bf-b080-e3e333067d62" providerId="AD" clId="Web-{1F03839B-1DD1-4A2B-7F50-7EE09A4E3F69}"/>
    <pc:docChg chg="modSld">
      <pc:chgData name="Allende Bustamante Jose (Codelco-Casa Matriz)" userId="S::jalle011@codelco.cl::54345eee-8770-43bf-b080-e3e333067d62" providerId="AD" clId="Web-{1F03839B-1DD1-4A2B-7F50-7EE09A4E3F69}" dt="2020-10-22T14:40:32.289" v="135" actId="1076"/>
      <pc:docMkLst>
        <pc:docMk/>
      </pc:docMkLst>
      <pc:sldChg chg="delSp">
        <pc:chgData name="Allende Bustamante Jose (Codelco-Casa Matriz)" userId="S::jalle011@codelco.cl::54345eee-8770-43bf-b080-e3e333067d62" providerId="AD" clId="Web-{1F03839B-1DD1-4A2B-7F50-7EE09A4E3F69}" dt="2020-10-22T14:35:16.311" v="0"/>
        <pc:sldMkLst>
          <pc:docMk/>
          <pc:sldMk cId="2155997825" sldId="375"/>
        </pc:sldMkLst>
        <pc:spChg chg="del">
          <ac:chgData name="Allende Bustamante Jose (Codelco-Casa Matriz)" userId="S::jalle011@codelco.cl::54345eee-8770-43bf-b080-e3e333067d62" providerId="AD" clId="Web-{1F03839B-1DD1-4A2B-7F50-7EE09A4E3F69}" dt="2020-10-22T14:35:16.311" v="0"/>
          <ac:spMkLst>
            <pc:docMk/>
            <pc:sldMk cId="2155997825" sldId="375"/>
            <ac:spMk id="45" creationId="{F0633E82-135E-4804-8AB4-AA702AEDAE48}"/>
          </ac:spMkLst>
        </pc:spChg>
      </pc:sldChg>
      <pc:sldChg chg="modSp">
        <pc:chgData name="Allende Bustamante Jose (Codelco-Casa Matriz)" userId="S::jalle011@codelco.cl::54345eee-8770-43bf-b080-e3e333067d62" providerId="AD" clId="Web-{1F03839B-1DD1-4A2B-7F50-7EE09A4E3F69}" dt="2020-10-22T14:40:32.289" v="135" actId="1076"/>
        <pc:sldMkLst>
          <pc:docMk/>
          <pc:sldMk cId="3508652071" sldId="423"/>
        </pc:sldMkLst>
        <pc:spChg chg="mod">
          <ac:chgData name="Allende Bustamante Jose (Codelco-Casa Matriz)" userId="S::jalle011@codelco.cl::54345eee-8770-43bf-b080-e3e333067d62" providerId="AD" clId="Web-{1F03839B-1DD1-4A2B-7F50-7EE09A4E3F69}" dt="2020-10-22T14:35:24.421" v="1" actId="1076"/>
          <ac:spMkLst>
            <pc:docMk/>
            <pc:sldMk cId="3508652071" sldId="423"/>
            <ac:spMk id="2" creationId="{1DC2E19B-BA47-49FF-B00E-A1B758697620}"/>
          </ac:spMkLst>
        </pc:spChg>
        <pc:spChg chg="mod">
          <ac:chgData name="Allende Bustamante Jose (Codelco-Casa Matriz)" userId="S::jalle011@codelco.cl::54345eee-8770-43bf-b080-e3e333067d62" providerId="AD" clId="Web-{1F03839B-1DD1-4A2B-7F50-7EE09A4E3F69}" dt="2020-10-22T14:35:36.031" v="42" actId="20577"/>
          <ac:spMkLst>
            <pc:docMk/>
            <pc:sldMk cId="3508652071" sldId="423"/>
            <ac:spMk id="3" creationId="{4A16D269-8331-4792-A5D5-DFFC77A62E82}"/>
          </ac:spMkLst>
        </pc:spChg>
        <pc:spChg chg="mod">
          <ac:chgData name="Allende Bustamante Jose (Codelco-Casa Matriz)" userId="S::jalle011@codelco.cl::54345eee-8770-43bf-b080-e3e333067d62" providerId="AD" clId="Web-{1F03839B-1DD1-4A2B-7F50-7EE09A4E3F69}" dt="2020-10-22T14:38:11.926" v="113" actId="20577"/>
          <ac:spMkLst>
            <pc:docMk/>
            <pc:sldMk cId="3508652071" sldId="423"/>
            <ac:spMk id="7" creationId="{0B1AB149-E3D4-4021-9880-1E1EB3B15FDE}"/>
          </ac:spMkLst>
        </pc:spChg>
        <pc:spChg chg="mod">
          <ac:chgData name="Allende Bustamante Jose (Codelco-Casa Matriz)" userId="S::jalle011@codelco.cl::54345eee-8770-43bf-b080-e3e333067d62" providerId="AD" clId="Web-{1F03839B-1DD1-4A2B-7F50-7EE09A4E3F69}" dt="2020-10-22T14:40:32.289" v="135" actId="1076"/>
          <ac:spMkLst>
            <pc:docMk/>
            <pc:sldMk cId="3508652071" sldId="423"/>
            <ac:spMk id="8" creationId="{55F757BF-FB19-4D7E-A783-708605F322E6}"/>
          </ac:spMkLst>
        </pc:spChg>
        <pc:picChg chg="mod">
          <ac:chgData name="Allende Bustamante Jose (Codelco-Casa Matriz)" userId="S::jalle011@codelco.cl::54345eee-8770-43bf-b080-e3e333067d62" providerId="AD" clId="Web-{1F03839B-1DD1-4A2B-7F50-7EE09A4E3F69}" dt="2020-10-22T14:37:56.644" v="110" actId="1076"/>
          <ac:picMkLst>
            <pc:docMk/>
            <pc:sldMk cId="3508652071" sldId="423"/>
            <ac:picMk id="117" creationId="{98674596-1A7D-4A49-AFC9-00284D50B5FA}"/>
          </ac:picMkLst>
        </pc:picChg>
      </pc:sldChg>
    </pc:docChg>
  </pc:docChgLst>
  <pc:docChgLst>
    <pc:chgData name="Sepulveda Masferrer Ivan (Codelco-Casa Matriz)" userId="S::isepu004@codelco.cl::f0567dff-420e-4d09-834c-804720bcdca6" providerId="AD" clId="Web-{E6BC4106-1EEB-4EC6-8AB9-7AD0D24C7477}"/>
    <pc:docChg chg="modSld">
      <pc:chgData name="Sepulveda Masferrer Ivan (Codelco-Casa Matriz)" userId="S::isepu004@codelco.cl::f0567dff-420e-4d09-834c-804720bcdca6" providerId="AD" clId="Web-{E6BC4106-1EEB-4EC6-8AB9-7AD0D24C7477}" dt="2022-05-02T13:14:02.922" v="131" actId="20577"/>
      <pc:docMkLst>
        <pc:docMk/>
      </pc:docMkLst>
      <pc:sldChg chg="addSp modSp">
        <pc:chgData name="Sepulveda Masferrer Ivan (Codelco-Casa Matriz)" userId="S::isepu004@codelco.cl::f0567dff-420e-4d09-834c-804720bcdca6" providerId="AD" clId="Web-{E6BC4106-1EEB-4EC6-8AB9-7AD0D24C7477}" dt="2022-05-02T13:14:02.922" v="131" actId="20577"/>
        <pc:sldMkLst>
          <pc:docMk/>
          <pc:sldMk cId="3569222143" sldId="669"/>
        </pc:sldMkLst>
        <pc:spChg chg="add mod">
          <ac:chgData name="Sepulveda Masferrer Ivan (Codelco-Casa Matriz)" userId="S::isepu004@codelco.cl::f0567dff-420e-4d09-834c-804720bcdca6" providerId="AD" clId="Web-{E6BC4106-1EEB-4EC6-8AB9-7AD0D24C7477}" dt="2022-05-02T12:59:42.294" v="23"/>
          <ac:spMkLst>
            <pc:docMk/>
            <pc:sldMk cId="3569222143" sldId="669"/>
            <ac:spMk id="3" creationId="{66F4D6A1-8F39-AEA9-2E61-3D5B42D2A56E}"/>
          </ac:spMkLst>
        </pc:spChg>
        <pc:spChg chg="mod">
          <ac:chgData name="Sepulveda Masferrer Ivan (Codelco-Casa Matriz)" userId="S::isepu004@codelco.cl::f0567dff-420e-4d09-834c-804720bcdca6" providerId="AD" clId="Web-{E6BC4106-1EEB-4EC6-8AB9-7AD0D24C7477}" dt="2022-05-02T13:00:36.889" v="34" actId="20577"/>
          <ac:spMkLst>
            <pc:docMk/>
            <pc:sldMk cId="3569222143" sldId="669"/>
            <ac:spMk id="10" creationId="{B2ECAF9D-6A95-AEA1-614F-DC9B1BB3D08B}"/>
          </ac:spMkLst>
        </pc:spChg>
        <pc:spChg chg="add mod">
          <ac:chgData name="Sepulveda Masferrer Ivan (Codelco-Casa Matriz)" userId="S::isepu004@codelco.cl::f0567dff-420e-4d09-834c-804720bcdca6" providerId="AD" clId="Web-{E6BC4106-1EEB-4EC6-8AB9-7AD0D24C7477}" dt="2022-05-02T13:00:36.998" v="38" actId="20577"/>
          <ac:spMkLst>
            <pc:docMk/>
            <pc:sldMk cId="3569222143" sldId="669"/>
            <ac:spMk id="12" creationId="{FF05AE1F-B31C-CAD8-EAE1-89967EA65CD3}"/>
          </ac:spMkLst>
        </pc:spChg>
        <pc:spChg chg="add mod">
          <ac:chgData name="Sepulveda Masferrer Ivan (Codelco-Casa Matriz)" userId="S::isepu004@codelco.cl::f0567dff-420e-4d09-834c-804720bcdca6" providerId="AD" clId="Web-{E6BC4106-1EEB-4EC6-8AB9-7AD0D24C7477}" dt="2022-05-02T13:01:03.155" v="39" actId="1076"/>
          <ac:spMkLst>
            <pc:docMk/>
            <pc:sldMk cId="3569222143" sldId="669"/>
            <ac:spMk id="13" creationId="{5BCEAC2B-25DA-B76F-F905-B4537AA9D901}"/>
          </ac:spMkLst>
        </pc:spChg>
        <pc:spChg chg="add mod">
          <ac:chgData name="Sepulveda Masferrer Ivan (Codelco-Casa Matriz)" userId="S::isepu004@codelco.cl::f0567dff-420e-4d09-834c-804720bcdca6" providerId="AD" clId="Web-{E6BC4106-1EEB-4EC6-8AB9-7AD0D24C7477}" dt="2022-05-02T13:14:02.922" v="131" actId="20577"/>
          <ac:spMkLst>
            <pc:docMk/>
            <pc:sldMk cId="3569222143" sldId="669"/>
            <ac:spMk id="14" creationId="{F1C8AAC4-45B2-89EA-6541-19776C437E5C}"/>
          </ac:spMkLst>
        </pc:spChg>
      </pc:sldChg>
    </pc:docChg>
  </pc:docChgLst>
  <pc:docChgLst>
    <pc:chgData name="Carrillo Rojas Daniela (Codelco-Chuquicamata)" userId="S::dcarr014@codelco.cl::b6c6fc0c-fc39-4bf0-8e9d-fb82d681f847" providerId="AD" clId="Web-{22E01D43-6E7D-4123-27DA-418390AE1E22}"/>
    <pc:docChg chg="modSld">
      <pc:chgData name="Carrillo Rojas Daniela (Codelco-Chuquicamata)" userId="S::dcarr014@codelco.cl::b6c6fc0c-fc39-4bf0-8e9d-fb82d681f847" providerId="AD" clId="Web-{22E01D43-6E7D-4123-27DA-418390AE1E22}" dt="2021-01-14T14:37:28.074" v="1"/>
      <pc:docMkLst>
        <pc:docMk/>
      </pc:docMkLst>
      <pc:sldChg chg="mod modShow">
        <pc:chgData name="Carrillo Rojas Daniela (Codelco-Chuquicamata)" userId="S::dcarr014@codelco.cl::b6c6fc0c-fc39-4bf0-8e9d-fb82d681f847" providerId="AD" clId="Web-{22E01D43-6E7D-4123-27DA-418390AE1E22}" dt="2021-01-14T14:37:20.277" v="0"/>
        <pc:sldMkLst>
          <pc:docMk/>
          <pc:sldMk cId="1289861142" sldId="443"/>
        </pc:sldMkLst>
      </pc:sldChg>
      <pc:sldChg chg="mod modShow">
        <pc:chgData name="Carrillo Rojas Daniela (Codelco-Chuquicamata)" userId="S::dcarr014@codelco.cl::b6c6fc0c-fc39-4bf0-8e9d-fb82d681f847" providerId="AD" clId="Web-{22E01D43-6E7D-4123-27DA-418390AE1E22}" dt="2021-01-14T14:37:28.074" v="1"/>
        <pc:sldMkLst>
          <pc:docMk/>
          <pc:sldMk cId="1797116895" sldId="444"/>
        </pc:sldMkLst>
      </pc:sldChg>
    </pc:docChg>
  </pc:docChgLst>
  <pc:docChgLst>
    <pc:chgData name="Mery Carrasco Mauricio (Codelco-Casa Matriz)" userId="a0378191-74de-4d59-9b37-aa421303daba" providerId="ADAL" clId="{97AA224C-99BD-754F-97EF-1B2FFE712B27}"/>
    <pc:docChg chg="custSel modSld">
      <pc:chgData name="Mery Carrasco Mauricio (Codelco-Casa Matriz)" userId="a0378191-74de-4d59-9b37-aa421303daba" providerId="ADAL" clId="{97AA224C-99BD-754F-97EF-1B2FFE712B27}" dt="2021-02-02T03:19:27.604" v="17"/>
      <pc:docMkLst>
        <pc:docMk/>
      </pc:docMkLst>
      <pc:sldChg chg="addSp delSp">
        <pc:chgData name="Mery Carrasco Mauricio (Codelco-Casa Matriz)" userId="a0378191-74de-4d59-9b37-aa421303daba" providerId="ADAL" clId="{97AA224C-99BD-754F-97EF-1B2FFE712B27}" dt="2021-02-02T03:19:27.604" v="17"/>
        <pc:sldMkLst>
          <pc:docMk/>
          <pc:sldMk cId="1918491469" sldId="454"/>
        </pc:sldMkLst>
        <pc:grpChg chg="add del">
          <ac:chgData name="Mery Carrasco Mauricio (Codelco-Casa Matriz)" userId="a0378191-74de-4d59-9b37-aa421303daba" providerId="ADAL" clId="{97AA224C-99BD-754F-97EF-1B2FFE712B27}" dt="2021-02-02T03:19:08.031" v="5"/>
          <ac:grpSpMkLst>
            <pc:docMk/>
            <pc:sldMk cId="1918491469" sldId="454"/>
            <ac:grpSpMk id="10" creationId="{E533C38A-43C2-BA46-AA7F-E5CFC0F830AF}"/>
          </ac:grpSpMkLst>
        </pc:grpChg>
        <pc:grpChg chg="add del">
          <ac:chgData name="Mery Carrasco Mauricio (Codelco-Casa Matriz)" userId="a0378191-74de-4d59-9b37-aa421303daba" providerId="ADAL" clId="{97AA224C-99BD-754F-97EF-1B2FFE712B27}" dt="2021-02-02T03:19:11.872" v="9"/>
          <ac:grpSpMkLst>
            <pc:docMk/>
            <pc:sldMk cId="1918491469" sldId="454"/>
            <ac:grpSpMk id="12" creationId="{DC0980E4-D3A1-F645-94D0-6B17D98FBCAD}"/>
          </ac:grpSpMkLst>
        </pc:grpChg>
        <pc:grpChg chg="add">
          <ac:chgData name="Mery Carrasco Mauricio (Codelco-Casa Matriz)" userId="a0378191-74de-4d59-9b37-aa421303daba" providerId="ADAL" clId="{97AA224C-99BD-754F-97EF-1B2FFE712B27}" dt="2021-02-02T03:19:11.872" v="9"/>
          <ac:grpSpMkLst>
            <pc:docMk/>
            <pc:sldMk cId="1918491469" sldId="454"/>
            <ac:grpSpMk id="16" creationId="{4131A647-120A-3145-AF8E-BCC38F27AAA9}"/>
          </ac:grpSpMkLst>
        </pc:grpChg>
        <pc:grpChg chg="add del">
          <ac:chgData name="Mery Carrasco Mauricio (Codelco-Casa Matriz)" userId="a0378191-74de-4d59-9b37-aa421303daba" providerId="ADAL" clId="{97AA224C-99BD-754F-97EF-1B2FFE712B27}" dt="2021-02-02T03:19:27.604" v="17"/>
          <ac:grpSpMkLst>
            <pc:docMk/>
            <pc:sldMk cId="1918491469" sldId="454"/>
            <ac:grpSpMk id="19" creationId="{E5870DB0-7E99-E64C-9EDC-8F90E33B3EF8}"/>
          </ac:grpSpMkLst>
        </pc:grpChg>
        <pc:inkChg chg="add topLvl">
          <ac:chgData name="Mery Carrasco Mauricio (Codelco-Casa Matriz)" userId="a0378191-74de-4d59-9b37-aa421303daba" providerId="ADAL" clId="{97AA224C-99BD-754F-97EF-1B2FFE712B27}" dt="2021-02-02T03:19:11.872" v="9"/>
          <ac:inkMkLst>
            <pc:docMk/>
            <pc:sldMk cId="1918491469" sldId="454"/>
            <ac:inkMk id="7" creationId="{0ACE0F5C-69DE-F845-A2C9-6BD920E90ABC}"/>
          </ac:inkMkLst>
        </pc:inkChg>
        <pc:inkChg chg="add topLvl">
          <ac:chgData name="Mery Carrasco Mauricio (Codelco-Casa Matriz)" userId="a0378191-74de-4d59-9b37-aa421303daba" providerId="ADAL" clId="{97AA224C-99BD-754F-97EF-1B2FFE712B27}" dt="2021-02-02T03:19:11.872" v="9"/>
          <ac:inkMkLst>
            <pc:docMk/>
            <pc:sldMk cId="1918491469" sldId="454"/>
            <ac:inkMk id="8" creationId="{CA19267D-37BE-CE42-BB51-9F709967BD96}"/>
          </ac:inkMkLst>
        </pc:inkChg>
        <pc:inkChg chg="add topLvl">
          <ac:chgData name="Mery Carrasco Mauricio (Codelco-Casa Matriz)" userId="a0378191-74de-4d59-9b37-aa421303daba" providerId="ADAL" clId="{97AA224C-99BD-754F-97EF-1B2FFE712B27}" dt="2021-02-02T03:19:11.872" v="9"/>
          <ac:inkMkLst>
            <pc:docMk/>
            <pc:sldMk cId="1918491469" sldId="454"/>
            <ac:inkMk id="9" creationId="{3E0D46E9-8F39-2E49-8342-699D397CD15F}"/>
          </ac:inkMkLst>
        </pc:inkChg>
        <pc:inkChg chg="add del topLvl">
          <ac:chgData name="Mery Carrasco Mauricio (Codelco-Casa Matriz)" userId="a0378191-74de-4d59-9b37-aa421303daba" providerId="ADAL" clId="{97AA224C-99BD-754F-97EF-1B2FFE712B27}" dt="2021-02-02T03:19:14.736" v="13"/>
          <ac:inkMkLst>
            <pc:docMk/>
            <pc:sldMk cId="1918491469" sldId="454"/>
            <ac:inkMk id="11" creationId="{C9452224-BC06-F14F-B503-6C94FC1BC38F}"/>
          </ac:inkMkLst>
        </pc:inkChg>
        <pc:inkChg chg="add del">
          <ac:chgData name="Mery Carrasco Mauricio (Codelco-Casa Matriz)" userId="a0378191-74de-4d59-9b37-aa421303daba" providerId="ADAL" clId="{97AA224C-99BD-754F-97EF-1B2FFE712B27}" dt="2021-02-02T03:19:14.734" v="12"/>
          <ac:inkMkLst>
            <pc:docMk/>
            <pc:sldMk cId="1918491469" sldId="454"/>
            <ac:inkMk id="13" creationId="{A9147340-EBB2-9E42-BDC1-0F9197AF4913}"/>
          </ac:inkMkLst>
        </pc:inkChg>
        <pc:inkChg chg="add del">
          <ac:chgData name="Mery Carrasco Mauricio (Codelco-Casa Matriz)" userId="a0378191-74de-4d59-9b37-aa421303daba" providerId="ADAL" clId="{97AA224C-99BD-754F-97EF-1B2FFE712B27}" dt="2021-02-02T03:19:14.730" v="11"/>
          <ac:inkMkLst>
            <pc:docMk/>
            <pc:sldMk cId="1918491469" sldId="454"/>
            <ac:inkMk id="14" creationId="{165AC273-7B04-9F46-94B1-651B332CFD2F}"/>
          </ac:inkMkLst>
        </pc:inkChg>
        <pc:inkChg chg="add del">
          <ac:chgData name="Mery Carrasco Mauricio (Codelco-Casa Matriz)" userId="a0378191-74de-4d59-9b37-aa421303daba" providerId="ADAL" clId="{97AA224C-99BD-754F-97EF-1B2FFE712B27}" dt="2021-02-02T03:19:14.728" v="10"/>
          <ac:inkMkLst>
            <pc:docMk/>
            <pc:sldMk cId="1918491469" sldId="454"/>
            <ac:inkMk id="15" creationId="{888DD39D-CDFB-3449-B871-76AE639DA244}"/>
          </ac:inkMkLst>
        </pc:inkChg>
        <pc:inkChg chg="add del topLvl">
          <ac:chgData name="Mery Carrasco Mauricio (Codelco-Casa Matriz)" userId="a0378191-74de-4d59-9b37-aa421303daba" providerId="ADAL" clId="{97AA224C-99BD-754F-97EF-1B2FFE712B27}" dt="2021-02-02T03:19:27.604" v="17"/>
          <ac:inkMkLst>
            <pc:docMk/>
            <pc:sldMk cId="1918491469" sldId="454"/>
            <ac:inkMk id="17" creationId="{D0E3BFE6-352E-A54B-A096-AEC79CAD345A}"/>
          </ac:inkMkLst>
        </pc:inkChg>
        <pc:inkChg chg="add topLvl">
          <ac:chgData name="Mery Carrasco Mauricio (Codelco-Casa Matriz)" userId="a0378191-74de-4d59-9b37-aa421303daba" providerId="ADAL" clId="{97AA224C-99BD-754F-97EF-1B2FFE712B27}" dt="2021-02-02T03:19:27.604" v="17"/>
          <ac:inkMkLst>
            <pc:docMk/>
            <pc:sldMk cId="1918491469" sldId="454"/>
            <ac:inkMk id="18" creationId="{28475DAD-77FC-6147-811C-9831F749810D}"/>
          </ac:inkMkLst>
        </pc:inkChg>
      </pc:sldChg>
    </pc:docChg>
  </pc:docChgLst>
  <pc:docChgLst>
    <pc:chgData name="Jerez Ortiz Alonso (Codelco-Casa Matriz)" userId="S::ajere002@codelco.cl::0a270fae-b3c5-4943-ba4f-0e2dd2800d21" providerId="AD" clId="Web-{D8A3FA0D-A656-4646-B15E-04363F5ABB24}"/>
    <pc:docChg chg="addSld delSld modSld">
      <pc:chgData name="Jerez Ortiz Alonso (Codelco-Casa Matriz)" userId="S::ajere002@codelco.cl::0a270fae-b3c5-4943-ba4f-0e2dd2800d21" providerId="AD" clId="Web-{D8A3FA0D-A656-4646-B15E-04363F5ABB24}" dt="2021-09-08T16:39:09.964" v="162" actId="1076"/>
      <pc:docMkLst>
        <pc:docMk/>
      </pc:docMkLst>
      <pc:sldChg chg="del">
        <pc:chgData name="Jerez Ortiz Alonso (Codelco-Casa Matriz)" userId="S::ajere002@codelco.cl::0a270fae-b3c5-4943-ba4f-0e2dd2800d21" providerId="AD" clId="Web-{D8A3FA0D-A656-4646-B15E-04363F5ABB24}" dt="2021-09-08T16:22:27.540" v="1"/>
        <pc:sldMkLst>
          <pc:docMk/>
          <pc:sldMk cId="1743887416" sldId="598"/>
        </pc:sldMkLst>
      </pc:sldChg>
      <pc:sldChg chg="addSp delSp modSp add">
        <pc:chgData name="Jerez Ortiz Alonso (Codelco-Casa Matriz)" userId="S::ajere002@codelco.cl::0a270fae-b3c5-4943-ba4f-0e2dd2800d21" providerId="AD" clId="Web-{D8A3FA0D-A656-4646-B15E-04363F5ABB24}" dt="2021-09-08T16:39:09.964" v="162" actId="1076"/>
        <pc:sldMkLst>
          <pc:docMk/>
          <pc:sldMk cId="109393663" sldId="604"/>
        </pc:sldMkLst>
        <pc:spChg chg="mod">
          <ac:chgData name="Jerez Ortiz Alonso (Codelco-Casa Matriz)" userId="S::ajere002@codelco.cl::0a270fae-b3c5-4943-ba4f-0e2dd2800d21" providerId="AD" clId="Web-{D8A3FA0D-A656-4646-B15E-04363F5ABB24}" dt="2021-09-08T16:32:08.309" v="100" actId="20577"/>
          <ac:spMkLst>
            <pc:docMk/>
            <pc:sldMk cId="109393663" sldId="604"/>
            <ac:spMk id="2" creationId="{595D8838-B65C-4C27-A946-FCFF32FE8E92}"/>
          </ac:spMkLst>
        </pc:spChg>
        <pc:spChg chg="mod">
          <ac:chgData name="Jerez Ortiz Alonso (Codelco-Casa Matriz)" userId="S::ajere002@codelco.cl::0a270fae-b3c5-4943-ba4f-0e2dd2800d21" providerId="AD" clId="Web-{D8A3FA0D-A656-4646-B15E-04363F5ABB24}" dt="2021-09-08T16:34:50.986" v="121" actId="20577"/>
          <ac:spMkLst>
            <pc:docMk/>
            <pc:sldMk cId="109393663" sldId="604"/>
            <ac:spMk id="15" creationId="{A9CA1BFA-49B8-4621-8151-B24FB854E927}"/>
          </ac:spMkLst>
        </pc:spChg>
        <pc:spChg chg="add mod">
          <ac:chgData name="Jerez Ortiz Alonso (Codelco-Casa Matriz)" userId="S::ajere002@codelco.cl::0a270fae-b3c5-4943-ba4f-0e2dd2800d21" providerId="AD" clId="Web-{D8A3FA0D-A656-4646-B15E-04363F5ABB24}" dt="2021-09-08T16:38:15.071" v="155" actId="1076"/>
          <ac:spMkLst>
            <pc:docMk/>
            <pc:sldMk cId="109393663" sldId="604"/>
            <ac:spMk id="406" creationId="{0903B887-7BE5-43A4-9E2F-6E57F0F2A267}"/>
          </ac:spMkLst>
        </pc:spChg>
        <pc:spChg chg="add mod">
          <ac:chgData name="Jerez Ortiz Alonso (Codelco-Casa Matriz)" userId="S::ajere002@codelco.cl::0a270fae-b3c5-4943-ba4f-0e2dd2800d21" providerId="AD" clId="Web-{D8A3FA0D-A656-4646-B15E-04363F5ABB24}" dt="2021-09-08T16:39:09.964" v="162" actId="1076"/>
          <ac:spMkLst>
            <pc:docMk/>
            <pc:sldMk cId="109393663" sldId="604"/>
            <ac:spMk id="498" creationId="{F1150F63-3E73-454A-AC52-1381E7631EBD}"/>
          </ac:spMkLst>
        </pc:spChg>
        <pc:graphicFrameChg chg="add mod modGraphic">
          <ac:chgData name="Jerez Ortiz Alonso (Codelco-Casa Matriz)" userId="S::ajere002@codelco.cl::0a270fae-b3c5-4943-ba4f-0e2dd2800d21" providerId="AD" clId="Web-{D8A3FA0D-A656-4646-B15E-04363F5ABB24}" dt="2021-09-08T16:29:49.898" v="50" actId="14100"/>
          <ac:graphicFrameMkLst>
            <pc:docMk/>
            <pc:sldMk cId="109393663" sldId="604"/>
            <ac:graphicFrameMk id="3" creationId="{364E8BB9-9DE5-4F81-8670-E1378CA1307E}"/>
          </ac:graphicFrameMkLst>
        </pc:graphicFrameChg>
        <pc:graphicFrameChg chg="add del">
          <ac:chgData name="Jerez Ortiz Alonso (Codelco-Casa Matriz)" userId="S::ajere002@codelco.cl::0a270fae-b3c5-4943-ba4f-0e2dd2800d21" providerId="AD" clId="Web-{D8A3FA0D-A656-4646-B15E-04363F5ABB24}" dt="2021-09-08T16:26:14.860" v="20"/>
          <ac:graphicFrameMkLst>
            <pc:docMk/>
            <pc:sldMk cId="109393663" sldId="604"/>
            <ac:graphicFrameMk id="77" creationId="{66A53938-1807-47EC-A79E-4FEDC7FE4E17}"/>
          </ac:graphicFrameMkLst>
        </pc:graphicFrameChg>
        <pc:graphicFrameChg chg="add del">
          <ac:chgData name="Jerez Ortiz Alonso (Codelco-Casa Matriz)" userId="S::ajere002@codelco.cl::0a270fae-b3c5-4943-ba4f-0e2dd2800d21" providerId="AD" clId="Web-{D8A3FA0D-A656-4646-B15E-04363F5ABB24}" dt="2021-09-08T16:26:28.204" v="22"/>
          <ac:graphicFrameMkLst>
            <pc:docMk/>
            <pc:sldMk cId="109393663" sldId="604"/>
            <ac:graphicFrameMk id="86" creationId="{C9D5DB3E-12B8-4171-8D33-E96E53AA7E74}"/>
          </ac:graphicFrameMkLst>
        </pc:graphicFrameChg>
        <pc:graphicFrameChg chg="add mod ord modGraphic">
          <ac:chgData name="Jerez Ortiz Alonso (Codelco-Casa Matriz)" userId="S::ajere002@codelco.cl::0a270fae-b3c5-4943-ba4f-0e2dd2800d21" providerId="AD" clId="Web-{D8A3FA0D-A656-4646-B15E-04363F5ABB24}" dt="2021-09-08T16:37:56.602" v="151" actId="20577"/>
          <ac:graphicFrameMkLst>
            <pc:docMk/>
            <pc:sldMk cId="109393663" sldId="604"/>
            <ac:graphicFrameMk id="237" creationId="{C9B45E6D-A216-4143-83A7-93BA4D083BEA}"/>
          </ac:graphicFrameMkLst>
        </pc:graphicFrameChg>
        <pc:picChg chg="del mod">
          <ac:chgData name="Jerez Ortiz Alonso (Codelco-Casa Matriz)" userId="S::ajere002@codelco.cl::0a270fae-b3c5-4943-ba4f-0e2dd2800d21" providerId="AD" clId="Web-{D8A3FA0D-A656-4646-B15E-04363F5ABB24}" dt="2021-09-08T16:29:55.164" v="52"/>
          <ac:picMkLst>
            <pc:docMk/>
            <pc:sldMk cId="109393663" sldId="604"/>
            <ac:picMk id="9" creationId="{75F5CDB7-219A-4EBE-9BA7-3FC5094497D7}"/>
          </ac:picMkLst>
        </pc:picChg>
      </pc:sldChg>
    </pc:docChg>
  </pc:docChgLst>
  <pc:docChgLst>
    <pc:chgData name="Valenzuela Alfaro Alvaro (Codelco-Casa Matriz)" userId="S::avale036@codelco.cl::beebaec1-f16e-436d-a3cd-8566efe3ac18" providerId="AD" clId="Web-{A4A423EA-F6B3-6A9A-B729-504CF9269DF5}"/>
    <pc:docChg chg="modSld">
      <pc:chgData name="Valenzuela Alfaro Alvaro (Codelco-Casa Matriz)" userId="S::avale036@codelco.cl::beebaec1-f16e-436d-a3cd-8566efe3ac18" providerId="AD" clId="Web-{A4A423EA-F6B3-6A9A-B729-504CF9269DF5}" dt="2021-02-10T22:16:53.160" v="1"/>
      <pc:docMkLst>
        <pc:docMk/>
      </pc:docMkLst>
      <pc:sldChg chg="delSp">
        <pc:chgData name="Valenzuela Alfaro Alvaro (Codelco-Casa Matriz)" userId="S::avale036@codelco.cl::beebaec1-f16e-436d-a3cd-8566efe3ac18" providerId="AD" clId="Web-{A4A423EA-F6B3-6A9A-B729-504CF9269DF5}" dt="2021-02-10T22:16:53.160" v="1"/>
        <pc:sldMkLst>
          <pc:docMk/>
          <pc:sldMk cId="1357916913" sldId="474"/>
        </pc:sldMkLst>
        <pc:picChg chg="del">
          <ac:chgData name="Valenzuela Alfaro Alvaro (Codelco-Casa Matriz)" userId="S::avale036@codelco.cl::beebaec1-f16e-436d-a3cd-8566efe3ac18" providerId="AD" clId="Web-{A4A423EA-F6B3-6A9A-B729-504CF9269DF5}" dt="2021-02-10T22:16:53.160" v="1"/>
          <ac:picMkLst>
            <pc:docMk/>
            <pc:sldMk cId="1357916913" sldId="474"/>
            <ac:picMk id="10" creationId="{39E8F70E-3224-49D0-B44E-91257D9E70AC}"/>
          </ac:picMkLst>
        </pc:picChg>
        <pc:picChg chg="del">
          <ac:chgData name="Valenzuela Alfaro Alvaro (Codelco-Casa Matriz)" userId="S::avale036@codelco.cl::beebaec1-f16e-436d-a3cd-8566efe3ac18" providerId="AD" clId="Web-{A4A423EA-F6B3-6A9A-B729-504CF9269DF5}" dt="2021-02-10T22:16:44.957" v="0"/>
          <ac:picMkLst>
            <pc:docMk/>
            <pc:sldMk cId="1357916913" sldId="474"/>
            <ac:picMk id="16" creationId="{E0A4A585-8F85-42FE-B476-3EB445A1C28A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ECFAC5F7-B3F8-A433-A8E5-1C85D9E43267}"/>
    <pc:docChg chg="modSld">
      <pc:chgData name="Mery Carrasco Mauricio (Codelco-Casa Matriz)" userId="S::mmery004@codelco.cl::a0378191-74de-4d59-9b37-aa421303daba" providerId="AD" clId="Web-{ECFAC5F7-B3F8-A433-A8E5-1C85D9E43267}" dt="2020-11-05T15:00:41.121" v="24" actId="1076"/>
      <pc:docMkLst>
        <pc:docMk/>
      </pc:docMkLst>
      <pc:sldChg chg="addSp modSp">
        <pc:chgData name="Mery Carrasco Mauricio (Codelco-Casa Matriz)" userId="S::mmery004@codelco.cl::a0378191-74de-4d59-9b37-aa421303daba" providerId="AD" clId="Web-{ECFAC5F7-B3F8-A433-A8E5-1C85D9E43267}" dt="2020-11-05T14:57:30.491" v="7" actId="1076"/>
        <pc:sldMkLst>
          <pc:docMk/>
          <pc:sldMk cId="2155997825" sldId="375"/>
        </pc:sldMkLst>
        <pc:spChg chg="add mod">
          <ac:chgData name="Mery Carrasco Mauricio (Codelco-Casa Matriz)" userId="S::mmery004@codelco.cl::a0378191-74de-4d59-9b37-aa421303daba" providerId="AD" clId="Web-{ECFAC5F7-B3F8-A433-A8E5-1C85D9E43267}" dt="2020-11-05T14:57:30.491" v="7" actId="1076"/>
          <ac:spMkLst>
            <pc:docMk/>
            <pc:sldMk cId="2155997825" sldId="375"/>
            <ac:spMk id="30" creationId="{4C7C5B64-E31F-43FE-9B44-7D5632A683EB}"/>
          </ac:spMkLst>
        </pc:spChg>
      </pc:sldChg>
      <pc:sldChg chg="addSp delSp modSp">
        <pc:chgData name="Mery Carrasco Mauricio (Codelco-Casa Matriz)" userId="S::mmery004@codelco.cl::a0378191-74de-4d59-9b37-aa421303daba" providerId="AD" clId="Web-{ECFAC5F7-B3F8-A433-A8E5-1C85D9E43267}" dt="2020-11-05T15:00:41.121" v="24" actId="1076"/>
        <pc:sldMkLst>
          <pc:docMk/>
          <pc:sldMk cId="922379868" sldId="417"/>
        </pc:sldMkLst>
        <pc:spChg chg="add mod">
          <ac:chgData name="Mery Carrasco Mauricio (Codelco-Casa Matriz)" userId="S::mmery004@codelco.cl::a0378191-74de-4d59-9b37-aa421303daba" providerId="AD" clId="Web-{ECFAC5F7-B3F8-A433-A8E5-1C85D9E43267}" dt="2020-11-05T14:57:50.242" v="13" actId="20577"/>
          <ac:spMkLst>
            <pc:docMk/>
            <pc:sldMk cId="922379868" sldId="417"/>
            <ac:spMk id="14" creationId="{A8220512-0578-4DFA-8B62-2977C96EBF27}"/>
          </ac:spMkLst>
        </pc:spChg>
        <pc:spChg chg="mod">
          <ac:chgData name="Mery Carrasco Mauricio (Codelco-Casa Matriz)" userId="S::mmery004@codelco.cl::a0378191-74de-4d59-9b37-aa421303daba" providerId="AD" clId="Web-{ECFAC5F7-B3F8-A433-A8E5-1C85D9E43267}" dt="2020-11-05T15:00:10.464" v="17" actId="1076"/>
          <ac:spMkLst>
            <pc:docMk/>
            <pc:sldMk cId="922379868" sldId="417"/>
            <ac:spMk id="17" creationId="{005BF2ED-9B92-4883-86E3-DC1C67775429}"/>
          </ac:spMkLst>
        </pc:spChg>
        <pc:spChg chg="mod">
          <ac:chgData name="Mery Carrasco Mauricio (Codelco-Casa Matriz)" userId="S::mmery004@codelco.cl::a0378191-74de-4d59-9b37-aa421303daba" providerId="AD" clId="Web-{ECFAC5F7-B3F8-A433-A8E5-1C85D9E43267}" dt="2020-11-05T15:00:05.667" v="16" actId="1076"/>
          <ac:spMkLst>
            <pc:docMk/>
            <pc:sldMk cId="922379868" sldId="417"/>
            <ac:spMk id="18" creationId="{2448FD86-7276-4262-A90A-16DC1238A78A}"/>
          </ac:spMkLst>
        </pc:spChg>
        <pc:picChg chg="add mod">
          <ac:chgData name="Mery Carrasco Mauricio (Codelco-Casa Matriz)" userId="S::mmery004@codelco.cl::a0378191-74de-4d59-9b37-aa421303daba" providerId="AD" clId="Web-{ECFAC5F7-B3F8-A433-A8E5-1C85D9E43267}" dt="2020-11-05T15:00:41.121" v="24" actId="1076"/>
          <ac:picMkLst>
            <pc:docMk/>
            <pc:sldMk cId="922379868" sldId="417"/>
            <ac:picMk id="3" creationId="{7F3259E2-A62D-4FB5-BF65-A71A268C9BAE}"/>
          </ac:picMkLst>
        </pc:picChg>
        <pc:picChg chg="del">
          <ac:chgData name="Mery Carrasco Mauricio (Codelco-Casa Matriz)" userId="S::mmery004@codelco.cl::a0378191-74de-4d59-9b37-aa421303daba" providerId="AD" clId="Web-{ECFAC5F7-B3F8-A433-A8E5-1C85D9E43267}" dt="2020-11-05T15:00:18.823" v="19"/>
          <ac:picMkLst>
            <pc:docMk/>
            <pc:sldMk cId="922379868" sldId="417"/>
            <ac:picMk id="5" creationId="{34CAB5AE-E4E1-40F4-98CE-BB0F54F98163}"/>
          </ac:picMkLst>
        </pc:picChg>
        <pc:picChg chg="del">
          <ac:chgData name="Mery Carrasco Mauricio (Codelco-Casa Matriz)" userId="S::mmery004@codelco.cl::a0378191-74de-4d59-9b37-aa421303daba" providerId="AD" clId="Web-{ECFAC5F7-B3F8-A433-A8E5-1C85D9E43267}" dt="2020-11-05T15:00:12.120" v="18"/>
          <ac:picMkLst>
            <pc:docMk/>
            <pc:sldMk cId="922379868" sldId="417"/>
            <ac:picMk id="7" creationId="{E1385C3C-87D7-492D-8FA5-0112E3DB49F8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FBF434E9-BAF1-7149-C60F-1A33BAD8A818}"/>
    <pc:docChg chg="addSld delSld modSld sldOrd addMainMaster modMainMaster">
      <pc:chgData name="Mery Carrasco Mauricio (Codelco-Casa Matriz)" userId="S::mmery004@codelco.cl::a0378191-74de-4d59-9b37-aa421303daba" providerId="AD" clId="Web-{FBF434E9-BAF1-7149-C60F-1A33BAD8A818}" dt="2021-01-14T14:59:52.358" v="486" actId="20577"/>
      <pc:docMkLst>
        <pc:docMk/>
      </pc:docMkLst>
      <pc:sldChg chg="modSp">
        <pc:chgData name="Mery Carrasco Mauricio (Codelco-Casa Matriz)" userId="S::mmery004@codelco.cl::a0378191-74de-4d59-9b37-aa421303daba" providerId="AD" clId="Web-{FBF434E9-BAF1-7149-C60F-1A33BAD8A818}" dt="2021-01-14T14:48:18.155" v="395" actId="20577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FBF434E9-BAF1-7149-C60F-1A33BAD8A818}" dt="2021-01-14T14:48:18.155" v="395" actId="20577"/>
          <ac:spMkLst>
            <pc:docMk/>
            <pc:sldMk cId="772336465" sldId="346"/>
            <ac:spMk id="3" creationId="{3262E134-23C0-4873-80BC-8C49E3C2C935}"/>
          </ac:spMkLst>
        </pc:spChg>
        <pc:picChg chg="mod">
          <ac:chgData name="Mery Carrasco Mauricio (Codelco-Casa Matriz)" userId="S::mmery004@codelco.cl::a0378191-74de-4d59-9b37-aa421303daba" providerId="AD" clId="Web-{FBF434E9-BAF1-7149-C60F-1A33BAD8A818}" dt="2021-01-14T14:47:40.154" v="383" actId="14100"/>
          <ac:picMkLst>
            <pc:docMk/>
            <pc:sldMk cId="772336465" sldId="346"/>
            <ac:picMk id="2" creationId="{E7DDD9D2-C80A-46E2-8279-276FA9DB258D}"/>
          </ac:picMkLst>
        </pc:picChg>
      </pc:sldChg>
      <pc:sldChg chg="ord">
        <pc:chgData name="Mery Carrasco Mauricio (Codelco-Casa Matriz)" userId="S::mmery004@codelco.cl::a0378191-74de-4d59-9b37-aa421303daba" providerId="AD" clId="Web-{FBF434E9-BAF1-7149-C60F-1A33BAD8A818}" dt="2021-01-14T14:28:38.314" v="113"/>
        <pc:sldMkLst>
          <pc:docMk/>
          <pc:sldMk cId="1259302253" sldId="353"/>
        </pc:sldMkLst>
      </pc:sldChg>
      <pc:sldChg chg="delSp modSp">
        <pc:chgData name="Mery Carrasco Mauricio (Codelco-Casa Matriz)" userId="S::mmery004@codelco.cl::a0378191-74de-4d59-9b37-aa421303daba" providerId="AD" clId="Web-{FBF434E9-BAF1-7149-C60F-1A33BAD8A818}" dt="2021-01-14T14:57:03.448" v="431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FBF434E9-BAF1-7149-C60F-1A33BAD8A818}" dt="2021-01-14T14:57:03.433" v="430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57:03.448" v="431" actId="1076"/>
          <ac:spMkLst>
            <pc:docMk/>
            <pc:sldMk cId="2155997825" sldId="375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5:47.634" v="413"/>
          <ac:spMkLst>
            <pc:docMk/>
            <pc:sldMk cId="2155997825" sldId="375"/>
            <ac:spMk id="6" creationId="{C3740A31-8993-4EA8-B556-34F27DDB7426}"/>
          </ac:spMkLst>
        </pc:spChg>
        <pc:spChg chg="del mod">
          <ac:chgData name="Mery Carrasco Mauricio (Codelco-Casa Matriz)" userId="S::mmery004@codelco.cl::a0378191-74de-4d59-9b37-aa421303daba" providerId="AD" clId="Web-{FBF434E9-BAF1-7149-C60F-1A33BAD8A818}" dt="2021-01-14T14:55:55.540" v="419"/>
          <ac:spMkLst>
            <pc:docMk/>
            <pc:sldMk cId="2155997825" sldId="375"/>
            <ac:spMk id="28" creationId="{EA1B48FA-81D9-451A-A2A7-A5DC0A961A32}"/>
          </ac:spMkLst>
        </pc:spChg>
        <pc:spChg chg="del mod">
          <ac:chgData name="Mery Carrasco Mauricio (Codelco-Casa Matriz)" userId="S::mmery004@codelco.cl::a0378191-74de-4d59-9b37-aa421303daba" providerId="AD" clId="Web-{FBF434E9-BAF1-7149-C60F-1A33BAD8A818}" dt="2021-01-14T14:55:53.556" v="416"/>
          <ac:spMkLst>
            <pc:docMk/>
            <pc:sldMk cId="2155997825" sldId="375"/>
            <ac:spMk id="29" creationId="{64B4F4F5-0941-4428-AF9F-0C4D0CC3A757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5:56.915" v="420"/>
          <ac:spMkLst>
            <pc:docMk/>
            <pc:sldMk cId="2155997825" sldId="375"/>
            <ac:spMk id="30" creationId="{6FDD8A24-A734-4C24-AB77-9977937B79E1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6:03.337" v="421"/>
          <ac:spMkLst>
            <pc:docMk/>
            <pc:sldMk cId="2155997825" sldId="375"/>
            <ac:spMk id="31" creationId="{80CCD120-4B30-4ED2-B7FD-C9C73223DEE3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6:52.604" v="429"/>
          <ac:spMkLst>
            <pc:docMk/>
            <pc:sldMk cId="2155997825" sldId="375"/>
            <ac:spMk id="32" creationId="{82B42E50-48FB-4CE6-8AB7-5D13CD340862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6:52.604" v="428"/>
          <ac:spMkLst>
            <pc:docMk/>
            <pc:sldMk cId="2155997825" sldId="375"/>
            <ac:spMk id="33" creationId="{EBE4732C-C280-4027-BC02-9C68FE288285}"/>
          </ac:spMkLst>
        </pc:spChg>
        <pc:spChg chg="del mod">
          <ac:chgData name="Mery Carrasco Mauricio (Codelco-Casa Matriz)" userId="S::mmery004@codelco.cl::a0378191-74de-4d59-9b37-aa421303daba" providerId="AD" clId="Web-{FBF434E9-BAF1-7149-C60F-1A33BAD8A818}" dt="2021-01-14T14:56:14.463" v="425"/>
          <ac:spMkLst>
            <pc:docMk/>
            <pc:sldMk cId="2155997825" sldId="375"/>
            <ac:spMk id="34" creationId="{BB7AC719-62D7-4B98-A097-956CCAD9B5FC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6:14.447" v="424"/>
          <ac:spMkLst>
            <pc:docMk/>
            <pc:sldMk cId="2155997825" sldId="375"/>
            <ac:spMk id="35" creationId="{1D0E8BC0-79E6-468E-9DE1-039C6CC2E427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6:14.572" v="426"/>
          <ac:spMkLst>
            <pc:docMk/>
            <pc:sldMk cId="2155997825" sldId="375"/>
            <ac:spMk id="36" creationId="{E0A313AC-BB6F-462D-88F7-2FB4223B5C6D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6:14.588" v="427"/>
          <ac:spMkLst>
            <pc:docMk/>
            <pc:sldMk cId="2155997825" sldId="375"/>
            <ac:spMk id="39" creationId="{5DE05484-2D69-41D7-ACE4-1861CB481B7A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46:31.715" v="380"/>
          <ac:spMkLst>
            <pc:docMk/>
            <pc:sldMk cId="2155997825" sldId="375"/>
            <ac:spMk id="40" creationId="{70958B86-E228-4B74-8CF8-00C5585A0FB1}"/>
          </ac:spMkLst>
        </pc:spChg>
      </pc:sldChg>
      <pc:sldChg chg="modSp">
        <pc:chgData name="Mery Carrasco Mauricio (Codelco-Casa Matriz)" userId="S::mmery004@codelco.cl::a0378191-74de-4d59-9b37-aa421303daba" providerId="AD" clId="Web-{FBF434E9-BAF1-7149-C60F-1A33BAD8A818}" dt="2021-01-14T14:46:11.668" v="379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FBF434E9-BAF1-7149-C60F-1A33BAD8A818}" dt="2021-01-14T14:40:42.909" v="257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45:16.932" v="327" actId="20577"/>
          <ac:spMkLst>
            <pc:docMk/>
            <pc:sldMk cId="1544981574" sldId="409"/>
            <ac:spMk id="24" creationId="{16B6A73B-5369-43B2-892D-E5686AA01F1D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46:01.840" v="374" actId="20577"/>
          <ac:spMkLst>
            <pc:docMk/>
            <pc:sldMk cId="1544981574" sldId="409"/>
            <ac:spMk id="33" creationId="{31CE5E89-228B-4D57-B94B-01974E601762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46:11.668" v="379" actId="20577"/>
          <ac:spMkLst>
            <pc:docMk/>
            <pc:sldMk cId="1544981574" sldId="409"/>
            <ac:spMk id="43" creationId="{562E9DD8-242D-4297-8844-6E280DDDCCF3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9:22.485" v="221" actId="20577"/>
          <ac:spMkLst>
            <pc:docMk/>
            <pc:sldMk cId="1544981574" sldId="409"/>
            <ac:spMk id="45" creationId="{6B6D7AF3-CD2C-4C43-9BC8-76C21B1521B2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41:09.191" v="262" actId="20577"/>
          <ac:spMkLst>
            <pc:docMk/>
            <pc:sldMk cId="1544981574" sldId="409"/>
            <ac:spMk id="50" creationId="{858D0EEE-7674-4667-BC95-74AC805A08A6}"/>
          </ac:spMkLst>
        </pc:spChg>
      </pc:sldChg>
      <pc:sldChg chg="del">
        <pc:chgData name="Mery Carrasco Mauricio (Codelco-Casa Matriz)" userId="S::mmery004@codelco.cl::a0378191-74de-4d59-9b37-aa421303daba" providerId="AD" clId="Web-{FBF434E9-BAF1-7149-C60F-1A33BAD8A818}" dt="2021-01-14T14:12:14.605" v="1"/>
        <pc:sldMkLst>
          <pc:docMk/>
          <pc:sldMk cId="1943212446" sldId="416"/>
        </pc:sldMkLst>
      </pc:sldChg>
      <pc:sldChg chg="addSp delSp modSp ord">
        <pc:chgData name="Mery Carrasco Mauricio (Codelco-Casa Matriz)" userId="S::mmery004@codelco.cl::a0378191-74de-4d59-9b37-aa421303daba" providerId="AD" clId="Web-{FBF434E9-BAF1-7149-C60F-1A33BAD8A818}" dt="2021-01-14T14:59:52.358" v="486" actId="20577"/>
        <pc:sldMkLst>
          <pc:docMk/>
          <pc:sldMk cId="922379868" sldId="417"/>
        </pc:sldMkLst>
        <pc:spChg chg="mod">
          <ac:chgData name="Mery Carrasco Mauricio (Codelco-Casa Matriz)" userId="S::mmery004@codelco.cl::a0378191-74de-4d59-9b37-aa421303daba" providerId="AD" clId="Web-{FBF434E9-BAF1-7149-C60F-1A33BAD8A818}" dt="2021-01-14T14:58:31.341" v="457" actId="14100"/>
          <ac:spMkLst>
            <pc:docMk/>
            <pc:sldMk cId="922379868" sldId="417"/>
            <ac:spMk id="13" creationId="{4FD24CCA-6F96-46C3-81F3-7DADB849CDFF}"/>
          </ac:spMkLst>
        </pc:spChg>
        <pc:spChg chg="del mod">
          <ac:chgData name="Mery Carrasco Mauricio (Codelco-Casa Matriz)" userId="S::mmery004@codelco.cl::a0378191-74de-4d59-9b37-aa421303daba" providerId="AD" clId="Web-{FBF434E9-BAF1-7149-C60F-1A33BAD8A818}" dt="2021-01-14T14:57:49.855" v="441"/>
          <ac:spMkLst>
            <pc:docMk/>
            <pc:sldMk cId="922379868" sldId="417"/>
            <ac:spMk id="14" creationId="{A8220512-0578-4DFA-8B62-2977C96EBF27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7:50.027" v="443"/>
          <ac:spMkLst>
            <pc:docMk/>
            <pc:sldMk cId="922379868" sldId="417"/>
            <ac:spMk id="16" creationId="{288A759B-0B8A-4F46-BF71-34CCD901A824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7:49.965" v="442"/>
          <ac:spMkLst>
            <pc:docMk/>
            <pc:sldMk cId="922379868" sldId="417"/>
            <ac:spMk id="17" creationId="{005BF2ED-9B92-4883-86E3-DC1C67775429}"/>
          </ac:spMkLst>
        </pc:spChg>
        <pc:spChg chg="del">
          <ac:chgData name="Mery Carrasco Mauricio (Codelco-Casa Matriz)" userId="S::mmery004@codelco.cl::a0378191-74de-4d59-9b37-aa421303daba" providerId="AD" clId="Web-{FBF434E9-BAF1-7149-C60F-1A33BAD8A818}" dt="2021-01-14T14:57:49.793" v="440"/>
          <ac:spMkLst>
            <pc:docMk/>
            <pc:sldMk cId="922379868" sldId="417"/>
            <ac:spMk id="18" creationId="{2448FD86-7276-4262-A90A-16DC1238A78A}"/>
          </ac:spMkLst>
        </pc:spChg>
        <pc:spChg chg="ord">
          <ac:chgData name="Mery Carrasco Mauricio (Codelco-Casa Matriz)" userId="S::mmery004@codelco.cl::a0378191-74de-4d59-9b37-aa421303daba" providerId="AD" clId="Web-{FBF434E9-BAF1-7149-C60F-1A33BAD8A818}" dt="2021-01-14T14:58:09.918" v="450"/>
          <ac:spMkLst>
            <pc:docMk/>
            <pc:sldMk cId="922379868" sldId="417"/>
            <ac:spMk id="20" creationId="{E2FFF1BD-6719-4DDA-89E6-C1A32984690F}"/>
          </ac:spMkLst>
        </pc:spChg>
        <pc:spChg chg="add mod">
          <ac:chgData name="Mery Carrasco Mauricio (Codelco-Casa Matriz)" userId="S::mmery004@codelco.cl::a0378191-74de-4d59-9b37-aa421303daba" providerId="AD" clId="Web-{FBF434E9-BAF1-7149-C60F-1A33BAD8A818}" dt="2021-01-14T14:58:42.607" v="462" actId="20577"/>
          <ac:spMkLst>
            <pc:docMk/>
            <pc:sldMk cId="922379868" sldId="417"/>
            <ac:spMk id="24" creationId="{F261C867-EC56-4E3D-995D-310207065932}"/>
          </ac:spMkLst>
        </pc:spChg>
        <pc:spChg chg="add mod">
          <ac:chgData name="Mery Carrasco Mauricio (Codelco-Casa Matriz)" userId="S::mmery004@codelco.cl::a0378191-74de-4d59-9b37-aa421303daba" providerId="AD" clId="Web-{FBF434E9-BAF1-7149-C60F-1A33BAD8A818}" dt="2021-01-14T14:59:05.295" v="469" actId="14100"/>
          <ac:spMkLst>
            <pc:docMk/>
            <pc:sldMk cId="922379868" sldId="417"/>
            <ac:spMk id="25" creationId="{2EDFF394-17F9-49E5-95CC-5CF94EEFBEDB}"/>
          </ac:spMkLst>
        </pc:spChg>
        <pc:spChg chg="add del">
          <ac:chgData name="Mery Carrasco Mauricio (Codelco-Casa Matriz)" userId="S::mmery004@codelco.cl::a0378191-74de-4d59-9b37-aa421303daba" providerId="AD" clId="Web-{FBF434E9-BAF1-7149-C60F-1A33BAD8A818}" dt="2021-01-14T14:59:12.139" v="471"/>
          <ac:spMkLst>
            <pc:docMk/>
            <pc:sldMk cId="922379868" sldId="417"/>
            <ac:spMk id="26" creationId="{0889A575-899A-48C2-A123-6A744A7EBB16}"/>
          </ac:spMkLst>
        </pc:spChg>
        <pc:spChg chg="add mod">
          <ac:chgData name="Mery Carrasco Mauricio (Codelco-Casa Matriz)" userId="S::mmery004@codelco.cl::a0378191-74de-4d59-9b37-aa421303daba" providerId="AD" clId="Web-{FBF434E9-BAF1-7149-C60F-1A33BAD8A818}" dt="2021-01-14T14:59:22.826" v="474" actId="20577"/>
          <ac:spMkLst>
            <pc:docMk/>
            <pc:sldMk cId="922379868" sldId="417"/>
            <ac:spMk id="27" creationId="{8CFC2ABE-FCE1-41CE-9F40-F355D2C28B49}"/>
          </ac:spMkLst>
        </pc:spChg>
        <pc:spChg chg="add mod">
          <ac:chgData name="Mery Carrasco Mauricio (Codelco-Casa Matriz)" userId="S::mmery004@codelco.cl::a0378191-74de-4d59-9b37-aa421303daba" providerId="AD" clId="Web-{FBF434E9-BAF1-7149-C60F-1A33BAD8A818}" dt="2021-01-14T14:59:42.827" v="478" actId="20577"/>
          <ac:spMkLst>
            <pc:docMk/>
            <pc:sldMk cId="922379868" sldId="417"/>
            <ac:spMk id="28" creationId="{2E66C7C5-29CA-4CB5-A7CF-9D16B0053373}"/>
          </ac:spMkLst>
        </pc:spChg>
        <pc:spChg chg="add mod">
          <ac:chgData name="Mery Carrasco Mauricio (Codelco-Casa Matriz)" userId="S::mmery004@codelco.cl::a0378191-74de-4d59-9b37-aa421303daba" providerId="AD" clId="Web-{FBF434E9-BAF1-7149-C60F-1A33BAD8A818}" dt="2021-01-14T14:59:43.077" v="482" actId="20577"/>
          <ac:spMkLst>
            <pc:docMk/>
            <pc:sldMk cId="922379868" sldId="417"/>
            <ac:spMk id="29" creationId="{E8A9F5A1-CC93-452F-9874-430895E77303}"/>
          </ac:spMkLst>
        </pc:spChg>
        <pc:spChg chg="add mod">
          <ac:chgData name="Mery Carrasco Mauricio (Codelco-Casa Matriz)" userId="S::mmery004@codelco.cl::a0378191-74de-4d59-9b37-aa421303daba" providerId="AD" clId="Web-{FBF434E9-BAF1-7149-C60F-1A33BAD8A818}" dt="2021-01-14T14:59:52.358" v="486" actId="20577"/>
          <ac:spMkLst>
            <pc:docMk/>
            <pc:sldMk cId="922379868" sldId="417"/>
            <ac:spMk id="30" creationId="{034D6BDF-6FA1-4712-AB88-1B4340A93922}"/>
          </ac:spMkLst>
        </pc:spChg>
        <pc:picChg chg="del">
          <ac:chgData name="Mery Carrasco Mauricio (Codelco-Casa Matriz)" userId="S::mmery004@codelco.cl::a0378191-74de-4d59-9b37-aa421303daba" providerId="AD" clId="Web-{FBF434E9-BAF1-7149-C60F-1A33BAD8A818}" dt="2021-01-14T14:54:23.070" v="403"/>
          <ac:picMkLst>
            <pc:docMk/>
            <pc:sldMk cId="922379868" sldId="417"/>
            <ac:picMk id="3" creationId="{7F3259E2-A62D-4FB5-BF65-A71A268C9BAE}"/>
          </ac:picMkLst>
        </pc:picChg>
        <pc:picChg chg="add mod">
          <ac:chgData name="Mery Carrasco Mauricio (Codelco-Casa Matriz)" userId="S::mmery004@codelco.cl::a0378191-74de-4d59-9b37-aa421303daba" providerId="AD" clId="Web-{FBF434E9-BAF1-7149-C60F-1A33BAD8A818}" dt="2021-01-14T14:53:47.413" v="402"/>
          <ac:picMkLst>
            <pc:docMk/>
            <pc:sldMk cId="922379868" sldId="417"/>
            <ac:picMk id="4" creationId="{742EB329-2BAA-4448-AE04-8E146CCF119E}"/>
          </ac:picMkLst>
        </pc:picChg>
        <pc:picChg chg="add mod">
          <ac:chgData name="Mery Carrasco Mauricio (Codelco-Casa Matriz)" userId="S::mmery004@codelco.cl::a0378191-74de-4d59-9b37-aa421303daba" providerId="AD" clId="Web-{FBF434E9-BAF1-7149-C60F-1A33BAD8A818}" dt="2021-01-14T14:54:51.633" v="412" actId="1076"/>
          <ac:picMkLst>
            <pc:docMk/>
            <pc:sldMk cId="922379868" sldId="417"/>
            <ac:picMk id="5" creationId="{8693FBDD-6C60-4223-908F-76060B3264C2}"/>
          </ac:picMkLst>
        </pc:picChg>
        <pc:picChg chg="del">
          <ac:chgData name="Mery Carrasco Mauricio (Codelco-Casa Matriz)" userId="S::mmery004@codelco.cl::a0378191-74de-4d59-9b37-aa421303daba" providerId="AD" clId="Web-{FBF434E9-BAF1-7149-C60F-1A33BAD8A818}" dt="2021-01-14T14:53:10.193" v="397"/>
          <ac:picMkLst>
            <pc:docMk/>
            <pc:sldMk cId="922379868" sldId="417"/>
            <ac:picMk id="6" creationId="{858E5747-B117-4B7D-A68C-A9EB699E43EF}"/>
          </ac:picMkLst>
        </pc:picChg>
        <pc:picChg chg="add mod ord">
          <ac:chgData name="Mery Carrasco Mauricio (Codelco-Casa Matriz)" userId="S::mmery004@codelco.cl::a0378191-74de-4d59-9b37-aa421303daba" providerId="AD" clId="Web-{FBF434E9-BAF1-7149-C60F-1A33BAD8A818}" dt="2021-01-14T14:58:14.434" v="452"/>
          <ac:picMkLst>
            <pc:docMk/>
            <pc:sldMk cId="922379868" sldId="417"/>
            <ac:picMk id="7" creationId="{1665A02D-BB17-4FAD-A084-CC1D97C1AC0C}"/>
          </ac:picMkLst>
        </pc:picChg>
        <pc:picChg chg="del mod">
          <ac:chgData name="Mery Carrasco Mauricio (Codelco-Casa Matriz)" userId="S::mmery004@codelco.cl::a0378191-74de-4d59-9b37-aa421303daba" providerId="AD" clId="Web-{FBF434E9-BAF1-7149-C60F-1A33BAD8A818}" dt="2021-01-14T14:57:39.387" v="436"/>
          <ac:picMkLst>
            <pc:docMk/>
            <pc:sldMk cId="922379868" sldId="417"/>
            <ac:picMk id="8" creationId="{B54ABE1D-1841-4F71-AB41-3BF502378D5F}"/>
          </ac:picMkLst>
        </pc:picChg>
      </pc:sldChg>
      <pc:sldChg chg="del">
        <pc:chgData name="Mery Carrasco Mauricio (Codelco-Casa Matriz)" userId="S::mmery004@codelco.cl::a0378191-74de-4d59-9b37-aa421303daba" providerId="AD" clId="Web-{FBF434E9-BAF1-7149-C60F-1A33BAD8A818}" dt="2021-01-14T14:49:50.360" v="396"/>
        <pc:sldMkLst>
          <pc:docMk/>
          <pc:sldMk cId="1773635513" sldId="429"/>
        </pc:sldMkLst>
      </pc:sldChg>
      <pc:sldChg chg="ord">
        <pc:chgData name="Mery Carrasco Mauricio (Codelco-Casa Matriz)" userId="S::mmery004@codelco.cl::a0378191-74de-4d59-9b37-aa421303daba" providerId="AD" clId="Web-{FBF434E9-BAF1-7149-C60F-1A33BAD8A818}" dt="2021-01-14T14:46:43.387" v="381"/>
        <pc:sldMkLst>
          <pc:docMk/>
          <pc:sldMk cId="3013288184" sldId="433"/>
        </pc:sldMkLst>
      </pc:sldChg>
      <pc:sldChg chg="ord">
        <pc:chgData name="Mery Carrasco Mauricio (Codelco-Casa Matriz)" userId="S::mmery004@codelco.cl::a0378191-74de-4d59-9b37-aa421303daba" providerId="AD" clId="Web-{FBF434E9-BAF1-7149-C60F-1A33BAD8A818}" dt="2021-01-14T14:46:50.544" v="382"/>
        <pc:sldMkLst>
          <pc:docMk/>
          <pc:sldMk cId="2954005240" sldId="434"/>
        </pc:sldMkLst>
      </pc:sldChg>
      <pc:sldChg chg="addSp modSp add">
        <pc:chgData name="Mery Carrasco Mauricio (Codelco-Casa Matriz)" userId="S::mmery004@codelco.cl::a0378191-74de-4d59-9b37-aa421303daba" providerId="AD" clId="Web-{FBF434E9-BAF1-7149-C60F-1A33BAD8A818}" dt="2021-01-14T14:28:02.392" v="111" actId="14100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FBF434E9-BAF1-7149-C60F-1A33BAD8A818}" dt="2021-01-14T14:17:12.221" v="42" actId="20577"/>
          <ac:spMkLst>
            <pc:docMk/>
            <pc:sldMk cId="1775339418" sldId="440"/>
            <ac:spMk id="6" creationId="{AF7A22DA-AF85-428B-B711-E602D01C0FB8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25:00.669" v="101" actId="1076"/>
          <ac:spMkLst>
            <pc:docMk/>
            <pc:sldMk cId="1775339418" sldId="440"/>
            <ac:spMk id="13" creationId="{4BCCED25-5101-48BF-BE97-E98C170DD1B6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24:39.090" v="94" actId="1076"/>
          <ac:spMkLst>
            <pc:docMk/>
            <pc:sldMk cId="1775339418" sldId="440"/>
            <ac:spMk id="15" creationId="{A78BACFA-6529-45C2-A8C8-CC43D60C239A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21:49.087" v="92" actId="1076"/>
          <ac:spMkLst>
            <pc:docMk/>
            <pc:sldMk cId="1775339418" sldId="440"/>
            <ac:spMk id="16" creationId="{C00DB99F-1227-45EE-96AB-49E78C7FCA53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25:00.638" v="99" actId="1076"/>
          <ac:spMkLst>
            <pc:docMk/>
            <pc:sldMk cId="1775339418" sldId="440"/>
            <ac:spMk id="17" creationId="{BB65DE49-777C-4C67-995D-2A4AE3C491FB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26:24.358" v="105" actId="14100"/>
          <ac:spMkLst>
            <pc:docMk/>
            <pc:sldMk cId="1775339418" sldId="440"/>
            <ac:spMk id="19" creationId="{488562D1-4154-4B20-8682-0B484D7B4DCB}"/>
          </ac:spMkLst>
        </pc:spChg>
        <pc:picChg chg="mod">
          <ac:chgData name="Mery Carrasco Mauricio (Codelco-Casa Matriz)" userId="S::mmery004@codelco.cl::a0378191-74de-4d59-9b37-aa421303daba" providerId="AD" clId="Web-{FBF434E9-BAF1-7149-C60F-1A33BAD8A818}" dt="2021-01-14T14:25:00.653" v="100" actId="1076"/>
          <ac:picMkLst>
            <pc:docMk/>
            <pc:sldMk cId="1775339418" sldId="440"/>
            <ac:picMk id="23" creationId="{AA394167-26F5-420B-B099-94C35FD95B80}"/>
          </ac:picMkLst>
        </pc:picChg>
        <pc:picChg chg="mod">
          <ac:chgData name="Mery Carrasco Mauricio (Codelco-Casa Matriz)" userId="S::mmery004@codelco.cl::a0378191-74de-4d59-9b37-aa421303daba" providerId="AD" clId="Web-{FBF434E9-BAF1-7149-C60F-1A33BAD8A818}" dt="2021-01-14T14:21:31.196" v="91" actId="14100"/>
          <ac:picMkLst>
            <pc:docMk/>
            <pc:sldMk cId="1775339418" sldId="440"/>
            <ac:picMk id="25" creationId="{0EC4A1D1-CA04-493B-85D3-AA6FFD3DE495}"/>
          </ac:picMkLst>
        </pc:picChg>
        <pc:cxnChg chg="add mod">
          <ac:chgData name="Mery Carrasco Mauricio (Codelco-Casa Matriz)" userId="S::mmery004@codelco.cl::a0378191-74de-4d59-9b37-aa421303daba" providerId="AD" clId="Web-{FBF434E9-BAF1-7149-C60F-1A33BAD8A818}" dt="2021-01-14T14:28:02.392" v="111" actId="14100"/>
          <ac:cxnSpMkLst>
            <pc:docMk/>
            <pc:sldMk cId="1775339418" sldId="440"/>
            <ac:cxnSpMk id="2" creationId="{8CD75B6F-4A66-4E05-80C5-D1D4A44466FE}"/>
          </ac:cxnSpMkLst>
        </pc:cxnChg>
      </pc:sldChg>
      <pc:sldChg chg="del">
        <pc:chgData name="Mery Carrasco Mauricio (Codelco-Casa Matriz)" userId="S::mmery004@codelco.cl::a0378191-74de-4d59-9b37-aa421303daba" providerId="AD" clId="Web-{FBF434E9-BAF1-7149-C60F-1A33BAD8A818}" dt="2021-01-14T14:34:53.963" v="181"/>
        <pc:sldMkLst>
          <pc:docMk/>
          <pc:sldMk cId="999419969" sldId="441"/>
        </pc:sldMkLst>
      </pc:sldChg>
      <pc:sldChg chg="modSp add ord">
        <pc:chgData name="Mery Carrasco Mauricio (Codelco-Casa Matriz)" userId="S::mmery004@codelco.cl::a0378191-74de-4d59-9b37-aa421303daba" providerId="AD" clId="Web-{FBF434E9-BAF1-7149-C60F-1A33BAD8A818}" dt="2021-01-14T14:34:10.400" v="180" actId="20577"/>
        <pc:sldMkLst>
          <pc:docMk/>
          <pc:sldMk cId="2741110803" sldId="442"/>
        </pc:sldMkLst>
        <pc:spChg chg="mod">
          <ac:chgData name="Mery Carrasco Mauricio (Codelco-Casa Matriz)" userId="S::mmery004@codelco.cl::a0378191-74de-4d59-9b37-aa421303daba" providerId="AD" clId="Web-{FBF434E9-BAF1-7149-C60F-1A33BAD8A818}" dt="2021-01-14T14:34:10.400" v="180" actId="20577"/>
          <ac:spMkLst>
            <pc:docMk/>
            <pc:sldMk cId="2741110803" sldId="442"/>
            <ac:spMk id="2" creationId="{38D51610-574B-4112-B1EB-8919999B1133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1:57.116" v="122" actId="20577"/>
          <ac:spMkLst>
            <pc:docMk/>
            <pc:sldMk cId="2741110803" sldId="442"/>
            <ac:spMk id="101" creationId="{97039D8B-197D-4F84-915E-D6F4DF74EFB7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33.149" v="166" actId="20577"/>
          <ac:spMkLst>
            <pc:docMk/>
            <pc:sldMk cId="2741110803" sldId="442"/>
            <ac:spMk id="102" creationId="{6DD98717-D775-4233-BA33-565C0CF4CD09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41.352" v="170" actId="20577"/>
          <ac:spMkLst>
            <pc:docMk/>
            <pc:sldMk cId="2741110803" sldId="442"/>
            <ac:spMk id="103" creationId="{1957304F-927F-4694-B3D1-1A5C503A601F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1:58.600" v="126" actId="20577"/>
          <ac:spMkLst>
            <pc:docMk/>
            <pc:sldMk cId="2741110803" sldId="442"/>
            <ac:spMk id="108" creationId="{623221B3-0581-4BF7-9E5B-3A7CBC1F71D3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17.868" v="158" actId="20577"/>
          <ac:spMkLst>
            <pc:docMk/>
            <pc:sldMk cId="2741110803" sldId="442"/>
            <ac:spMk id="111" creationId="{D1EE795A-B9D1-498C-8B60-90E726C6CFF6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27.446" v="162" actId="20577"/>
          <ac:spMkLst>
            <pc:docMk/>
            <pc:sldMk cId="2741110803" sldId="442"/>
            <ac:spMk id="112" creationId="{10DC9395-1FEC-4D55-A651-2650087F5BDA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2:06.350" v="130" actId="20577"/>
          <ac:spMkLst>
            <pc:docMk/>
            <pc:sldMk cId="2741110803" sldId="442"/>
            <ac:spMk id="114" creationId="{27E6CE3B-6329-4F57-8C30-A6CC0ACA6751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02.070" v="150" actId="20577"/>
          <ac:spMkLst>
            <pc:docMk/>
            <pc:sldMk cId="2741110803" sldId="442"/>
            <ac:spMk id="115" creationId="{34E0C927-3329-43CA-A143-7C70C37640F8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08.055" v="154" actId="20577"/>
          <ac:spMkLst>
            <pc:docMk/>
            <pc:sldMk cId="2741110803" sldId="442"/>
            <ac:spMk id="119" creationId="{7919CE3A-B3E3-456E-96EB-ED1D4EFF359D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2:31.257" v="134" actId="20577"/>
          <ac:spMkLst>
            <pc:docMk/>
            <pc:sldMk cId="2741110803" sldId="442"/>
            <ac:spMk id="125" creationId="{782CDF01-FF43-40B3-B80D-09469E47A0B5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2:39.960" v="138" actId="20577"/>
          <ac:spMkLst>
            <pc:docMk/>
            <pc:sldMk cId="2741110803" sldId="442"/>
            <ac:spMk id="126" creationId="{886F8F83-CD47-4728-909D-66F1DFEE2315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2:45.179" v="142" actId="20577"/>
          <ac:spMkLst>
            <pc:docMk/>
            <pc:sldMk cId="2741110803" sldId="442"/>
            <ac:spMk id="127" creationId="{A4D1AB43-E739-46B6-82CE-2034B86F9797}"/>
          </ac:spMkLst>
        </pc:spChg>
        <pc:spChg chg="mod">
          <ac:chgData name="Mery Carrasco Mauricio (Codelco-Casa Matriz)" userId="S::mmery004@codelco.cl::a0378191-74de-4d59-9b37-aa421303daba" providerId="AD" clId="Web-{FBF434E9-BAF1-7149-C60F-1A33BAD8A818}" dt="2021-01-14T14:33:00.539" v="146" actId="20577"/>
          <ac:spMkLst>
            <pc:docMk/>
            <pc:sldMk cId="2741110803" sldId="442"/>
            <ac:spMk id="128" creationId="{4E28C576-E3F3-47DC-8F40-43DBA17E37D5}"/>
          </ac:spMkLst>
        </pc:spChg>
      </pc:sldChg>
      <pc:sldChg chg="add del">
        <pc:chgData name="Mery Carrasco Mauricio (Codelco-Casa Matriz)" userId="S::mmery004@codelco.cl::a0378191-74de-4d59-9b37-aa421303daba" providerId="AD" clId="Web-{FBF434E9-BAF1-7149-C60F-1A33BAD8A818}" dt="2021-01-14T14:30:50.833" v="116"/>
        <pc:sldMkLst>
          <pc:docMk/>
          <pc:sldMk cId="2751276341" sldId="442"/>
        </pc:sldMkLst>
      </pc:sldChg>
      <pc:sldChg chg="add mod modShow">
        <pc:chgData name="Mery Carrasco Mauricio (Codelco-Casa Matriz)" userId="S::mmery004@codelco.cl::a0378191-74de-4d59-9b37-aa421303daba" providerId="AD" clId="Web-{FBF434E9-BAF1-7149-C60F-1A33BAD8A818}" dt="2021-01-14T14:36:03.668" v="184"/>
        <pc:sldMkLst>
          <pc:docMk/>
          <pc:sldMk cId="1289861142" sldId="443"/>
        </pc:sldMkLst>
      </pc:sldChg>
      <pc:sldChg chg="add mod modShow">
        <pc:chgData name="Mery Carrasco Mauricio (Codelco-Casa Matriz)" userId="S::mmery004@codelco.cl::a0378191-74de-4d59-9b37-aa421303daba" providerId="AD" clId="Web-{FBF434E9-BAF1-7149-C60F-1A33BAD8A818}" dt="2021-01-14T14:36:09.481" v="185"/>
        <pc:sldMkLst>
          <pc:docMk/>
          <pc:sldMk cId="1797116895" sldId="444"/>
        </pc:sldMkLst>
      </pc:sldChg>
      <pc:sldMasterChg chg="modSldLayout">
        <pc:chgData name="Mery Carrasco Mauricio (Codelco-Casa Matriz)" userId="S::mmery004@codelco.cl::a0378191-74de-4d59-9b37-aa421303daba" providerId="AD" clId="Web-{FBF434E9-BAF1-7149-C60F-1A33BAD8A818}" dt="2021-01-14T14:12:05.511" v="0"/>
        <pc:sldMasterMkLst>
          <pc:docMk/>
          <pc:sldMasterMk cId="3386525249" sldId="2147483864"/>
        </pc:sldMasterMkLst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3386525249" sldId="2147483864"/>
            <pc:sldLayoutMk cId="324885987" sldId="2147484206"/>
          </pc:sldLayoutMkLst>
        </pc:sldLayoutChg>
      </pc:sldMasterChg>
      <pc:sldMasterChg chg="modSldLayout">
        <pc:chgData name="Mery Carrasco Mauricio (Codelco-Casa Matriz)" userId="S::mmery004@codelco.cl::a0378191-74de-4d59-9b37-aa421303daba" providerId="AD" clId="Web-{FBF434E9-BAF1-7149-C60F-1A33BAD8A818}" dt="2021-01-14T14:31:06.599" v="117"/>
        <pc:sldMasterMkLst>
          <pc:docMk/>
          <pc:sldMasterMk cId="1947106969" sldId="2147483922"/>
        </pc:sldMasterMkLst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947106969" sldId="2147483922"/>
            <pc:sldLayoutMk cId="385459307" sldId="2147484217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947106969" sldId="2147483922"/>
            <pc:sldLayoutMk cId="2814903871" sldId="2147484218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947106969" sldId="2147483922"/>
            <pc:sldLayoutMk cId="3336722768" sldId="2147484219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947106969" sldId="2147483922"/>
            <pc:sldLayoutMk cId="1922737006" sldId="2147484220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947106969" sldId="2147483922"/>
            <pc:sldLayoutMk cId="3259745541" sldId="2147484221"/>
          </pc:sldLayoutMkLst>
        </pc:sldLayoutChg>
      </pc:sldMasterChg>
      <pc:sldMasterChg chg="add addSldLayout">
        <pc:chgData name="Mery Carrasco Mauricio (Codelco-Casa Matriz)" userId="S::mmery004@codelco.cl::a0378191-74de-4d59-9b37-aa421303daba" providerId="AD" clId="Web-{FBF434E9-BAF1-7149-C60F-1A33BAD8A818}" dt="2021-01-14T14:31:06.599" v="117"/>
        <pc:sldMasterMkLst>
          <pc:docMk/>
          <pc:sldMasterMk cId="2080338986" sldId="2147483938"/>
        </pc:sldMasterMkLst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79587132" sldId="2147483939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98637217" sldId="2147483940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3811677158" sldId="2147483945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850758434" sldId="2147483946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326059758" sldId="2147483947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170278947" sldId="2147483948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3587830076" sldId="2147483949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237357201" sldId="2147483950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3336744820" sldId="2147483951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283753307" sldId="2147483952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831580364" sldId="2147483953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30213971" sldId="2147483954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596713927" sldId="2147483955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435926335" sldId="2147483956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3315034823" sldId="2147483957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556684868" sldId="2147483958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183380570" sldId="2147483959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1513513306" sldId="2147484383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320535139" sldId="2147484384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143870222" sldId="2147484403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080338986" sldId="2147483938"/>
            <pc:sldLayoutMk cId="2875399439" sldId="2147484404"/>
          </pc:sldLayoutMkLst>
        </pc:sldLayoutChg>
      </pc:sldMasterChg>
      <pc:sldMasterChg chg="modSldLayout">
        <pc:chgData name="Mery Carrasco Mauricio (Codelco-Casa Matriz)" userId="S::mmery004@codelco.cl::a0378191-74de-4d59-9b37-aa421303daba" providerId="AD" clId="Web-{FBF434E9-BAF1-7149-C60F-1A33BAD8A818}" dt="2021-01-14T14:31:06.599" v="117"/>
        <pc:sldMasterMkLst>
          <pc:docMk/>
          <pc:sldMasterMk cId="2969229741" sldId="2147484134"/>
        </pc:sldMasterMkLst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134"/>
            <pc:sldLayoutMk cId="554729717" sldId="2147484202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134"/>
            <pc:sldLayoutMk cId="960843776" sldId="2147484203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134"/>
            <pc:sldLayoutMk cId="37610835" sldId="2147484204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134"/>
            <pc:sldLayoutMk cId="3684205832" sldId="2147484208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134"/>
            <pc:sldLayoutMk cId="392851952" sldId="2147484209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969229741" sldId="2147484134"/>
            <pc:sldLayoutMk cId="554729717" sldId="2147484222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969229741" sldId="2147484134"/>
            <pc:sldLayoutMk cId="1746498062" sldId="2147484224"/>
          </pc:sldLayoutMkLst>
        </pc:sldLayoutChg>
      </pc:sldMasterChg>
      <pc:sldMasterChg chg="replId modSldLayout">
        <pc:chgData name="Mery Carrasco Mauricio (Codelco-Casa Matriz)" userId="S::mmery004@codelco.cl::a0378191-74de-4d59-9b37-aa421303daba" providerId="AD" clId="Web-{FBF434E9-BAF1-7149-C60F-1A33BAD8A818}" dt="2021-01-14T14:12:05.511" v="0"/>
        <pc:sldMasterMkLst>
          <pc:docMk/>
          <pc:sldMasterMk cId="2969229741" sldId="2147484210"/>
        </pc:sldMasterMkLst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210"/>
            <pc:sldLayoutMk cId="3543058118" sldId="2147484211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210"/>
            <pc:sldLayoutMk cId="1608224328" sldId="2147484212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210"/>
            <pc:sldLayoutMk cId="3852498680" sldId="2147484213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210"/>
            <pc:sldLayoutMk cId="3079707490" sldId="2147484214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210"/>
            <pc:sldLayoutMk cId="2497063147" sldId="2147484215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210"/>
            <pc:sldLayoutMk cId="2411697666" sldId="2147484216"/>
          </pc:sldLayoutMkLst>
        </pc:sldLayoutChg>
      </pc:sldMasterChg>
      <pc:sldMasterChg chg="add replId addSldLayout modSldLayout">
        <pc:chgData name="Mery Carrasco Mauricio (Codelco-Casa Matriz)" userId="S::mmery004@codelco.cl::a0378191-74de-4d59-9b37-aa421303daba" providerId="AD" clId="Web-{FBF434E9-BAF1-7149-C60F-1A33BAD8A818}" dt="2021-01-14T14:31:06.599" v="117"/>
        <pc:sldMasterMkLst>
          <pc:docMk/>
          <pc:sldMasterMk cId="110383248" sldId="2147484225"/>
        </pc:sldMasterMkLst>
        <pc:sldLayoutChg chg="ad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110383248" sldId="2147484225"/>
            <pc:sldLayoutMk cId="4134009174" sldId="2147483960"/>
          </pc:sldLayoutMkLst>
        </pc:sldLayoutChg>
        <pc:sldLayoutChg chg="ad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110383248" sldId="2147484225"/>
            <pc:sldLayoutMk cId="211830895" sldId="2147483961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515623449" sldId="2147484226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670844079" sldId="2147484227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1440670995" sldId="2147484228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1508569878" sldId="2147484229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284063116" sldId="2147484230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2799117750" sldId="2147484231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2991986632" sldId="2147484232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1149631062" sldId="2147484233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2456382332" sldId="2147484234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2582579426" sldId="2147484235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1791922358" sldId="2147484236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4244972895" sldId="2147484237"/>
          </pc:sldLayoutMkLst>
        </pc:sldLayoutChg>
        <pc:sldLayoutChg chg="add 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110383248" sldId="2147484225"/>
            <pc:sldLayoutMk cId="2355432228" sldId="2147484238"/>
          </pc:sldLayoutMkLst>
        </pc:sldLayoutChg>
      </pc:sldMasterChg>
      <pc:sldMasterChg chg="modSldLayout">
        <pc:chgData name="Mery Carrasco Mauricio (Codelco-Casa Matriz)" userId="S::mmery004@codelco.cl::a0378191-74de-4d59-9b37-aa421303daba" providerId="AD" clId="Web-{FBF434E9-BAF1-7149-C60F-1A33BAD8A818}" dt="2021-01-14T14:31:06.599" v="117"/>
        <pc:sldMasterMkLst>
          <pc:docMk/>
          <pc:sldMasterMk cId="2969229741" sldId="2147484423"/>
        </pc:sldMasterMkLst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423"/>
            <pc:sldLayoutMk cId="2612411629" sldId="2147484205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12:05.511" v="0"/>
          <pc:sldLayoutMkLst>
            <pc:docMk/>
            <pc:sldMasterMk cId="2969229741" sldId="2147484423"/>
            <pc:sldLayoutMk cId="618327159" sldId="2147484207"/>
          </pc:sldLayoutMkLst>
        </pc:sldLayoutChg>
        <pc:sldLayoutChg chg="replId">
          <pc:chgData name="Mery Carrasco Mauricio (Codelco-Casa Matriz)" userId="S::mmery004@codelco.cl::a0378191-74de-4d59-9b37-aa421303daba" providerId="AD" clId="Web-{FBF434E9-BAF1-7149-C60F-1A33BAD8A818}" dt="2021-01-14T14:31:06.599" v="117"/>
          <pc:sldLayoutMkLst>
            <pc:docMk/>
            <pc:sldMasterMk cId="2969229741" sldId="2147484423"/>
            <pc:sldLayoutMk cId="106709850" sldId="2147484223"/>
          </pc:sldLayoutMkLst>
        </pc:sldLayoutChg>
      </pc:sldMasterChg>
    </pc:docChg>
  </pc:docChgLst>
  <pc:docChgLst>
    <pc:chgData name="Seguel Herrera Jaime (Codelco-Chuquicamata)" userId="32785304-4b95-4f48-b25b-25c40beb25d3" providerId="ADAL" clId="{A767C880-AF40-4BF7-A0EA-80088A2F7ABC}"/>
    <pc:docChg chg="undo custSel addSld delSld modSld sldOrd">
      <pc:chgData name="Seguel Herrera Jaime (Codelco-Chuquicamata)" userId="32785304-4b95-4f48-b25b-25c40beb25d3" providerId="ADAL" clId="{A767C880-AF40-4BF7-A0EA-80088A2F7ABC}" dt="2023-11-07T14:50:24.403" v="1913" actId="20577"/>
      <pc:docMkLst>
        <pc:docMk/>
      </pc:docMkLst>
      <pc:sldChg chg="modSp mod">
        <pc:chgData name="Seguel Herrera Jaime (Codelco-Chuquicamata)" userId="32785304-4b95-4f48-b25b-25c40beb25d3" providerId="ADAL" clId="{A767C880-AF40-4BF7-A0EA-80088A2F7ABC}" dt="2023-11-01T19:44:35.104" v="732" actId="20577"/>
        <pc:sldMkLst>
          <pc:docMk/>
          <pc:sldMk cId="667792920" sldId="635"/>
        </pc:sldMkLst>
        <pc:spChg chg="mod">
          <ac:chgData name="Seguel Herrera Jaime (Codelco-Chuquicamata)" userId="32785304-4b95-4f48-b25b-25c40beb25d3" providerId="ADAL" clId="{A767C880-AF40-4BF7-A0EA-80088A2F7ABC}" dt="2023-11-01T19:44:35.104" v="732" actId="20577"/>
          <ac:spMkLst>
            <pc:docMk/>
            <pc:sldMk cId="667792920" sldId="635"/>
            <ac:spMk id="13" creationId="{44B4F61D-2A3E-494F-96A3-1A6AF2B837AC}"/>
          </ac:spMkLst>
        </pc:spChg>
      </pc:sldChg>
      <pc:sldChg chg="del">
        <pc:chgData name="Seguel Herrera Jaime (Codelco-Chuquicamata)" userId="32785304-4b95-4f48-b25b-25c40beb25d3" providerId="ADAL" clId="{A767C880-AF40-4BF7-A0EA-80088A2F7ABC}" dt="2023-11-01T18:04:43.831" v="0" actId="47"/>
        <pc:sldMkLst>
          <pc:docMk/>
          <pc:sldMk cId="725981682" sldId="704"/>
        </pc:sldMkLst>
      </pc:sldChg>
      <pc:sldChg chg="del">
        <pc:chgData name="Seguel Herrera Jaime (Codelco-Chuquicamata)" userId="32785304-4b95-4f48-b25b-25c40beb25d3" providerId="ADAL" clId="{A767C880-AF40-4BF7-A0EA-80088A2F7ABC}" dt="2023-11-01T18:04:44.891" v="3" actId="47"/>
        <pc:sldMkLst>
          <pc:docMk/>
          <pc:sldMk cId="3383309159" sldId="706"/>
        </pc:sldMkLst>
      </pc:sldChg>
      <pc:sldChg chg="addSp delSp modSp mod ord">
        <pc:chgData name="Seguel Herrera Jaime (Codelco-Chuquicamata)" userId="32785304-4b95-4f48-b25b-25c40beb25d3" providerId="ADAL" clId="{A767C880-AF40-4BF7-A0EA-80088A2F7ABC}" dt="2023-11-01T19:37:12.081" v="545" actId="1076"/>
        <pc:sldMkLst>
          <pc:docMk/>
          <pc:sldMk cId="1327174361" sldId="707"/>
        </pc:sldMkLst>
        <pc:spChg chg="add mod">
          <ac:chgData name="Seguel Herrera Jaime (Codelco-Chuquicamata)" userId="32785304-4b95-4f48-b25b-25c40beb25d3" providerId="ADAL" clId="{A767C880-AF40-4BF7-A0EA-80088A2F7ABC}" dt="2023-11-01T19:36:22.801" v="505" actId="1076"/>
          <ac:spMkLst>
            <pc:docMk/>
            <pc:sldMk cId="1327174361" sldId="707"/>
            <ac:spMk id="6" creationId="{8E6F6CF3-E098-FFED-0B52-4577376E25A1}"/>
          </ac:spMkLst>
        </pc:spChg>
        <pc:spChg chg="del">
          <ac:chgData name="Seguel Herrera Jaime (Codelco-Chuquicamata)" userId="32785304-4b95-4f48-b25b-25c40beb25d3" providerId="ADAL" clId="{A767C880-AF40-4BF7-A0EA-80088A2F7ABC}" dt="2023-11-01T18:04:49.411" v="8" actId="478"/>
          <ac:spMkLst>
            <pc:docMk/>
            <pc:sldMk cId="1327174361" sldId="707"/>
            <ac:spMk id="7" creationId="{EC64C1DE-D69B-8D62-FA17-44EC44DB6829}"/>
          </ac:spMkLst>
        </pc:spChg>
        <pc:spChg chg="del">
          <ac:chgData name="Seguel Herrera Jaime (Codelco-Chuquicamata)" userId="32785304-4b95-4f48-b25b-25c40beb25d3" providerId="ADAL" clId="{A767C880-AF40-4BF7-A0EA-80088A2F7ABC}" dt="2023-11-01T18:04:52.105" v="9" actId="478"/>
          <ac:spMkLst>
            <pc:docMk/>
            <pc:sldMk cId="1327174361" sldId="707"/>
            <ac:spMk id="11" creationId="{06FD03D9-FFBF-EDCB-B1EE-27D68D1EA3B9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7:06.281" v="543" actId="1076"/>
          <ac:spMkLst>
            <pc:docMk/>
            <pc:sldMk cId="1327174361" sldId="707"/>
            <ac:spMk id="16" creationId="{DB9E10BE-4265-58D0-9FAC-0C2F5F5A6B0E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7:12.081" v="545" actId="1076"/>
          <ac:spMkLst>
            <pc:docMk/>
            <pc:sldMk cId="1327174361" sldId="707"/>
            <ac:spMk id="17" creationId="{24FDADE8-F70B-11C6-1B1D-84A021D0AE26}"/>
          </ac:spMkLst>
        </pc:spChg>
        <pc:picChg chg="add del mod">
          <ac:chgData name="Seguel Herrera Jaime (Codelco-Chuquicamata)" userId="32785304-4b95-4f48-b25b-25c40beb25d3" providerId="ADAL" clId="{A767C880-AF40-4BF7-A0EA-80088A2F7ABC}" dt="2023-11-01T18:12:57.298" v="30" actId="478"/>
          <ac:picMkLst>
            <pc:docMk/>
            <pc:sldMk cId="1327174361" sldId="707"/>
            <ac:picMk id="3" creationId="{254299CE-463E-1B49-8375-C49A654FCC60}"/>
          </ac:picMkLst>
        </pc:picChg>
        <pc:picChg chg="add mod">
          <ac:chgData name="Seguel Herrera Jaime (Codelco-Chuquicamata)" userId="32785304-4b95-4f48-b25b-25c40beb25d3" providerId="ADAL" clId="{A767C880-AF40-4BF7-A0EA-80088A2F7ABC}" dt="2023-11-01T18:13:48.401" v="43" actId="1076"/>
          <ac:picMkLst>
            <pc:docMk/>
            <pc:sldMk cId="1327174361" sldId="707"/>
            <ac:picMk id="5" creationId="{A220EC07-9487-5986-DC7E-2CF71EB9AAB7}"/>
          </ac:picMkLst>
        </pc:picChg>
        <pc:inkChg chg="del">
          <ac:chgData name="Seguel Herrera Jaime (Codelco-Chuquicamata)" userId="32785304-4b95-4f48-b25b-25c40beb25d3" providerId="ADAL" clId="{A767C880-AF40-4BF7-A0EA-80088A2F7ABC}" dt="2023-11-01T18:04:49.411" v="8" actId="478"/>
          <ac:inkMkLst>
            <pc:docMk/>
            <pc:sldMk cId="1327174361" sldId="707"/>
            <ac:inkMk id="12" creationId="{A992D929-C49E-5F6D-9BC3-E4BFDDB498F1}"/>
          </ac:inkMkLst>
        </pc:inkChg>
        <pc:cxnChg chg="add">
          <ac:chgData name="Seguel Herrera Jaime (Codelco-Chuquicamata)" userId="32785304-4b95-4f48-b25b-25c40beb25d3" providerId="ADAL" clId="{A767C880-AF40-4BF7-A0EA-80088A2F7ABC}" dt="2023-11-01T19:36:29.795" v="506" actId="11529"/>
          <ac:cxnSpMkLst>
            <pc:docMk/>
            <pc:sldMk cId="1327174361" sldId="707"/>
            <ac:cxnSpMk id="9" creationId="{159AB281-0C5B-0C6D-43AF-F8094CB7B30E}"/>
          </ac:cxnSpMkLst>
        </pc:cxnChg>
        <pc:cxnChg chg="add mod">
          <ac:chgData name="Seguel Herrera Jaime (Codelco-Chuquicamata)" userId="32785304-4b95-4f48-b25b-25c40beb25d3" providerId="ADAL" clId="{A767C880-AF40-4BF7-A0EA-80088A2F7ABC}" dt="2023-11-01T19:36:40.207" v="510" actId="14100"/>
          <ac:cxnSpMkLst>
            <pc:docMk/>
            <pc:sldMk cId="1327174361" sldId="707"/>
            <ac:cxnSpMk id="10" creationId="{18108874-C1B5-3321-6E25-72BC7DF0EC3B}"/>
          </ac:cxnSpMkLst>
        </pc:cxnChg>
      </pc:sldChg>
      <pc:sldChg chg="del">
        <pc:chgData name="Seguel Herrera Jaime (Codelco-Chuquicamata)" userId="32785304-4b95-4f48-b25b-25c40beb25d3" providerId="ADAL" clId="{A767C880-AF40-4BF7-A0EA-80088A2F7ABC}" dt="2023-11-01T18:04:46.627" v="7" actId="47"/>
        <pc:sldMkLst>
          <pc:docMk/>
          <pc:sldMk cId="779933337" sldId="708"/>
        </pc:sldMkLst>
      </pc:sldChg>
      <pc:sldChg chg="addSp delSp modSp new mod">
        <pc:chgData name="Seguel Herrera Jaime (Codelco-Chuquicamata)" userId="32785304-4b95-4f48-b25b-25c40beb25d3" providerId="ADAL" clId="{A767C880-AF40-4BF7-A0EA-80088A2F7ABC}" dt="2023-11-01T19:43:27.346" v="678" actId="14100"/>
        <pc:sldMkLst>
          <pc:docMk/>
          <pc:sldMk cId="1380766613" sldId="708"/>
        </pc:sldMkLst>
        <pc:spChg chg="del">
          <ac:chgData name="Seguel Herrera Jaime (Codelco-Chuquicamata)" userId="32785304-4b95-4f48-b25b-25c40beb25d3" providerId="ADAL" clId="{A767C880-AF40-4BF7-A0EA-80088A2F7ABC}" dt="2023-11-01T18:05:29.269" v="22" actId="478"/>
          <ac:spMkLst>
            <pc:docMk/>
            <pc:sldMk cId="1380766613" sldId="708"/>
            <ac:spMk id="2" creationId="{E97B553D-4A2D-F5AB-D14F-289ACE7F8166}"/>
          </ac:spMkLst>
        </pc:spChg>
        <pc:spChg chg="del">
          <ac:chgData name="Seguel Herrera Jaime (Codelco-Chuquicamata)" userId="32785304-4b95-4f48-b25b-25c40beb25d3" providerId="ADAL" clId="{A767C880-AF40-4BF7-A0EA-80088A2F7ABC}" dt="2023-11-01T18:05:29.269" v="22" actId="478"/>
          <ac:spMkLst>
            <pc:docMk/>
            <pc:sldMk cId="1380766613" sldId="708"/>
            <ac:spMk id="3" creationId="{5FCE0000-7CFA-0D87-616A-1F20F214B2C4}"/>
          </ac:spMkLst>
        </pc:spChg>
        <pc:spChg chg="del">
          <ac:chgData name="Seguel Herrera Jaime (Codelco-Chuquicamata)" userId="32785304-4b95-4f48-b25b-25c40beb25d3" providerId="ADAL" clId="{A767C880-AF40-4BF7-A0EA-80088A2F7ABC}" dt="2023-11-01T18:05:25.536" v="20" actId="478"/>
          <ac:spMkLst>
            <pc:docMk/>
            <pc:sldMk cId="1380766613" sldId="708"/>
            <ac:spMk id="4" creationId="{AA810420-C9F1-2C43-717A-4C3D906AC56C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43:27.346" v="678" actId="14100"/>
          <ac:spMkLst>
            <pc:docMk/>
            <pc:sldMk cId="1380766613" sldId="708"/>
            <ac:spMk id="19" creationId="{6FFD8BC7-0019-1267-5F5E-4CA809589A6E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5:03.013" v="368" actId="1076"/>
          <ac:spMkLst>
            <pc:docMk/>
            <pc:sldMk cId="1380766613" sldId="708"/>
            <ac:spMk id="20" creationId="{8ED2042A-BBA5-9EA4-6459-014BD0FF6FF7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5:44.028" v="486" actId="1076"/>
          <ac:spMkLst>
            <pc:docMk/>
            <pc:sldMk cId="1380766613" sldId="708"/>
            <ac:spMk id="21" creationId="{8E3922EE-562F-95E8-004D-FBA871F62918}"/>
          </ac:spMkLst>
        </pc:spChg>
        <pc:picChg chg="add del mod">
          <ac:chgData name="Seguel Herrera Jaime (Codelco-Chuquicamata)" userId="32785304-4b95-4f48-b25b-25c40beb25d3" providerId="ADAL" clId="{A767C880-AF40-4BF7-A0EA-80088A2F7ABC}" dt="2023-11-01T18:12:56.383" v="29" actId="478"/>
          <ac:picMkLst>
            <pc:docMk/>
            <pc:sldMk cId="1380766613" sldId="708"/>
            <ac:picMk id="6" creationId="{3A5BAF71-24FF-1616-FA0F-384D49CDB137}"/>
          </ac:picMkLst>
        </pc:picChg>
        <pc:picChg chg="add mod">
          <ac:chgData name="Seguel Herrera Jaime (Codelco-Chuquicamata)" userId="32785304-4b95-4f48-b25b-25c40beb25d3" providerId="ADAL" clId="{A767C880-AF40-4BF7-A0EA-80088A2F7ABC}" dt="2023-11-01T18:13:32.446" v="40" actId="14100"/>
          <ac:picMkLst>
            <pc:docMk/>
            <pc:sldMk cId="1380766613" sldId="708"/>
            <ac:picMk id="8" creationId="{60C18B48-815E-2C26-F7F7-2B2802873C49}"/>
          </ac:picMkLst>
        </pc:picChg>
        <pc:cxnChg chg="add mod">
          <ac:chgData name="Seguel Herrera Jaime (Codelco-Chuquicamata)" userId="32785304-4b95-4f48-b25b-25c40beb25d3" providerId="ADAL" clId="{A767C880-AF40-4BF7-A0EA-80088A2F7ABC}" dt="2023-11-01T19:33:51.076" v="294" actId="14100"/>
          <ac:cxnSpMkLst>
            <pc:docMk/>
            <pc:sldMk cId="1380766613" sldId="708"/>
            <ac:cxnSpMk id="10" creationId="{9F83858E-B25B-21A1-D8EC-6E6AFFDDBC4F}"/>
          </ac:cxnSpMkLst>
        </pc:cxnChg>
        <pc:cxnChg chg="add mod">
          <ac:chgData name="Seguel Herrera Jaime (Codelco-Chuquicamata)" userId="32785304-4b95-4f48-b25b-25c40beb25d3" providerId="ADAL" clId="{A767C880-AF40-4BF7-A0EA-80088A2F7ABC}" dt="2023-11-01T19:33:47.832" v="293" actId="14100"/>
          <ac:cxnSpMkLst>
            <pc:docMk/>
            <pc:sldMk cId="1380766613" sldId="708"/>
            <ac:cxnSpMk id="13" creationId="{29159166-55B9-C752-DB61-BAE501EE2D6D}"/>
          </ac:cxnSpMkLst>
        </pc:cxnChg>
      </pc:sldChg>
      <pc:sldChg chg="addSp delSp modSp new del mod">
        <pc:chgData name="Seguel Herrera Jaime (Codelco-Chuquicamata)" userId="32785304-4b95-4f48-b25b-25c40beb25d3" providerId="ADAL" clId="{A767C880-AF40-4BF7-A0EA-80088A2F7ABC}" dt="2023-11-01T18:12:58.165" v="31" actId="47"/>
        <pc:sldMkLst>
          <pc:docMk/>
          <pc:sldMk cId="1594030350" sldId="709"/>
        </pc:sldMkLst>
        <pc:spChg chg="del">
          <ac:chgData name="Seguel Herrera Jaime (Codelco-Chuquicamata)" userId="32785304-4b95-4f48-b25b-25c40beb25d3" providerId="ADAL" clId="{A767C880-AF40-4BF7-A0EA-80088A2F7ABC}" dt="2023-11-01T18:11:01.462" v="24" actId="478"/>
          <ac:spMkLst>
            <pc:docMk/>
            <pc:sldMk cId="1594030350" sldId="709"/>
            <ac:spMk id="2" creationId="{31F44BD4-80B1-D808-2E05-4873865F7734}"/>
          </ac:spMkLst>
        </pc:spChg>
        <pc:spChg chg="del">
          <ac:chgData name="Seguel Herrera Jaime (Codelco-Chuquicamata)" userId="32785304-4b95-4f48-b25b-25c40beb25d3" providerId="ADAL" clId="{A767C880-AF40-4BF7-A0EA-80088A2F7ABC}" dt="2023-11-01T18:11:01.462" v="24" actId="478"/>
          <ac:spMkLst>
            <pc:docMk/>
            <pc:sldMk cId="1594030350" sldId="709"/>
            <ac:spMk id="3" creationId="{6AF7075B-214A-47A8-EF3E-E505BA8BF3D1}"/>
          </ac:spMkLst>
        </pc:spChg>
        <pc:spChg chg="del">
          <ac:chgData name="Seguel Herrera Jaime (Codelco-Chuquicamata)" userId="32785304-4b95-4f48-b25b-25c40beb25d3" providerId="ADAL" clId="{A767C880-AF40-4BF7-A0EA-80088A2F7ABC}" dt="2023-11-01T18:11:01.462" v="24" actId="478"/>
          <ac:spMkLst>
            <pc:docMk/>
            <pc:sldMk cId="1594030350" sldId="709"/>
            <ac:spMk id="4" creationId="{0F8BE6AD-54D1-10B2-1193-1F809956C5F5}"/>
          </ac:spMkLst>
        </pc:spChg>
        <pc:picChg chg="add mod">
          <ac:chgData name="Seguel Herrera Jaime (Codelco-Chuquicamata)" userId="32785304-4b95-4f48-b25b-25c40beb25d3" providerId="ADAL" clId="{A767C880-AF40-4BF7-A0EA-80088A2F7ABC}" dt="2023-11-01T18:11:05.877" v="27" actId="1076"/>
          <ac:picMkLst>
            <pc:docMk/>
            <pc:sldMk cId="1594030350" sldId="709"/>
            <ac:picMk id="6" creationId="{7BC06E34-0BD5-82F2-D43A-3F094E120B53}"/>
          </ac:picMkLst>
        </pc:picChg>
      </pc:sldChg>
      <pc:sldChg chg="del">
        <pc:chgData name="Seguel Herrera Jaime (Codelco-Chuquicamata)" userId="32785304-4b95-4f48-b25b-25c40beb25d3" providerId="ADAL" clId="{A767C880-AF40-4BF7-A0EA-80088A2F7ABC}" dt="2023-11-01T18:04:44.075" v="1" actId="47"/>
        <pc:sldMkLst>
          <pc:docMk/>
          <pc:sldMk cId="1317864036" sldId="710"/>
        </pc:sldMkLst>
      </pc:sldChg>
      <pc:sldChg chg="addSp delSp modSp new mod ord">
        <pc:chgData name="Seguel Herrera Jaime (Codelco-Chuquicamata)" userId="32785304-4b95-4f48-b25b-25c40beb25d3" providerId="ADAL" clId="{A767C880-AF40-4BF7-A0EA-80088A2F7ABC}" dt="2023-11-01T19:30:30.861" v="223" actId="14100"/>
        <pc:sldMkLst>
          <pc:docMk/>
          <pc:sldMk cId="1328851221" sldId="710"/>
        </pc:sldMkLst>
        <pc:spChg chg="del">
          <ac:chgData name="Seguel Herrera Jaime (Codelco-Chuquicamata)" userId="32785304-4b95-4f48-b25b-25c40beb25d3" providerId="ADAL" clId="{A767C880-AF40-4BF7-A0EA-80088A2F7ABC}" dt="2023-11-01T18:31:56.767" v="111" actId="478"/>
          <ac:spMkLst>
            <pc:docMk/>
            <pc:sldMk cId="1328851221" sldId="710"/>
            <ac:spMk id="2" creationId="{5D145DE5-EA80-D68C-C3A2-D365CBB2B84A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1:56.767" v="111" actId="478"/>
          <ac:spMkLst>
            <pc:docMk/>
            <pc:sldMk cId="1328851221" sldId="710"/>
            <ac:spMk id="3" creationId="{0983B5B1-8289-DAE2-B88F-4AB867F3953C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1:56.767" v="111" actId="478"/>
          <ac:spMkLst>
            <pc:docMk/>
            <pc:sldMk cId="1328851221" sldId="710"/>
            <ac:spMk id="4" creationId="{0EDD897B-FEDA-F25D-A397-0FD89C7AE9B1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0:28.558" v="222" actId="14100"/>
          <ac:spMkLst>
            <pc:docMk/>
            <pc:sldMk cId="1328851221" sldId="710"/>
            <ac:spMk id="7" creationId="{FF16FFFB-2291-9D4D-3AF6-89BFE7B3FE6E}"/>
          </ac:spMkLst>
        </pc:spChg>
        <pc:picChg chg="add mod">
          <ac:chgData name="Seguel Herrera Jaime (Codelco-Chuquicamata)" userId="32785304-4b95-4f48-b25b-25c40beb25d3" providerId="ADAL" clId="{A767C880-AF40-4BF7-A0EA-80088A2F7ABC}" dt="2023-11-01T19:30:30.861" v="223" actId="14100"/>
          <ac:picMkLst>
            <pc:docMk/>
            <pc:sldMk cId="1328851221" sldId="710"/>
            <ac:picMk id="6" creationId="{2834DDEE-FD92-E533-60EC-6ED1DA8D27A2}"/>
          </ac:picMkLst>
        </pc:picChg>
      </pc:sldChg>
      <pc:sldChg chg="del">
        <pc:chgData name="Seguel Herrera Jaime (Codelco-Chuquicamata)" userId="32785304-4b95-4f48-b25b-25c40beb25d3" providerId="ADAL" clId="{A767C880-AF40-4BF7-A0EA-80088A2F7ABC}" dt="2023-11-01T18:04:44.552" v="2" actId="47"/>
        <pc:sldMkLst>
          <pc:docMk/>
          <pc:sldMk cId="491296007" sldId="711"/>
        </pc:sldMkLst>
      </pc:sldChg>
      <pc:sldChg chg="addSp delSp modSp new mod ord modClrScheme chgLayout">
        <pc:chgData name="Seguel Herrera Jaime (Codelco-Chuquicamata)" userId="32785304-4b95-4f48-b25b-25c40beb25d3" providerId="ADAL" clId="{A767C880-AF40-4BF7-A0EA-80088A2F7ABC}" dt="2023-11-01T18:14:20.379" v="77" actId="403"/>
        <pc:sldMkLst>
          <pc:docMk/>
          <pc:sldMk cId="628073687" sldId="711"/>
        </pc:sldMkLst>
        <pc:spChg chg="del mod ord">
          <ac:chgData name="Seguel Herrera Jaime (Codelco-Chuquicamata)" userId="32785304-4b95-4f48-b25b-25c40beb25d3" providerId="ADAL" clId="{A767C880-AF40-4BF7-A0EA-80088A2F7ABC}" dt="2023-11-01T18:14:09.589" v="55" actId="700"/>
          <ac:spMkLst>
            <pc:docMk/>
            <pc:sldMk cId="628073687" sldId="711"/>
            <ac:spMk id="2" creationId="{2CF23DD4-CF3F-8E0C-5299-EF48E40D7691}"/>
          </ac:spMkLst>
        </pc:spChg>
        <pc:spChg chg="del">
          <ac:chgData name="Seguel Herrera Jaime (Codelco-Chuquicamata)" userId="32785304-4b95-4f48-b25b-25c40beb25d3" providerId="ADAL" clId="{A767C880-AF40-4BF7-A0EA-80088A2F7ABC}" dt="2023-11-01T18:14:09.589" v="55" actId="700"/>
          <ac:spMkLst>
            <pc:docMk/>
            <pc:sldMk cId="628073687" sldId="711"/>
            <ac:spMk id="3" creationId="{3512430C-E84A-4132-0F9A-620BE9A2F28D}"/>
          </ac:spMkLst>
        </pc:spChg>
        <pc:spChg chg="del mod ord">
          <ac:chgData name="Seguel Herrera Jaime (Codelco-Chuquicamata)" userId="32785304-4b95-4f48-b25b-25c40beb25d3" providerId="ADAL" clId="{A767C880-AF40-4BF7-A0EA-80088A2F7ABC}" dt="2023-11-01T18:14:09.589" v="55" actId="700"/>
          <ac:spMkLst>
            <pc:docMk/>
            <pc:sldMk cId="628073687" sldId="711"/>
            <ac:spMk id="4" creationId="{6902429F-94D2-1043-2603-6B3FB31C1276}"/>
          </ac:spMkLst>
        </pc:spChg>
        <pc:spChg chg="add mod ord">
          <ac:chgData name="Seguel Herrera Jaime (Codelco-Chuquicamata)" userId="32785304-4b95-4f48-b25b-25c40beb25d3" providerId="ADAL" clId="{A767C880-AF40-4BF7-A0EA-80088A2F7ABC}" dt="2023-11-01T18:14:20.379" v="77" actId="403"/>
          <ac:spMkLst>
            <pc:docMk/>
            <pc:sldMk cId="628073687" sldId="711"/>
            <ac:spMk id="5" creationId="{4FB1795A-703D-BA3F-4283-D27178F43D7A}"/>
          </ac:spMkLst>
        </pc:spChg>
        <pc:spChg chg="add mod ord">
          <ac:chgData name="Seguel Herrera Jaime (Codelco-Chuquicamata)" userId="32785304-4b95-4f48-b25b-25c40beb25d3" providerId="ADAL" clId="{A767C880-AF40-4BF7-A0EA-80088A2F7ABC}" dt="2023-11-01T18:14:09.589" v="55" actId="700"/>
          <ac:spMkLst>
            <pc:docMk/>
            <pc:sldMk cId="628073687" sldId="711"/>
            <ac:spMk id="6" creationId="{EF8F3C54-B988-FCFA-2E27-2A6841964204}"/>
          </ac:spMkLst>
        </pc:spChg>
      </pc:sldChg>
      <pc:sldChg chg="new del">
        <pc:chgData name="Seguel Herrera Jaime (Codelco-Chuquicamata)" userId="32785304-4b95-4f48-b25b-25c40beb25d3" providerId="ADAL" clId="{A767C880-AF40-4BF7-A0EA-80088A2F7ABC}" dt="2023-11-01T18:13:59.927" v="49" actId="680"/>
        <pc:sldMkLst>
          <pc:docMk/>
          <pc:sldMk cId="2268350263" sldId="711"/>
        </pc:sldMkLst>
      </pc:sldChg>
      <pc:sldChg chg="new del">
        <pc:chgData name="Seguel Herrera Jaime (Codelco-Chuquicamata)" userId="32785304-4b95-4f48-b25b-25c40beb25d3" providerId="ADAL" clId="{A767C880-AF40-4BF7-A0EA-80088A2F7ABC}" dt="2023-11-01T18:13:59.674" v="48" actId="680"/>
        <pc:sldMkLst>
          <pc:docMk/>
          <pc:sldMk cId="361995829" sldId="712"/>
        </pc:sldMkLst>
      </pc:sldChg>
      <pc:sldChg chg="addSp delSp modSp new mod">
        <pc:chgData name="Seguel Herrera Jaime (Codelco-Chuquicamata)" userId="32785304-4b95-4f48-b25b-25c40beb25d3" providerId="ADAL" clId="{A767C880-AF40-4BF7-A0EA-80088A2F7ABC}" dt="2023-11-01T19:32:18.920" v="237" actId="14100"/>
        <pc:sldMkLst>
          <pc:docMk/>
          <pc:sldMk cId="1447305499" sldId="712"/>
        </pc:sldMkLst>
        <pc:spChg chg="del">
          <ac:chgData name="Seguel Herrera Jaime (Codelco-Chuquicamata)" userId="32785304-4b95-4f48-b25b-25c40beb25d3" providerId="ADAL" clId="{A767C880-AF40-4BF7-A0EA-80088A2F7ABC}" dt="2023-11-01T18:31:36.125" v="106" actId="478"/>
          <ac:spMkLst>
            <pc:docMk/>
            <pc:sldMk cId="1447305499" sldId="712"/>
            <ac:spMk id="2" creationId="{27D28D70-D2C9-FA38-B526-705893BA9AA5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1:36.125" v="106" actId="478"/>
          <ac:spMkLst>
            <pc:docMk/>
            <pc:sldMk cId="1447305499" sldId="712"/>
            <ac:spMk id="3" creationId="{27265D70-BD58-7411-0DDB-E74C2EFE590D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1:36.125" v="106" actId="478"/>
          <ac:spMkLst>
            <pc:docMk/>
            <pc:sldMk cId="1447305499" sldId="712"/>
            <ac:spMk id="4" creationId="{BEC31626-B8DF-CF43-654C-98E7A99B694C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2:18.920" v="237" actId="14100"/>
          <ac:spMkLst>
            <pc:docMk/>
            <pc:sldMk cId="1447305499" sldId="712"/>
            <ac:spMk id="7" creationId="{AAD09FF0-DD08-507E-3204-2F57D5113E7D}"/>
          </ac:spMkLst>
        </pc:spChg>
        <pc:picChg chg="add mod">
          <ac:chgData name="Seguel Herrera Jaime (Codelco-Chuquicamata)" userId="32785304-4b95-4f48-b25b-25c40beb25d3" providerId="ADAL" clId="{A767C880-AF40-4BF7-A0EA-80088A2F7ABC}" dt="2023-11-01T18:31:48.279" v="109" actId="1076"/>
          <ac:picMkLst>
            <pc:docMk/>
            <pc:sldMk cId="1447305499" sldId="712"/>
            <ac:picMk id="6" creationId="{1DFC018B-3B66-29AB-CD50-563ADC5ED149}"/>
          </ac:picMkLst>
        </pc:picChg>
      </pc:sldChg>
      <pc:sldChg chg="del">
        <pc:chgData name="Seguel Herrera Jaime (Codelco-Chuquicamata)" userId="32785304-4b95-4f48-b25b-25c40beb25d3" providerId="ADAL" clId="{A767C880-AF40-4BF7-A0EA-80088A2F7ABC}" dt="2023-11-01T18:04:44.905" v="4" actId="47"/>
        <pc:sldMkLst>
          <pc:docMk/>
          <pc:sldMk cId="2807051754" sldId="712"/>
        </pc:sldMkLst>
      </pc:sldChg>
      <pc:sldChg chg="addSp delSp modSp new mod">
        <pc:chgData name="Seguel Herrera Jaime (Codelco-Chuquicamata)" userId="32785304-4b95-4f48-b25b-25c40beb25d3" providerId="ADAL" clId="{A767C880-AF40-4BF7-A0EA-80088A2F7ABC}" dt="2023-11-01T19:39:28.647" v="635" actId="1076"/>
        <pc:sldMkLst>
          <pc:docMk/>
          <pc:sldMk cId="1932800919" sldId="713"/>
        </pc:sldMkLst>
        <pc:spChg chg="del">
          <ac:chgData name="Seguel Herrera Jaime (Codelco-Chuquicamata)" userId="32785304-4b95-4f48-b25b-25c40beb25d3" providerId="ADAL" clId="{A767C880-AF40-4BF7-A0EA-80088A2F7ABC}" dt="2023-11-01T18:31:15.205" v="100" actId="478"/>
          <ac:spMkLst>
            <pc:docMk/>
            <pc:sldMk cId="1932800919" sldId="713"/>
            <ac:spMk id="2" creationId="{3091ACE5-C1C9-E3AB-B25E-446B33306D2A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1:15.205" v="100" actId="478"/>
          <ac:spMkLst>
            <pc:docMk/>
            <pc:sldMk cId="1932800919" sldId="713"/>
            <ac:spMk id="3" creationId="{C90AC966-4838-A6F8-87F3-47A5E44FBCA0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1:15.205" v="100" actId="478"/>
          <ac:spMkLst>
            <pc:docMk/>
            <pc:sldMk cId="1932800919" sldId="713"/>
            <ac:spMk id="4" creationId="{2B13345F-66A1-1E9C-D0DB-22A43473D4A2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7:59.200" v="578" actId="14100"/>
          <ac:spMkLst>
            <pc:docMk/>
            <pc:sldMk cId="1932800919" sldId="713"/>
            <ac:spMk id="7" creationId="{C1036096-9D1D-5BEB-B62E-9218E1ED28DB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8:53.538" v="624" actId="1076"/>
          <ac:spMkLst>
            <pc:docMk/>
            <pc:sldMk cId="1932800919" sldId="713"/>
            <ac:spMk id="16" creationId="{0BDC85DE-5EA1-5212-6E44-11074459B6D1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9:24.953" v="633" actId="1076"/>
          <ac:spMkLst>
            <pc:docMk/>
            <pc:sldMk cId="1932800919" sldId="713"/>
            <ac:spMk id="21" creationId="{F429EAD4-9162-1CE1-CA06-A1664C29AC9B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9:28.647" v="635" actId="1076"/>
          <ac:spMkLst>
            <pc:docMk/>
            <pc:sldMk cId="1932800919" sldId="713"/>
            <ac:spMk id="22" creationId="{6023B6AA-1744-BCB6-375B-5670D856FA98}"/>
          </ac:spMkLst>
        </pc:spChg>
        <pc:picChg chg="add mod">
          <ac:chgData name="Seguel Herrera Jaime (Codelco-Chuquicamata)" userId="32785304-4b95-4f48-b25b-25c40beb25d3" providerId="ADAL" clId="{A767C880-AF40-4BF7-A0EA-80088A2F7ABC}" dt="2023-11-01T18:31:20.708" v="103" actId="1076"/>
          <ac:picMkLst>
            <pc:docMk/>
            <pc:sldMk cId="1932800919" sldId="713"/>
            <ac:picMk id="6" creationId="{136B6274-5A36-29DE-0A62-6A2B8D116D88}"/>
          </ac:picMkLst>
        </pc:picChg>
        <pc:cxnChg chg="add mod">
          <ac:chgData name="Seguel Herrera Jaime (Codelco-Chuquicamata)" userId="32785304-4b95-4f48-b25b-25c40beb25d3" providerId="ADAL" clId="{A767C880-AF40-4BF7-A0EA-80088A2F7ABC}" dt="2023-11-01T19:38:10.782" v="582" actId="14100"/>
          <ac:cxnSpMkLst>
            <pc:docMk/>
            <pc:sldMk cId="1932800919" sldId="713"/>
            <ac:cxnSpMk id="9" creationId="{26B873C6-967C-7073-F6C7-865447C9F2E4}"/>
          </ac:cxnSpMkLst>
        </pc:cxnChg>
        <pc:cxnChg chg="add mod">
          <ac:chgData name="Seguel Herrera Jaime (Codelco-Chuquicamata)" userId="32785304-4b95-4f48-b25b-25c40beb25d3" providerId="ADAL" clId="{A767C880-AF40-4BF7-A0EA-80088A2F7ABC}" dt="2023-11-01T19:38:24.140" v="586" actId="14100"/>
          <ac:cxnSpMkLst>
            <pc:docMk/>
            <pc:sldMk cId="1932800919" sldId="713"/>
            <ac:cxnSpMk id="12" creationId="{FF3D3801-3B5A-0F7A-AA3C-8AF50E524497}"/>
          </ac:cxnSpMkLst>
        </pc:cxnChg>
        <pc:cxnChg chg="add mod">
          <ac:chgData name="Seguel Herrera Jaime (Codelco-Chuquicamata)" userId="32785304-4b95-4f48-b25b-25c40beb25d3" providerId="ADAL" clId="{A767C880-AF40-4BF7-A0EA-80088A2F7ABC}" dt="2023-11-01T19:39:03.886" v="628" actId="14100"/>
          <ac:cxnSpMkLst>
            <pc:docMk/>
            <pc:sldMk cId="1932800919" sldId="713"/>
            <ac:cxnSpMk id="17" creationId="{C360B0BA-BEB9-01C3-A78F-FA9AC33B7CD7}"/>
          </ac:cxnSpMkLst>
        </pc:cxnChg>
        <pc:cxnChg chg="add mod">
          <ac:chgData name="Seguel Herrera Jaime (Codelco-Chuquicamata)" userId="32785304-4b95-4f48-b25b-25c40beb25d3" providerId="ADAL" clId="{A767C880-AF40-4BF7-A0EA-80088A2F7ABC}" dt="2023-11-01T19:39:11.225" v="631" actId="14100"/>
          <ac:cxnSpMkLst>
            <pc:docMk/>
            <pc:sldMk cId="1932800919" sldId="713"/>
            <ac:cxnSpMk id="19" creationId="{436FF843-C3FC-347E-E28E-ADBAE13FC50A}"/>
          </ac:cxnSpMkLst>
        </pc:cxnChg>
      </pc:sldChg>
      <pc:sldChg chg="del">
        <pc:chgData name="Seguel Herrera Jaime (Codelco-Chuquicamata)" userId="32785304-4b95-4f48-b25b-25c40beb25d3" providerId="ADAL" clId="{A767C880-AF40-4BF7-A0EA-80088A2F7ABC}" dt="2023-11-01T18:04:45.102" v="5" actId="47"/>
        <pc:sldMkLst>
          <pc:docMk/>
          <pc:sldMk cId="3968104942" sldId="713"/>
        </pc:sldMkLst>
      </pc:sldChg>
      <pc:sldChg chg="new del">
        <pc:chgData name="Seguel Herrera Jaime (Codelco-Chuquicamata)" userId="32785304-4b95-4f48-b25b-25c40beb25d3" providerId="ADAL" clId="{A767C880-AF40-4BF7-A0EA-80088A2F7ABC}" dt="2023-11-01T18:13:59.442" v="47" actId="680"/>
        <pc:sldMkLst>
          <pc:docMk/>
          <pc:sldMk cId="4065983914" sldId="713"/>
        </pc:sldMkLst>
      </pc:sldChg>
      <pc:sldChg chg="add del">
        <pc:chgData name="Seguel Herrera Jaime (Codelco-Chuquicamata)" userId="32785304-4b95-4f48-b25b-25c40beb25d3" providerId="ADAL" clId="{A767C880-AF40-4BF7-A0EA-80088A2F7ABC}" dt="2023-11-01T18:14:24.989" v="79"/>
        <pc:sldMkLst>
          <pc:docMk/>
          <pc:sldMk cId="581737262" sldId="714"/>
        </pc:sldMkLst>
      </pc:sldChg>
      <pc:sldChg chg="modSp add mod ord">
        <pc:chgData name="Seguel Herrera Jaime (Codelco-Chuquicamata)" userId="32785304-4b95-4f48-b25b-25c40beb25d3" providerId="ADAL" clId="{A767C880-AF40-4BF7-A0EA-80088A2F7ABC}" dt="2023-11-01T18:14:34.263" v="90" actId="20577"/>
        <pc:sldMkLst>
          <pc:docMk/>
          <pc:sldMk cId="1689039790" sldId="714"/>
        </pc:sldMkLst>
        <pc:spChg chg="mod">
          <ac:chgData name="Seguel Herrera Jaime (Codelco-Chuquicamata)" userId="32785304-4b95-4f48-b25b-25c40beb25d3" providerId="ADAL" clId="{A767C880-AF40-4BF7-A0EA-80088A2F7ABC}" dt="2023-11-01T18:14:34.263" v="90" actId="20577"/>
          <ac:spMkLst>
            <pc:docMk/>
            <pc:sldMk cId="1689039790" sldId="714"/>
            <ac:spMk id="5" creationId="{4FB1795A-703D-BA3F-4283-D27178F43D7A}"/>
          </ac:spMkLst>
        </pc:spChg>
      </pc:sldChg>
      <pc:sldChg chg="del">
        <pc:chgData name="Seguel Herrera Jaime (Codelco-Chuquicamata)" userId="32785304-4b95-4f48-b25b-25c40beb25d3" providerId="ADAL" clId="{A767C880-AF40-4BF7-A0EA-80088A2F7ABC}" dt="2023-11-01T18:04:45.432" v="6" actId="47"/>
        <pc:sldMkLst>
          <pc:docMk/>
          <pc:sldMk cId="2757635676" sldId="714"/>
        </pc:sldMkLst>
      </pc:sldChg>
      <pc:sldChg chg="addSp delSp modSp new mod">
        <pc:chgData name="Seguel Herrera Jaime (Codelco-Chuquicamata)" userId="32785304-4b95-4f48-b25b-25c40beb25d3" providerId="ADAL" clId="{A767C880-AF40-4BF7-A0EA-80088A2F7ABC}" dt="2023-11-01T19:40:35.038" v="653" actId="1076"/>
        <pc:sldMkLst>
          <pc:docMk/>
          <pc:sldMk cId="1587370109" sldId="715"/>
        </pc:sldMkLst>
        <pc:spChg chg="del">
          <ac:chgData name="Seguel Herrera Jaime (Codelco-Chuquicamata)" userId="32785304-4b95-4f48-b25b-25c40beb25d3" providerId="ADAL" clId="{A767C880-AF40-4BF7-A0EA-80088A2F7ABC}" dt="2023-11-01T18:30:56.435" v="96" actId="478"/>
          <ac:spMkLst>
            <pc:docMk/>
            <pc:sldMk cId="1587370109" sldId="715"/>
            <ac:spMk id="2" creationId="{3F716532-6AAE-5F76-5167-E20ABA24F6FC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0:56.435" v="96" actId="478"/>
          <ac:spMkLst>
            <pc:docMk/>
            <pc:sldMk cId="1587370109" sldId="715"/>
            <ac:spMk id="3" creationId="{3EB3C009-1E60-F542-25DF-21F85E3D5A0D}"/>
          </ac:spMkLst>
        </pc:spChg>
        <pc:spChg chg="del">
          <ac:chgData name="Seguel Herrera Jaime (Codelco-Chuquicamata)" userId="32785304-4b95-4f48-b25b-25c40beb25d3" providerId="ADAL" clId="{A767C880-AF40-4BF7-A0EA-80088A2F7ABC}" dt="2023-11-01T18:30:57.495" v="97" actId="478"/>
          <ac:spMkLst>
            <pc:docMk/>
            <pc:sldMk cId="1587370109" sldId="715"/>
            <ac:spMk id="4" creationId="{5E4E67AD-2CDB-F592-8114-45D1DE8C06A3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39:55.083" v="642" actId="20577"/>
          <ac:spMkLst>
            <pc:docMk/>
            <pc:sldMk cId="1587370109" sldId="715"/>
            <ac:spMk id="7" creationId="{93E6C8F7-62E8-C2DF-A338-1E0866352A28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40:31.298" v="651" actId="1076"/>
          <ac:spMkLst>
            <pc:docMk/>
            <pc:sldMk cId="1587370109" sldId="715"/>
            <ac:spMk id="14" creationId="{F5F45FB3-0156-D5B5-7225-5D8B2C1BE489}"/>
          </ac:spMkLst>
        </pc:spChg>
        <pc:spChg chg="add mod">
          <ac:chgData name="Seguel Herrera Jaime (Codelco-Chuquicamata)" userId="32785304-4b95-4f48-b25b-25c40beb25d3" providerId="ADAL" clId="{A767C880-AF40-4BF7-A0EA-80088A2F7ABC}" dt="2023-11-01T19:40:35.038" v="653" actId="1076"/>
          <ac:spMkLst>
            <pc:docMk/>
            <pc:sldMk cId="1587370109" sldId="715"/>
            <ac:spMk id="15" creationId="{8478F6E2-1368-91D5-D0E2-A0EE71BF3D6C}"/>
          </ac:spMkLst>
        </pc:spChg>
        <pc:picChg chg="add mod">
          <ac:chgData name="Seguel Herrera Jaime (Codelco-Chuquicamata)" userId="32785304-4b95-4f48-b25b-25c40beb25d3" providerId="ADAL" clId="{A767C880-AF40-4BF7-A0EA-80088A2F7ABC}" dt="2023-11-01T18:31:00.923" v="99" actId="1076"/>
          <ac:picMkLst>
            <pc:docMk/>
            <pc:sldMk cId="1587370109" sldId="715"/>
            <ac:picMk id="6" creationId="{0815D721-BC6A-2E31-4126-62A0BA675FDD}"/>
          </ac:picMkLst>
        </pc:picChg>
        <pc:cxnChg chg="add mod">
          <ac:chgData name="Seguel Herrera Jaime (Codelco-Chuquicamata)" userId="32785304-4b95-4f48-b25b-25c40beb25d3" providerId="ADAL" clId="{A767C880-AF40-4BF7-A0EA-80088A2F7ABC}" dt="2023-11-01T19:40:10.799" v="646" actId="14100"/>
          <ac:cxnSpMkLst>
            <pc:docMk/>
            <pc:sldMk cId="1587370109" sldId="715"/>
            <ac:cxnSpMk id="8" creationId="{3873A94E-FAD3-B7FA-11E8-F86156BE1361}"/>
          </ac:cxnSpMkLst>
        </pc:cxnChg>
        <pc:cxnChg chg="add mod">
          <ac:chgData name="Seguel Herrera Jaime (Codelco-Chuquicamata)" userId="32785304-4b95-4f48-b25b-25c40beb25d3" providerId="ADAL" clId="{A767C880-AF40-4BF7-A0EA-80088A2F7ABC}" dt="2023-11-01T19:40:18.347" v="649" actId="14100"/>
          <ac:cxnSpMkLst>
            <pc:docMk/>
            <pc:sldMk cId="1587370109" sldId="715"/>
            <ac:cxnSpMk id="11" creationId="{F8A33614-F940-D035-288B-7CF31927C010}"/>
          </ac:cxnSpMkLst>
        </pc:cxnChg>
      </pc:sldChg>
      <pc:sldChg chg="new del">
        <pc:chgData name="Seguel Herrera Jaime (Codelco-Chuquicamata)" userId="32785304-4b95-4f48-b25b-25c40beb25d3" providerId="ADAL" clId="{A767C880-AF40-4BF7-A0EA-80088A2F7ABC}" dt="2023-11-01T18:32:32.555" v="114" actId="47"/>
        <pc:sldMkLst>
          <pc:docMk/>
          <pc:sldMk cId="1869653003" sldId="716"/>
        </pc:sldMkLst>
      </pc:sldChg>
      <pc:sldChg chg="addSp delSp modSp add mod modShow">
        <pc:chgData name="Seguel Herrera Jaime (Codelco-Chuquicamata)" userId="32785304-4b95-4f48-b25b-25c40beb25d3" providerId="ADAL" clId="{A767C880-AF40-4BF7-A0EA-80088A2F7ABC}" dt="2023-11-06T13:14:14.302" v="1357" actId="1076"/>
        <pc:sldMkLst>
          <pc:docMk/>
          <pc:sldMk cId="3814688122" sldId="716"/>
        </pc:sldMkLst>
        <pc:spChg chg="add mod">
          <ac:chgData name="Seguel Herrera Jaime (Codelco-Chuquicamata)" userId="32785304-4b95-4f48-b25b-25c40beb25d3" providerId="ADAL" clId="{A767C880-AF40-4BF7-A0EA-80088A2F7ABC}" dt="2023-11-06T13:14:11.781" v="1356" actId="164"/>
          <ac:spMkLst>
            <pc:docMk/>
            <pc:sldMk cId="3814688122" sldId="716"/>
            <ac:spMk id="4" creationId="{4D066738-E3C7-6F39-5929-4E31662CF850}"/>
          </ac:spMkLst>
        </pc:spChg>
        <pc:spChg chg="add mod">
          <ac:chgData name="Seguel Herrera Jaime (Codelco-Chuquicamata)" userId="32785304-4b95-4f48-b25b-25c40beb25d3" providerId="ADAL" clId="{A767C880-AF40-4BF7-A0EA-80088A2F7ABC}" dt="2023-11-06T13:14:11.781" v="1356" actId="164"/>
          <ac:spMkLst>
            <pc:docMk/>
            <pc:sldMk cId="3814688122" sldId="716"/>
            <ac:spMk id="5" creationId="{CFF86584-5936-31D9-6B4B-5C046F63003B}"/>
          </ac:spMkLst>
        </pc:spChg>
        <pc:spChg chg="add mod">
          <ac:chgData name="Seguel Herrera Jaime (Codelco-Chuquicamata)" userId="32785304-4b95-4f48-b25b-25c40beb25d3" providerId="ADAL" clId="{A767C880-AF40-4BF7-A0EA-80088A2F7ABC}" dt="2023-11-06T13:14:11.781" v="1356" actId="164"/>
          <ac:spMkLst>
            <pc:docMk/>
            <pc:sldMk cId="3814688122" sldId="716"/>
            <ac:spMk id="6" creationId="{063687F4-3BE6-BB9E-EBB0-B2D104B0FAD2}"/>
          </ac:spMkLst>
        </pc:spChg>
        <pc:grpChg chg="add mod">
          <ac:chgData name="Seguel Herrera Jaime (Codelco-Chuquicamata)" userId="32785304-4b95-4f48-b25b-25c40beb25d3" providerId="ADAL" clId="{A767C880-AF40-4BF7-A0EA-80088A2F7ABC}" dt="2023-11-06T13:14:14.302" v="1357" actId="1076"/>
          <ac:grpSpMkLst>
            <pc:docMk/>
            <pc:sldMk cId="3814688122" sldId="716"/>
            <ac:grpSpMk id="7" creationId="{AA1C905A-8E67-F7A9-66BF-1BE6BB3023EC}"/>
          </ac:grpSpMkLst>
        </pc:grpChg>
        <pc:picChg chg="add mod">
          <ac:chgData name="Seguel Herrera Jaime (Codelco-Chuquicamata)" userId="32785304-4b95-4f48-b25b-25c40beb25d3" providerId="ADAL" clId="{A767C880-AF40-4BF7-A0EA-80088A2F7ABC}" dt="2023-11-06T13:14:11.781" v="1356" actId="164"/>
          <ac:picMkLst>
            <pc:docMk/>
            <pc:sldMk cId="3814688122" sldId="716"/>
            <ac:picMk id="3" creationId="{40194688-AB69-CCF2-CD60-0A230336DD0E}"/>
          </ac:picMkLst>
        </pc:picChg>
        <pc:picChg chg="del">
          <ac:chgData name="Seguel Herrera Jaime (Codelco-Chuquicamata)" userId="32785304-4b95-4f48-b25b-25c40beb25d3" providerId="ADAL" clId="{A767C880-AF40-4BF7-A0EA-80088A2F7ABC}" dt="2023-11-01T18:32:40.036" v="116" actId="478"/>
          <ac:picMkLst>
            <pc:docMk/>
            <pc:sldMk cId="3814688122" sldId="716"/>
            <ac:picMk id="8" creationId="{60C18B48-815E-2C26-F7F7-2B2802873C49}"/>
          </ac:picMkLst>
        </pc:picChg>
      </pc:sldChg>
      <pc:sldChg chg="addSp delSp modSp new mod">
        <pc:chgData name="Seguel Herrera Jaime (Codelco-Chuquicamata)" userId="32785304-4b95-4f48-b25b-25c40beb25d3" providerId="ADAL" clId="{A767C880-AF40-4BF7-A0EA-80088A2F7ABC}" dt="2023-11-06T13:13:52.995" v="1355" actId="1076"/>
        <pc:sldMkLst>
          <pc:docMk/>
          <pc:sldMk cId="855552054" sldId="717"/>
        </pc:sldMkLst>
        <pc:spChg chg="mod">
          <ac:chgData name="Seguel Herrera Jaime (Codelco-Chuquicamata)" userId="32785304-4b95-4f48-b25b-25c40beb25d3" providerId="ADAL" clId="{A767C880-AF40-4BF7-A0EA-80088A2F7ABC}" dt="2023-11-01T19:32:50.216" v="281" actId="20577"/>
          <ac:spMkLst>
            <pc:docMk/>
            <pc:sldMk cId="855552054" sldId="717"/>
            <ac:spMk id="2" creationId="{05078255-44C4-BFE8-2CCF-0A6A42FB94C1}"/>
          </ac:spMkLst>
        </pc:spChg>
        <pc:spChg chg="del">
          <ac:chgData name="Seguel Herrera Jaime (Codelco-Chuquicamata)" userId="32785304-4b95-4f48-b25b-25c40beb25d3" providerId="ADAL" clId="{A767C880-AF40-4BF7-A0EA-80088A2F7ABC}" dt="2023-11-01T19:32:55.914" v="282" actId="478"/>
          <ac:spMkLst>
            <pc:docMk/>
            <pc:sldMk cId="855552054" sldId="717"/>
            <ac:spMk id="3" creationId="{6550A942-E0AB-23DE-8C62-7287B07597BC}"/>
          </ac:spMkLst>
        </pc:spChg>
        <pc:spChg chg="add mod">
          <ac:chgData name="Seguel Herrera Jaime (Codelco-Chuquicamata)" userId="32785304-4b95-4f48-b25b-25c40beb25d3" providerId="ADAL" clId="{A767C880-AF40-4BF7-A0EA-80088A2F7ABC}" dt="2023-11-06T13:13:48.577" v="1354" actId="1076"/>
          <ac:spMkLst>
            <pc:docMk/>
            <pc:sldMk cId="855552054" sldId="717"/>
            <ac:spMk id="7" creationId="{6DB19369-E7FA-FE15-3676-BF719CE154D0}"/>
          </ac:spMkLst>
        </pc:spChg>
        <pc:spChg chg="add mod">
          <ac:chgData name="Seguel Herrera Jaime (Codelco-Chuquicamata)" userId="32785304-4b95-4f48-b25b-25c40beb25d3" providerId="ADAL" clId="{A767C880-AF40-4BF7-A0EA-80088A2F7ABC}" dt="2023-11-06T13:13:52.995" v="1355" actId="1076"/>
          <ac:spMkLst>
            <pc:docMk/>
            <pc:sldMk cId="855552054" sldId="717"/>
            <ac:spMk id="8" creationId="{C3C04EE7-E920-0530-F329-090DB88EDFC8}"/>
          </ac:spMkLst>
        </pc:spChg>
        <pc:picChg chg="add mod">
          <ac:chgData name="Seguel Herrera Jaime (Codelco-Chuquicamata)" userId="32785304-4b95-4f48-b25b-25c40beb25d3" providerId="ADAL" clId="{A767C880-AF40-4BF7-A0EA-80088A2F7ABC}" dt="2023-11-06T13:13:52.995" v="1355" actId="1076"/>
          <ac:picMkLst>
            <pc:docMk/>
            <pc:sldMk cId="855552054" sldId="717"/>
            <ac:picMk id="6" creationId="{35FDC6CE-FC34-C7C7-EED3-2AF6008A1E79}"/>
          </ac:picMkLst>
        </pc:picChg>
      </pc:sldChg>
      <pc:sldChg chg="addSp modSp new mod">
        <pc:chgData name="Seguel Herrera Jaime (Codelco-Chuquicamata)" userId="32785304-4b95-4f48-b25b-25c40beb25d3" providerId="ADAL" clId="{A767C880-AF40-4BF7-A0EA-80088A2F7ABC}" dt="2023-11-07T14:50:24.403" v="1913" actId="20577"/>
        <pc:sldMkLst>
          <pc:docMk/>
          <pc:sldMk cId="1998293088" sldId="718"/>
        </pc:sldMkLst>
        <pc:spChg chg="add mod">
          <ac:chgData name="Seguel Herrera Jaime (Codelco-Chuquicamata)" userId="32785304-4b95-4f48-b25b-25c40beb25d3" providerId="ADAL" clId="{A767C880-AF40-4BF7-A0EA-80088A2F7ABC}" dt="2023-11-07T14:50:24.403" v="1913" actId="20577"/>
          <ac:spMkLst>
            <pc:docMk/>
            <pc:sldMk cId="1998293088" sldId="718"/>
            <ac:spMk id="5" creationId="{6F6128D8-FED3-88EA-B4CD-B015D8062E7A}"/>
          </ac:spMkLst>
        </pc:spChg>
      </pc:sldChg>
    </pc:docChg>
  </pc:docChgLst>
  <pc:docChgLst>
    <pc:chgData name="Gonzalez Salas Fabian (Codelco-Casa Matriz)" userId="S::fgonz072@codelco.cl::a9649211-5e72-4b4e-8dfa-cd743f2f5996" providerId="AD" clId="Web-{141E3693-319A-EDB2-3CF3-F3694A212F7B}"/>
    <pc:docChg chg="modSld">
      <pc:chgData name="Gonzalez Salas Fabian (Codelco-Casa Matriz)" userId="S::fgonz072@codelco.cl::a9649211-5e72-4b4e-8dfa-cd743f2f5996" providerId="AD" clId="Web-{141E3693-319A-EDB2-3CF3-F3694A212F7B}" dt="2021-08-03T22:12:08.328" v="64" actId="14100"/>
      <pc:docMkLst>
        <pc:docMk/>
      </pc:docMkLst>
      <pc:sldChg chg="addSp delSp modSp">
        <pc:chgData name="Gonzalez Salas Fabian (Codelco-Casa Matriz)" userId="S::fgonz072@codelco.cl::a9649211-5e72-4b4e-8dfa-cd743f2f5996" providerId="AD" clId="Web-{141E3693-319A-EDB2-3CF3-F3694A212F7B}" dt="2021-08-03T22:12:08.328" v="64" actId="14100"/>
        <pc:sldMkLst>
          <pc:docMk/>
          <pc:sldMk cId="3262196641" sldId="570"/>
        </pc:sldMkLst>
        <pc:grpChg chg="del mod">
          <ac:chgData name="Gonzalez Salas Fabian (Codelco-Casa Matriz)" userId="S::fgonz072@codelco.cl::a9649211-5e72-4b4e-8dfa-cd743f2f5996" providerId="AD" clId="Web-{141E3693-319A-EDB2-3CF3-F3694A212F7B}" dt="2021-08-03T22:01:55.509" v="14"/>
          <ac:grpSpMkLst>
            <pc:docMk/>
            <pc:sldMk cId="3262196641" sldId="570"/>
            <ac:grpSpMk id="8" creationId="{3B97CCDF-FDDB-4B89-9696-3EA281C3D88D}"/>
          </ac:grpSpMkLst>
        </pc:grpChg>
        <pc:picChg chg="mod">
          <ac:chgData name="Gonzalez Salas Fabian (Codelco-Casa Matriz)" userId="S::fgonz072@codelco.cl::a9649211-5e72-4b4e-8dfa-cd743f2f5996" providerId="AD" clId="Web-{141E3693-319A-EDB2-3CF3-F3694A212F7B}" dt="2021-08-03T22:02:35.729" v="25" actId="1076"/>
          <ac:picMkLst>
            <pc:docMk/>
            <pc:sldMk cId="3262196641" sldId="570"/>
            <ac:picMk id="3" creationId="{0B1FF933-3ACF-432D-95F1-385C8E6847DF}"/>
          </ac:picMkLst>
        </pc:picChg>
        <pc:picChg chg="del">
          <ac:chgData name="Gonzalez Salas Fabian (Codelco-Casa Matriz)" userId="S::fgonz072@codelco.cl::a9649211-5e72-4b4e-8dfa-cd743f2f5996" providerId="AD" clId="Web-{141E3693-319A-EDB2-3CF3-F3694A212F7B}" dt="2021-08-03T22:00:12.865" v="0"/>
          <ac:picMkLst>
            <pc:docMk/>
            <pc:sldMk cId="3262196641" sldId="570"/>
            <ac:picMk id="3" creationId="{3727D85B-2A35-41FE-907A-1A2EE94F0C49}"/>
          </ac:picMkLst>
        </pc:picChg>
        <pc:picChg chg="add del mod ord">
          <ac:chgData name="Gonzalez Salas Fabian (Codelco-Casa Matriz)" userId="S::fgonz072@codelco.cl::a9649211-5e72-4b4e-8dfa-cd743f2f5996" providerId="AD" clId="Web-{141E3693-319A-EDB2-3CF3-F3694A212F7B}" dt="2021-08-03T22:11:57.796" v="61"/>
          <ac:picMkLst>
            <pc:docMk/>
            <pc:sldMk cId="3262196641" sldId="570"/>
            <ac:picMk id="7" creationId="{DA15AB05-CDD1-407C-9378-35BB50A7923D}"/>
          </ac:picMkLst>
        </pc:picChg>
        <pc:picChg chg="add mod">
          <ac:chgData name="Gonzalez Salas Fabian (Codelco-Casa Matriz)" userId="S::fgonz072@codelco.cl::a9649211-5e72-4b4e-8dfa-cd743f2f5996" providerId="AD" clId="Web-{141E3693-319A-EDB2-3CF3-F3694A212F7B}" dt="2021-08-03T22:01:39.446" v="10" actId="1076"/>
          <ac:picMkLst>
            <pc:docMk/>
            <pc:sldMk cId="3262196641" sldId="570"/>
            <ac:picMk id="8" creationId="{0B1FF933-3ACF-432D-95F1-385C8E6847DF}"/>
          </ac:picMkLst>
        </pc:picChg>
        <pc:picChg chg="add mod">
          <ac:chgData name="Gonzalez Salas Fabian (Codelco-Casa Matriz)" userId="S::fgonz072@codelco.cl::a9649211-5e72-4b4e-8dfa-cd743f2f5996" providerId="AD" clId="Web-{141E3693-319A-EDB2-3CF3-F3694A212F7B}" dt="2021-08-03T22:07:59.649" v="60" actId="14100"/>
          <ac:picMkLst>
            <pc:docMk/>
            <pc:sldMk cId="3262196641" sldId="570"/>
            <ac:picMk id="11" creationId="{C00DD734-C5D3-4230-B835-D74F392782C8}"/>
          </ac:picMkLst>
        </pc:picChg>
        <pc:picChg chg="add mod">
          <ac:chgData name="Gonzalez Salas Fabian (Codelco-Casa Matriz)" userId="S::fgonz072@codelco.cl::a9649211-5e72-4b4e-8dfa-cd743f2f5996" providerId="AD" clId="Web-{141E3693-319A-EDB2-3CF3-F3694A212F7B}" dt="2021-08-03T22:12:08.328" v="64" actId="14100"/>
          <ac:picMkLst>
            <pc:docMk/>
            <pc:sldMk cId="3262196641" sldId="570"/>
            <ac:picMk id="12" creationId="{7D99AC3A-774B-4F25-A71D-171E747EF332}"/>
          </ac:picMkLst>
        </pc:picChg>
        <pc:picChg chg="mod ord">
          <ac:chgData name="Gonzalez Salas Fabian (Codelco-Casa Matriz)" userId="S::fgonz072@codelco.cl::a9649211-5e72-4b4e-8dfa-cd743f2f5996" providerId="AD" clId="Web-{141E3693-319A-EDB2-3CF3-F3694A212F7B}" dt="2021-08-03T22:06:36.627" v="57" actId="1076"/>
          <ac:picMkLst>
            <pc:docMk/>
            <pc:sldMk cId="3262196641" sldId="570"/>
            <ac:picMk id="13" creationId="{00000000-0000-0000-0000-000000000000}"/>
          </ac:picMkLst>
        </pc:picChg>
        <pc:picChg chg="add mod ord">
          <ac:chgData name="Gonzalez Salas Fabian (Codelco-Casa Matriz)" userId="S::fgonz072@codelco.cl::a9649211-5e72-4b4e-8dfa-cd743f2f5996" providerId="AD" clId="Web-{141E3693-319A-EDB2-3CF3-F3694A212F7B}" dt="2021-08-03T22:02:45.901" v="26" actId="14100"/>
          <ac:picMkLst>
            <pc:docMk/>
            <pc:sldMk cId="3262196641" sldId="570"/>
            <ac:picMk id="26" creationId="{330B0625-8DDC-4344-BC3C-74997F2A70A9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81CCEB9A-6B7A-C09E-90E7-A454AA04F4D9}"/>
    <pc:docChg chg="modSld">
      <pc:chgData name="Paillacar Oyarzo Paulo Ignacio (Codelco-Casa Matriz)" userId="S::ppail001@codelco.cl::3f9c4ec0-dfff-4bc5-ba03-192dd672e537" providerId="AD" clId="Web-{81CCEB9A-6B7A-C09E-90E7-A454AA04F4D9}" dt="2020-11-05T11:40:39.005" v="5" actId="1076"/>
      <pc:docMkLst>
        <pc:docMk/>
      </pc:docMkLst>
      <pc:sldChg chg="addSp delSp modSp">
        <pc:chgData name="Paillacar Oyarzo Paulo Ignacio (Codelco-Casa Matriz)" userId="S::ppail001@codelco.cl::3f9c4ec0-dfff-4bc5-ba03-192dd672e537" providerId="AD" clId="Web-{81CCEB9A-6B7A-C09E-90E7-A454AA04F4D9}" dt="2020-11-05T11:40:39.005" v="5" actId="1076"/>
        <pc:sldMkLst>
          <pc:docMk/>
          <pc:sldMk cId="3112561217" sldId="400"/>
        </pc:sldMkLst>
        <pc:spChg chg="del">
          <ac:chgData name="Paillacar Oyarzo Paulo Ignacio (Codelco-Casa Matriz)" userId="S::ppail001@codelco.cl::3f9c4ec0-dfff-4bc5-ba03-192dd672e537" providerId="AD" clId="Web-{81CCEB9A-6B7A-C09E-90E7-A454AA04F4D9}" dt="2020-11-05T11:40:26.958" v="1"/>
          <ac:spMkLst>
            <pc:docMk/>
            <pc:sldMk cId="3112561217" sldId="400"/>
            <ac:spMk id="5" creationId="{90296775-5988-4EB0-A33D-62202FC50953}"/>
          </ac:spMkLst>
        </pc:spChg>
        <pc:spChg chg="mod">
          <ac:chgData name="Paillacar Oyarzo Paulo Ignacio (Codelco-Casa Matriz)" userId="S::ppail001@codelco.cl::3f9c4ec0-dfff-4bc5-ba03-192dd672e537" providerId="AD" clId="Web-{81CCEB9A-6B7A-C09E-90E7-A454AA04F4D9}" dt="2020-11-05T11:40:32.458" v="2" actId="20577"/>
          <ac:spMkLst>
            <pc:docMk/>
            <pc:sldMk cId="3112561217" sldId="400"/>
            <ac:spMk id="28" creationId="{FFEBC623-67A9-4BA3-9DD3-32F8D7ED1BAB}"/>
          </ac:spMkLst>
        </pc:spChg>
        <pc:spChg chg="del">
          <ac:chgData name="Paillacar Oyarzo Paulo Ignacio (Codelco-Casa Matriz)" userId="S::ppail001@codelco.cl::3f9c4ec0-dfff-4bc5-ba03-192dd672e537" providerId="AD" clId="Web-{81CCEB9A-6B7A-C09E-90E7-A454AA04F4D9}" dt="2020-11-05T11:40:21.208" v="0"/>
          <ac:spMkLst>
            <pc:docMk/>
            <pc:sldMk cId="3112561217" sldId="400"/>
            <ac:spMk id="73" creationId="{F5CC300C-D5CD-411D-96FA-5A1E953DAA6C}"/>
          </ac:spMkLst>
        </pc:spChg>
        <pc:grpChg chg="add mod">
          <ac:chgData name="Paillacar Oyarzo Paulo Ignacio (Codelco-Casa Matriz)" userId="S::ppail001@codelco.cl::3f9c4ec0-dfff-4bc5-ba03-192dd672e537" providerId="AD" clId="Web-{81CCEB9A-6B7A-C09E-90E7-A454AA04F4D9}" dt="2020-11-05T11:40:39.005" v="5" actId="1076"/>
          <ac:grpSpMkLst>
            <pc:docMk/>
            <pc:sldMk cId="3112561217" sldId="400"/>
            <ac:grpSpMk id="72" creationId="{A8D851DD-3C0B-4C92-96BE-CC61BA4016B5}"/>
          </ac:grpSpMkLst>
        </pc:grpChg>
      </pc:sldChg>
    </pc:docChg>
  </pc:docChgLst>
  <pc:docChgLst>
    <pc:chgData clId="Web-{24522384-DE16-AF90-ECB5-595D2F43442F}"/>
    <pc:docChg chg="modSld">
      <pc:chgData name="" userId="" providerId="" clId="Web-{24522384-DE16-AF90-ECB5-595D2F43442F}" dt="2021-08-04T00:17:47.954" v="0" actId="20577"/>
      <pc:docMkLst>
        <pc:docMk/>
      </pc:docMkLst>
      <pc:sldChg chg="modSp">
        <pc:chgData name="" userId="" providerId="" clId="Web-{24522384-DE16-AF90-ECB5-595D2F43442F}" dt="2021-08-04T00:17:47.954" v="0" actId="20577"/>
        <pc:sldMkLst>
          <pc:docMk/>
          <pc:sldMk cId="513596260" sldId="564"/>
        </pc:sldMkLst>
        <pc:spChg chg="mod">
          <ac:chgData name="" userId="" providerId="" clId="Web-{24522384-DE16-AF90-ECB5-595D2F43442F}" dt="2021-08-04T00:17:47.954" v="0" actId="20577"/>
          <ac:spMkLst>
            <pc:docMk/>
            <pc:sldMk cId="513596260" sldId="564"/>
            <ac:spMk id="3" creationId="{55BD6A77-E381-42C4-BC01-0615CFD7C15D}"/>
          </ac:spMkLst>
        </pc:spChg>
      </pc:sldChg>
    </pc:docChg>
  </pc:docChgLst>
  <pc:docChgLst>
    <pc:chgData name="Julio Gregorio" userId="S::julio_gregorio_mckinsey.com#ext#@codelcochile.onmicrosoft.com::2be15faf-49cf-4987-8b98-cf190369f545" providerId="AD" clId="Web-{89FF072A-4181-DF71-C7C0-DD2BFAEA5A72}"/>
    <pc:docChg chg="modSld">
      <pc:chgData name="Julio Gregorio" userId="S::julio_gregorio_mckinsey.com#ext#@codelcochile.onmicrosoft.com::2be15faf-49cf-4987-8b98-cf190369f545" providerId="AD" clId="Web-{89FF072A-4181-DF71-C7C0-DD2BFAEA5A72}" dt="2020-10-22T14:29:01.384" v="52"/>
      <pc:docMkLst>
        <pc:docMk/>
      </pc:docMkLst>
      <pc:sldChg chg="addSp modSp">
        <pc:chgData name="Julio Gregorio" userId="S::julio_gregorio_mckinsey.com#ext#@codelcochile.onmicrosoft.com::2be15faf-49cf-4987-8b98-cf190369f545" providerId="AD" clId="Web-{89FF072A-4181-DF71-C7C0-DD2BFAEA5A72}" dt="2020-10-22T14:29:01.384" v="52"/>
        <pc:sldMkLst>
          <pc:docMk/>
          <pc:sldMk cId="3508652071" sldId="423"/>
        </pc:sldMkLst>
        <pc:spChg chg="add mod">
          <ac:chgData name="Julio Gregorio" userId="S::julio_gregorio_mckinsey.com#ext#@codelcochile.onmicrosoft.com::2be15faf-49cf-4987-8b98-cf190369f545" providerId="AD" clId="Web-{89FF072A-4181-DF71-C7C0-DD2BFAEA5A72}" dt="2020-10-22T14:28:14.227" v="8"/>
          <ac:spMkLst>
            <pc:docMk/>
            <pc:sldMk cId="3508652071" sldId="423"/>
            <ac:spMk id="2" creationId="{1DC2E19B-BA47-49FF-B00E-A1B758697620}"/>
          </ac:spMkLst>
        </pc:spChg>
        <pc:spChg chg="add mod">
          <ac:chgData name="Julio Gregorio" userId="S::julio_gregorio_mckinsey.com#ext#@codelcochile.onmicrosoft.com::2be15faf-49cf-4987-8b98-cf190369f545" providerId="AD" clId="Web-{89FF072A-4181-DF71-C7C0-DD2BFAEA5A72}" dt="2020-10-22T14:29:01.384" v="52"/>
          <ac:spMkLst>
            <pc:docMk/>
            <pc:sldMk cId="3508652071" sldId="423"/>
            <ac:spMk id="3" creationId="{4A16D269-8331-4792-A5D5-DFFC77A62E82}"/>
          </ac:spMkLst>
        </pc:spChg>
        <pc:picChg chg="mod">
          <ac:chgData name="Julio Gregorio" userId="S::julio_gregorio_mckinsey.com#ext#@codelcochile.onmicrosoft.com::2be15faf-49cf-4987-8b98-cf190369f545" providerId="AD" clId="Web-{89FF072A-4181-DF71-C7C0-DD2BFAEA5A72}" dt="2020-10-22T14:27:59.711" v="4" actId="1076"/>
          <ac:picMkLst>
            <pc:docMk/>
            <pc:sldMk cId="3508652071" sldId="423"/>
            <ac:picMk id="117" creationId="{98674596-1A7D-4A49-AFC9-00284D50B5FA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1F3F4E40-191F-E946-07FE-884A27E59504}"/>
    <pc:docChg chg="modSld">
      <pc:chgData name="Mery Carrasco Mauricio (Codelco-Casa Matriz)" userId="S::mmery004@codelco.cl::a0378191-74de-4d59-9b37-aa421303daba" providerId="AD" clId="Web-{1F3F4E40-191F-E946-07FE-884A27E59504}" dt="2020-10-22T15:01:11.908" v="432" actId="20577"/>
      <pc:docMkLst>
        <pc:docMk/>
      </pc:docMkLst>
      <pc:sldChg chg="delSp modSp">
        <pc:chgData name="Mery Carrasco Mauricio (Codelco-Casa Matriz)" userId="S::mmery004@codelco.cl::a0378191-74de-4d59-9b37-aa421303daba" providerId="AD" clId="Web-{1F3F4E40-191F-E946-07FE-884A27E59504}" dt="2020-10-22T14:20:56.343" v="337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1F3F4E40-191F-E946-07FE-884A27E59504}" dt="2020-10-22T14:20:56.343" v="337" actId="20577"/>
          <ac:spMkLst>
            <pc:docMk/>
            <pc:sldMk cId="1259302253" sldId="353"/>
            <ac:spMk id="11" creationId="{DB92C4CF-7AC4-4BFA-9A29-156AEC1C5231}"/>
          </ac:spMkLst>
        </pc:spChg>
        <pc:inkChg chg="del">
          <ac:chgData name="Mery Carrasco Mauricio (Codelco-Casa Matriz)" userId="S::mmery004@codelco.cl::a0378191-74de-4d59-9b37-aa421303daba" providerId="AD" clId="Web-{1F3F4E40-191F-E946-07FE-884A27E59504}" dt="2020-10-22T14:14:47.273" v="246"/>
          <ac:inkMkLst>
            <pc:docMk/>
            <pc:sldMk cId="1259302253" sldId="353"/>
            <ac:inkMk id="3" creationId="{F5047BC7-4044-445C-AE34-89943910C19A}"/>
          </ac:inkMkLst>
        </pc:inkChg>
      </pc:sldChg>
      <pc:sldChg chg="delSp modSp">
        <pc:chgData name="Mery Carrasco Mauricio (Codelco-Casa Matriz)" userId="S::mmery004@codelco.cl::a0378191-74de-4d59-9b37-aa421303daba" providerId="AD" clId="Web-{1F3F4E40-191F-E946-07FE-884A27E59504}" dt="2020-10-22T15:01:11.908" v="432" actId="20577"/>
        <pc:sldMkLst>
          <pc:docMk/>
          <pc:sldMk cId="2155997825" sldId="375"/>
        </pc:sldMkLst>
        <pc:spChg chg="del mod">
          <ac:chgData name="Mery Carrasco Mauricio (Codelco-Casa Matriz)" userId="S::mmery004@codelco.cl::a0378191-74de-4d59-9b37-aa421303daba" providerId="AD" clId="Web-{1F3F4E40-191F-E946-07FE-884A27E59504}" dt="2020-10-22T14:58:58.499" v="409"/>
          <ac:spMkLst>
            <pc:docMk/>
            <pc:sldMk cId="2155997825" sldId="375"/>
            <ac:spMk id="7" creationId="{365F5537-F043-4BA8-93B5-8EA186B36807}"/>
          </ac:spMkLst>
        </pc:spChg>
        <pc:spChg chg="del mod">
          <ac:chgData name="Mery Carrasco Mauricio (Codelco-Casa Matriz)" userId="S::mmery004@codelco.cl::a0378191-74de-4d59-9b37-aa421303daba" providerId="AD" clId="Web-{1F3F4E40-191F-E946-07FE-884A27E59504}" dt="2020-10-22T14:58:53.561" v="404"/>
          <ac:spMkLst>
            <pc:docMk/>
            <pc:sldMk cId="2155997825" sldId="375"/>
            <ac:spMk id="31" creationId="{24493FDB-8748-48AC-9C1E-26039568AB51}"/>
          </ac:spMkLst>
        </pc:spChg>
        <pc:spChg chg="del">
          <ac:chgData name="Mery Carrasco Mauricio (Codelco-Casa Matriz)" userId="S::mmery004@codelco.cl::a0378191-74de-4d59-9b37-aa421303daba" providerId="AD" clId="Web-{1F3F4E40-191F-E946-07FE-884A27E59504}" dt="2020-10-22T14:58:53.577" v="405"/>
          <ac:spMkLst>
            <pc:docMk/>
            <pc:sldMk cId="2155997825" sldId="375"/>
            <ac:spMk id="34" creationId="{94882F7D-BE97-41DF-B498-BE9984F1B6A9}"/>
          </ac:spMkLst>
        </pc:spChg>
        <pc:spChg chg="del mod">
          <ac:chgData name="Mery Carrasco Mauricio (Codelco-Casa Matriz)" userId="S::mmery004@codelco.cl::a0378191-74de-4d59-9b37-aa421303daba" providerId="AD" clId="Web-{1F3F4E40-191F-E946-07FE-884A27E59504}" dt="2020-10-22T14:59:03.139" v="413"/>
          <ac:spMkLst>
            <pc:docMk/>
            <pc:sldMk cId="2155997825" sldId="375"/>
            <ac:spMk id="35" creationId="{16CC1F9C-33C0-4E1D-9AB1-DEE805D68F80}"/>
          </ac:spMkLst>
        </pc:spChg>
        <pc:spChg chg="del mod">
          <ac:chgData name="Mery Carrasco Mauricio (Codelco-Casa Matriz)" userId="S::mmery004@codelco.cl::a0378191-74de-4d59-9b37-aa421303daba" providerId="AD" clId="Web-{1F3F4E40-191F-E946-07FE-884A27E59504}" dt="2020-10-22T14:59:13.327" v="420"/>
          <ac:spMkLst>
            <pc:docMk/>
            <pc:sldMk cId="2155997825" sldId="375"/>
            <ac:spMk id="36" creationId="{9B6AB06B-1B00-48B5-9654-6DA754EF3D63}"/>
          </ac:spMkLst>
        </pc:spChg>
        <pc:spChg chg="mod">
          <ac:chgData name="Mery Carrasco Mauricio (Codelco-Casa Matriz)" userId="S::mmery004@codelco.cl::a0378191-74de-4d59-9b37-aa421303daba" providerId="AD" clId="Web-{1F3F4E40-191F-E946-07FE-884A27E59504}" dt="2020-10-22T15:01:11.908" v="432" actId="20577"/>
          <ac:spMkLst>
            <pc:docMk/>
            <pc:sldMk cId="2155997825" sldId="375"/>
            <ac:spMk id="37" creationId="{6DE85956-0A08-4CC0-853E-4785B3580718}"/>
          </ac:spMkLst>
        </pc:spChg>
        <pc:spChg chg="del">
          <ac:chgData name="Mery Carrasco Mauricio (Codelco-Casa Matriz)" userId="S::mmery004@codelco.cl::a0378191-74de-4d59-9b37-aa421303daba" providerId="AD" clId="Web-{1F3F4E40-191F-E946-07FE-884A27E59504}" dt="2020-10-22T14:59:14.483" v="421"/>
          <ac:spMkLst>
            <pc:docMk/>
            <pc:sldMk cId="2155997825" sldId="375"/>
            <ac:spMk id="39" creationId="{0DA23FCB-6B47-4800-AAEB-A4F1A32DC6F4}"/>
          </ac:spMkLst>
        </pc:spChg>
        <pc:spChg chg="del">
          <ac:chgData name="Mery Carrasco Mauricio (Codelco-Casa Matriz)" userId="S::mmery004@codelco.cl::a0378191-74de-4d59-9b37-aa421303daba" providerId="AD" clId="Web-{1F3F4E40-191F-E946-07FE-884A27E59504}" dt="2020-10-22T14:59:15.765" v="422"/>
          <ac:spMkLst>
            <pc:docMk/>
            <pc:sldMk cId="2155997825" sldId="375"/>
            <ac:spMk id="40" creationId="{D67E14A1-6560-4682-BFAD-9236B8CC9C23}"/>
          </ac:spMkLst>
        </pc:spChg>
      </pc:sldChg>
      <pc:sldChg chg="modSp">
        <pc:chgData name="Mery Carrasco Mauricio (Codelco-Casa Matriz)" userId="S::mmery004@codelco.cl::a0378191-74de-4d59-9b37-aa421303daba" providerId="AD" clId="Web-{1F3F4E40-191F-E946-07FE-884A27E59504}" dt="2020-10-22T14:13:32.677" v="213" actId="20577"/>
        <pc:sldMkLst>
          <pc:docMk/>
          <pc:sldMk cId="1943212446" sldId="416"/>
        </pc:sldMkLst>
        <pc:spChg chg="mod">
          <ac:chgData name="Mery Carrasco Mauricio (Codelco-Casa Matriz)" userId="S::mmery004@codelco.cl::a0378191-74de-4d59-9b37-aa421303daba" providerId="AD" clId="Web-{1F3F4E40-191F-E946-07FE-884A27E59504}" dt="2020-10-22T14:13:05.989" v="175" actId="20577"/>
          <ac:spMkLst>
            <pc:docMk/>
            <pc:sldMk cId="1943212446" sldId="416"/>
            <ac:spMk id="17" creationId="{9C4C5E3E-6150-4685-BEAC-9E2042B17D9D}"/>
          </ac:spMkLst>
        </pc:spChg>
        <pc:spChg chg="mod">
          <ac:chgData name="Mery Carrasco Mauricio (Codelco-Casa Matriz)" userId="S::mmery004@codelco.cl::a0378191-74de-4d59-9b37-aa421303daba" providerId="AD" clId="Web-{1F3F4E40-191F-E946-07FE-884A27E59504}" dt="2020-10-22T14:13:32.677" v="213" actId="20577"/>
          <ac:spMkLst>
            <pc:docMk/>
            <pc:sldMk cId="1943212446" sldId="416"/>
            <ac:spMk id="26" creationId="{C05AF7CA-BE06-4010-A753-779C63F68D58}"/>
          </ac:spMkLst>
        </pc:spChg>
      </pc:sldChg>
      <pc:sldChg chg="addSp delSp modSp">
        <pc:chgData name="Mery Carrasco Mauricio (Codelco-Casa Matriz)" userId="S::mmery004@codelco.cl::a0378191-74de-4d59-9b37-aa421303daba" providerId="AD" clId="Web-{1F3F4E40-191F-E946-07FE-884A27E59504}" dt="2020-10-22T14:58:35.217" v="400" actId="688"/>
        <pc:sldMkLst>
          <pc:docMk/>
          <pc:sldMk cId="922379868" sldId="417"/>
        </pc:sldMkLst>
        <pc:spChg chg="mod ord">
          <ac:chgData name="Mery Carrasco Mauricio (Codelco-Casa Matriz)" userId="S::mmery004@codelco.cl::a0378191-74de-4d59-9b37-aa421303daba" providerId="AD" clId="Web-{1F3F4E40-191F-E946-07FE-884A27E59504}" dt="2020-10-22T14:56:00.776" v="372" actId="20577"/>
          <ac:spMkLst>
            <pc:docMk/>
            <pc:sldMk cId="922379868" sldId="417"/>
            <ac:spMk id="13" creationId="{4FD24CCA-6F96-46C3-81F3-7DADB849CDFF}"/>
          </ac:spMkLst>
        </pc:spChg>
        <pc:spChg chg="del mod ord">
          <ac:chgData name="Mery Carrasco Mauricio (Codelco-Casa Matriz)" userId="S::mmery004@codelco.cl::a0378191-74de-4d59-9b37-aa421303daba" providerId="AD" clId="Web-{1F3F4E40-191F-E946-07FE-884A27E59504}" dt="2020-10-22T14:56:33.449" v="392"/>
          <ac:spMkLst>
            <pc:docMk/>
            <pc:sldMk cId="922379868" sldId="417"/>
            <ac:spMk id="14" creationId="{CFEBDEEA-15A1-4051-A754-437F1CF02A05}"/>
          </ac:spMkLst>
        </pc:spChg>
        <pc:spChg chg="del mod">
          <ac:chgData name="Mery Carrasco Mauricio (Codelco-Casa Matriz)" userId="S::mmery004@codelco.cl::a0378191-74de-4d59-9b37-aa421303daba" providerId="AD" clId="Web-{1F3F4E40-191F-E946-07FE-884A27E59504}" dt="2020-10-22T14:56:33.464" v="393"/>
          <ac:spMkLst>
            <pc:docMk/>
            <pc:sldMk cId="922379868" sldId="417"/>
            <ac:spMk id="15" creationId="{229B409C-4167-46DB-ABF7-26E6928B2AEF}"/>
          </ac:spMkLst>
        </pc:spChg>
        <pc:spChg chg="add mod">
          <ac:chgData name="Mery Carrasco Mauricio (Codelco-Casa Matriz)" userId="S::mmery004@codelco.cl::a0378191-74de-4d59-9b37-aa421303daba" providerId="AD" clId="Web-{1F3F4E40-191F-E946-07FE-884A27E59504}" dt="2020-10-22T14:56:12.292" v="377" actId="20577"/>
          <ac:spMkLst>
            <pc:docMk/>
            <pc:sldMk cId="922379868" sldId="417"/>
            <ac:spMk id="16" creationId="{288A759B-0B8A-4F46-BF71-34CCD901A824}"/>
          </ac:spMkLst>
        </pc:spChg>
        <pc:spChg chg="add mod">
          <ac:chgData name="Mery Carrasco Mauricio (Codelco-Casa Matriz)" userId="S::mmery004@codelco.cl::a0378191-74de-4d59-9b37-aa421303daba" providerId="AD" clId="Web-{1F3F4E40-191F-E946-07FE-884A27E59504}" dt="2020-10-22T14:56:22.871" v="384" actId="20577"/>
          <ac:spMkLst>
            <pc:docMk/>
            <pc:sldMk cId="922379868" sldId="417"/>
            <ac:spMk id="17" creationId="{005BF2ED-9B92-4883-86E3-DC1C67775429}"/>
          </ac:spMkLst>
        </pc:spChg>
        <pc:spChg chg="add mod">
          <ac:chgData name="Mery Carrasco Mauricio (Codelco-Casa Matriz)" userId="S::mmery004@codelco.cl::a0378191-74de-4d59-9b37-aa421303daba" providerId="AD" clId="Web-{1F3F4E40-191F-E946-07FE-884A27E59504}" dt="2020-10-22T14:56:30.168" v="389" actId="20577"/>
          <ac:spMkLst>
            <pc:docMk/>
            <pc:sldMk cId="922379868" sldId="417"/>
            <ac:spMk id="18" creationId="{2448FD86-7276-4262-A90A-16DC1238A78A}"/>
          </ac:spMkLst>
        </pc:spChg>
        <pc:picChg chg="add mod">
          <ac:chgData name="Mery Carrasco Mauricio (Codelco-Casa Matriz)" userId="S::mmery004@codelco.cl::a0378191-74de-4d59-9b37-aa421303daba" providerId="AD" clId="Web-{1F3F4E40-191F-E946-07FE-884A27E59504}" dt="2020-10-22T14:53:37.164" v="343"/>
          <ac:picMkLst>
            <pc:docMk/>
            <pc:sldMk cId="922379868" sldId="417"/>
            <ac:picMk id="3" creationId="{50A9A1A4-716D-43DF-8B04-B1979F1861E4}"/>
          </ac:picMkLst>
        </pc:picChg>
        <pc:picChg chg="add mod">
          <ac:chgData name="Mery Carrasco Mauricio (Codelco-Casa Matriz)" userId="S::mmery004@codelco.cl::a0378191-74de-4d59-9b37-aa421303daba" providerId="AD" clId="Web-{1F3F4E40-191F-E946-07FE-884A27E59504}" dt="2020-10-22T14:55:52.886" v="367" actId="1076"/>
          <ac:picMkLst>
            <pc:docMk/>
            <pc:sldMk cId="922379868" sldId="417"/>
            <ac:picMk id="4" creationId="{02455B6D-166B-478A-A49A-19E2C6851934}"/>
          </ac:picMkLst>
        </pc:picChg>
        <pc:picChg chg="add mod">
          <ac:chgData name="Mery Carrasco Mauricio (Codelco-Casa Matriz)" userId="S::mmery004@codelco.cl::a0378191-74de-4d59-9b37-aa421303daba" providerId="AD" clId="Web-{1F3F4E40-191F-E946-07FE-884A27E59504}" dt="2020-10-22T14:54:50.338" v="351" actId="1076"/>
          <ac:picMkLst>
            <pc:docMk/>
            <pc:sldMk cId="922379868" sldId="417"/>
            <ac:picMk id="5" creationId="{34CAB5AE-E4E1-40F4-98CE-BB0F54F98163}"/>
          </ac:picMkLst>
        </pc:picChg>
        <pc:picChg chg="del">
          <ac:chgData name="Mery Carrasco Mauricio (Codelco-Casa Matriz)" userId="S::mmery004@codelco.cl::a0378191-74de-4d59-9b37-aa421303daba" providerId="AD" clId="Web-{1F3F4E40-191F-E946-07FE-884A27E59504}" dt="2020-10-22T14:53:15.648" v="338"/>
          <ac:picMkLst>
            <pc:docMk/>
            <pc:sldMk cId="922379868" sldId="417"/>
            <ac:picMk id="6" creationId="{1FE4A32F-4F08-4183-86C5-69DC5A41C36E}"/>
          </ac:picMkLst>
        </pc:picChg>
        <pc:picChg chg="add mod">
          <ac:chgData name="Mery Carrasco Mauricio (Codelco-Casa Matriz)" userId="S::mmery004@codelco.cl::a0378191-74de-4d59-9b37-aa421303daba" providerId="AD" clId="Web-{1F3F4E40-191F-E946-07FE-884A27E59504}" dt="2020-10-22T14:58:35.217" v="400" actId="688"/>
          <ac:picMkLst>
            <pc:docMk/>
            <pc:sldMk cId="922379868" sldId="417"/>
            <ac:picMk id="7" creationId="{E1385C3C-87D7-492D-8FA5-0112E3DB49F8}"/>
          </ac:picMkLst>
        </pc:picChg>
        <pc:picChg chg="del">
          <ac:chgData name="Mery Carrasco Mauricio (Codelco-Casa Matriz)" userId="S::mmery004@codelco.cl::a0378191-74de-4d59-9b37-aa421303daba" providerId="AD" clId="Web-{1F3F4E40-191F-E946-07FE-884A27E59504}" dt="2020-10-22T14:54:43.072" v="348"/>
          <ac:picMkLst>
            <pc:docMk/>
            <pc:sldMk cId="922379868" sldId="417"/>
            <ac:picMk id="8" creationId="{E1620D23-AD26-4A3E-9532-53CC9503C35B}"/>
          </ac:picMkLst>
        </pc:picChg>
        <pc:picChg chg="del">
          <ac:chgData name="Mery Carrasco Mauricio (Codelco-Casa Matriz)" userId="S::mmery004@codelco.cl::a0378191-74de-4d59-9b37-aa421303daba" providerId="AD" clId="Web-{1F3F4E40-191F-E946-07FE-884A27E59504}" dt="2020-10-22T14:54:19.696" v="344"/>
          <ac:picMkLst>
            <pc:docMk/>
            <pc:sldMk cId="922379868" sldId="417"/>
            <ac:picMk id="11" creationId="{491DEC16-0AA7-4D06-9CCD-E55397347129}"/>
          </ac:picMkLst>
        </pc:picChg>
      </pc:sldChg>
    </pc:docChg>
  </pc:docChgLst>
  <pc:docChgLst>
    <pc:chgData name="Calquin Veas Alexis (Codelco-Casa Matriz)" userId="S::acalq001@codelco.cl::bed4172a-53a7-4851-8acf-473ef95dec61" providerId="AD" clId="Web-{7E8D1A53-FE6B-0F81-238E-7A6E9F833B9F}"/>
    <pc:docChg chg="addSld delSld modSld">
      <pc:chgData name="Calquin Veas Alexis (Codelco-Casa Matriz)" userId="S::acalq001@codelco.cl::bed4172a-53a7-4851-8acf-473ef95dec61" providerId="AD" clId="Web-{7E8D1A53-FE6B-0F81-238E-7A6E9F833B9F}" dt="2021-08-03T23:00:05.938" v="115"/>
      <pc:docMkLst>
        <pc:docMk/>
      </pc:docMkLst>
      <pc:sldChg chg="modSp">
        <pc:chgData name="Calquin Veas Alexis (Codelco-Casa Matriz)" userId="S::acalq001@codelco.cl::bed4172a-53a7-4851-8acf-473ef95dec61" providerId="AD" clId="Web-{7E8D1A53-FE6B-0F81-238E-7A6E9F833B9F}" dt="2021-08-03T22:50:01.594" v="62" actId="20577"/>
        <pc:sldMkLst>
          <pc:docMk/>
          <pc:sldMk cId="2155997825" sldId="375"/>
        </pc:sldMkLst>
        <pc:spChg chg="mod">
          <ac:chgData name="Calquin Veas Alexis (Codelco-Casa Matriz)" userId="S::acalq001@codelco.cl::bed4172a-53a7-4851-8acf-473ef95dec61" providerId="AD" clId="Web-{7E8D1A53-FE6B-0F81-238E-7A6E9F833B9F}" dt="2021-08-03T22:50:01.594" v="62" actId="20577"/>
          <ac:spMkLst>
            <pc:docMk/>
            <pc:sldMk cId="2155997825" sldId="375"/>
            <ac:spMk id="35" creationId="{3E1FB314-0B4B-4E37-B51E-64C590443006}"/>
          </ac:spMkLst>
        </pc:spChg>
      </pc:sldChg>
      <pc:sldChg chg="del">
        <pc:chgData name="Calquin Veas Alexis (Codelco-Casa Matriz)" userId="S::acalq001@codelco.cl::bed4172a-53a7-4851-8acf-473ef95dec61" providerId="AD" clId="Web-{7E8D1A53-FE6B-0F81-238E-7A6E9F833B9F}" dt="2021-08-03T22:46:41.213" v="55"/>
        <pc:sldMkLst>
          <pc:docMk/>
          <pc:sldMk cId="468501856" sldId="573"/>
        </pc:sldMkLst>
      </pc:sldChg>
      <pc:sldChg chg="modSp">
        <pc:chgData name="Calquin Veas Alexis (Codelco-Casa Matriz)" userId="S::acalq001@codelco.cl::bed4172a-53a7-4851-8acf-473ef95dec61" providerId="AD" clId="Web-{7E8D1A53-FE6B-0F81-238E-7A6E9F833B9F}" dt="2021-08-03T22:52:35.973" v="76" actId="20577"/>
        <pc:sldMkLst>
          <pc:docMk/>
          <pc:sldMk cId="3434625331" sldId="575"/>
        </pc:sldMkLst>
        <pc:spChg chg="mod">
          <ac:chgData name="Calquin Veas Alexis (Codelco-Casa Matriz)" userId="S::acalq001@codelco.cl::bed4172a-53a7-4851-8acf-473ef95dec61" providerId="AD" clId="Web-{7E8D1A53-FE6B-0F81-238E-7A6E9F833B9F}" dt="2021-08-03T22:52:35.973" v="76" actId="20577"/>
          <ac:spMkLst>
            <pc:docMk/>
            <pc:sldMk cId="3434625331" sldId="575"/>
            <ac:spMk id="385" creationId="{00000000-0000-0000-0000-000000000000}"/>
          </ac:spMkLst>
        </pc:spChg>
      </pc:sldChg>
      <pc:sldChg chg="modSp">
        <pc:chgData name="Calquin Veas Alexis (Codelco-Casa Matriz)" userId="S::acalq001@codelco.cl::bed4172a-53a7-4851-8acf-473ef95dec61" providerId="AD" clId="Web-{7E8D1A53-FE6B-0F81-238E-7A6E9F833B9F}" dt="2021-08-03T22:51:06.939" v="72" actId="1076"/>
        <pc:sldMkLst>
          <pc:docMk/>
          <pc:sldMk cId="2647087036" sldId="576"/>
        </pc:sldMkLst>
        <pc:spChg chg="mod">
          <ac:chgData name="Calquin Veas Alexis (Codelco-Casa Matriz)" userId="S::acalq001@codelco.cl::bed4172a-53a7-4851-8acf-473ef95dec61" providerId="AD" clId="Web-{7E8D1A53-FE6B-0F81-238E-7A6E9F833B9F}" dt="2021-08-03T22:50:31.173" v="64" actId="1076"/>
          <ac:spMkLst>
            <pc:docMk/>
            <pc:sldMk cId="2647087036" sldId="576"/>
            <ac:spMk id="78" creationId="{C8831938-1001-47BF-9816-A6EF66ACD2F6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1:06.939" v="72" actId="1076"/>
          <ac:spMkLst>
            <pc:docMk/>
            <pc:sldMk cId="2647087036" sldId="576"/>
            <ac:spMk id="88" creationId="{00000000-0000-0000-0000-000000000000}"/>
          </ac:spMkLst>
        </pc:spChg>
      </pc:sldChg>
      <pc:sldChg chg="addSp delSp modSp add">
        <pc:chgData name="Calquin Veas Alexis (Codelco-Casa Matriz)" userId="S::acalq001@codelco.cl::bed4172a-53a7-4851-8acf-473ef95dec61" providerId="AD" clId="Web-{7E8D1A53-FE6B-0F81-238E-7A6E9F833B9F}" dt="2021-08-03T23:00:05.938" v="115"/>
        <pc:sldMkLst>
          <pc:docMk/>
          <pc:sldMk cId="499841031" sldId="578"/>
        </pc:sldMkLst>
        <pc:spChg chg="mod">
          <ac:chgData name="Calquin Veas Alexis (Codelco-Casa Matriz)" userId="S::acalq001@codelco.cl::bed4172a-53a7-4851-8acf-473ef95dec61" providerId="AD" clId="Web-{7E8D1A53-FE6B-0F81-238E-7A6E9F833B9F}" dt="2021-08-03T22:59:02.452" v="108"/>
          <ac:spMkLst>
            <pc:docMk/>
            <pc:sldMk cId="499841031" sldId="578"/>
            <ac:spMk id="3" creationId="{00000000-0000-0000-0000-000000000000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5:30.618" v="78" actId="1076"/>
          <ac:spMkLst>
            <pc:docMk/>
            <pc:sldMk cId="499841031" sldId="578"/>
            <ac:spMk id="31" creationId="{9D9A4CF5-7C9E-46C6-90E6-1E3D29185CCD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8:49.436" v="106"/>
          <ac:spMkLst>
            <pc:docMk/>
            <pc:sldMk cId="499841031" sldId="578"/>
            <ac:spMk id="42" creationId="{00000000-0000-0000-0000-000000000000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8:53.983" v="107"/>
          <ac:spMkLst>
            <pc:docMk/>
            <pc:sldMk cId="499841031" sldId="578"/>
            <ac:spMk id="43" creationId="{00000000-0000-0000-0000-000000000000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6:16.901" v="96" actId="1076"/>
          <ac:spMkLst>
            <pc:docMk/>
            <pc:sldMk cId="499841031" sldId="578"/>
            <ac:spMk id="44" creationId="{8D3FD4C3-15BB-4013-8435-5068E3C9C4EA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5:40.712" v="84" actId="14100"/>
          <ac:spMkLst>
            <pc:docMk/>
            <pc:sldMk cId="499841031" sldId="578"/>
            <ac:spMk id="45" creationId="{8D3FD4C3-15BB-4013-8435-5068E3C9C4EA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6:37.011" v="99" actId="1076"/>
          <ac:spMkLst>
            <pc:docMk/>
            <pc:sldMk cId="499841031" sldId="578"/>
            <ac:spMk id="46" creationId="{8D3FD4C3-15BB-4013-8435-5068E3C9C4EA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54:40.492" v="77"/>
          <ac:spMkLst>
            <pc:docMk/>
            <pc:sldMk cId="499841031" sldId="578"/>
            <ac:spMk id="51" creationId="{B8725CF4-620C-4B98-BD85-FCA99BB19348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8:32.528" v="31" actId="1076"/>
          <ac:spMkLst>
            <pc:docMk/>
            <pc:sldMk cId="499841031" sldId="578"/>
            <ac:spMk id="53" creationId="{B8725CF4-620C-4B98-BD85-FCA99BB19348}"/>
          </ac:spMkLst>
        </pc:spChg>
        <pc:spChg chg="del mod">
          <ac:chgData name="Calquin Veas Alexis (Codelco-Casa Matriz)" userId="S::acalq001@codelco.cl::bed4172a-53a7-4851-8acf-473ef95dec61" providerId="AD" clId="Web-{7E8D1A53-FE6B-0F81-238E-7A6E9F833B9F}" dt="2021-08-03T22:36:59.838" v="24"/>
          <ac:spMkLst>
            <pc:docMk/>
            <pc:sldMk cId="499841031" sldId="578"/>
            <ac:spMk id="81" creationId="{8D3FD4C3-15BB-4013-8435-5068E3C9C4EA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5:01.757" v="17" actId="20577"/>
          <ac:spMkLst>
            <pc:docMk/>
            <pc:sldMk cId="499841031" sldId="578"/>
            <ac:spMk id="145" creationId="{3F302836-4F68-4641-BD29-64B0A72CA38E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8:54.076" v="40" actId="1076"/>
          <ac:spMkLst>
            <pc:docMk/>
            <pc:sldMk cId="499841031" sldId="578"/>
            <ac:spMk id="174" creationId="{5DD814C3-F9E7-44C1-9A20-799B0B7555CF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9:12.373" v="41" actId="1076"/>
          <ac:spMkLst>
            <pc:docMk/>
            <pc:sldMk cId="499841031" sldId="578"/>
            <ac:spMk id="175" creationId="{8D3FD4C3-15BB-4013-8435-5068E3C9C4EA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8:32.559" v="33" actId="1076"/>
          <ac:spMkLst>
            <pc:docMk/>
            <pc:sldMk cId="499841031" sldId="578"/>
            <ac:spMk id="182" creationId="{B8725CF4-620C-4B98-BD85-FCA99BB19348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8:32.591" v="35" actId="1076"/>
          <ac:spMkLst>
            <pc:docMk/>
            <pc:sldMk cId="499841031" sldId="578"/>
            <ac:spMk id="187" creationId="{00000000-0000-0000-0000-000000000000}"/>
          </ac:spMkLst>
        </pc:spChg>
        <pc:spChg chg="mod">
          <ac:chgData name="Calquin Veas Alexis (Codelco-Casa Matriz)" userId="S::acalq001@codelco.cl::bed4172a-53a7-4851-8acf-473ef95dec61" providerId="AD" clId="Web-{7E8D1A53-FE6B-0F81-238E-7A6E9F833B9F}" dt="2021-08-03T22:38:32.606" v="36" actId="1076"/>
          <ac:spMkLst>
            <pc:docMk/>
            <pc:sldMk cId="499841031" sldId="578"/>
            <ac:spMk id="188" creationId="{00000000-0000-0000-0000-000000000000}"/>
          </ac:spMkLst>
        </pc:spChg>
        <pc:grpChg chg="del">
          <ac:chgData name="Calquin Veas Alexis (Codelco-Casa Matriz)" userId="S::acalq001@codelco.cl::bed4172a-53a7-4851-8acf-473ef95dec61" providerId="AD" clId="Web-{7E8D1A53-FE6B-0F81-238E-7A6E9F833B9F}" dt="2021-08-03T22:37:22.339" v="25"/>
          <ac:grpSpMkLst>
            <pc:docMk/>
            <pc:sldMk cId="499841031" sldId="578"/>
            <ac:grpSpMk id="2" creationId="{B066A230-D8BE-49AD-94B1-C3C6BC57AABA}"/>
          </ac:grpSpMkLst>
        </pc:grpChg>
        <pc:picChg chg="add del mod">
          <ac:chgData name="Calquin Veas Alexis (Codelco-Casa Matriz)" userId="S::acalq001@codelco.cl::bed4172a-53a7-4851-8acf-473ef95dec61" providerId="AD" clId="Web-{7E8D1A53-FE6B-0F81-238E-7A6E9F833B9F}" dt="2021-08-03T22:58:27.186" v="104"/>
          <ac:picMkLst>
            <pc:docMk/>
            <pc:sldMk cId="499841031" sldId="578"/>
            <ac:picMk id="4" creationId="{DC24195B-C688-42C1-97F2-3781F392432F}"/>
          </ac:picMkLst>
        </pc:picChg>
        <pc:picChg chg="mod">
          <ac:chgData name="Calquin Veas Alexis (Codelco-Casa Matriz)" userId="S::acalq001@codelco.cl::bed4172a-53a7-4851-8acf-473ef95dec61" providerId="AD" clId="Web-{7E8D1A53-FE6B-0F81-238E-7A6E9F833B9F}" dt="2021-08-03T22:55:40.619" v="79" actId="14100"/>
          <ac:picMkLst>
            <pc:docMk/>
            <pc:sldMk cId="499841031" sldId="578"/>
            <ac:picMk id="39" creationId="{00000000-0000-0000-0000-000000000000}"/>
          </ac:picMkLst>
        </pc:picChg>
        <pc:picChg chg="mod">
          <ac:chgData name="Calquin Veas Alexis (Codelco-Casa Matriz)" userId="S::acalq001@codelco.cl::bed4172a-53a7-4851-8acf-473ef95dec61" providerId="AD" clId="Web-{7E8D1A53-FE6B-0F81-238E-7A6E9F833B9F}" dt="2021-08-03T22:55:55.385" v="92" actId="1076"/>
          <ac:picMkLst>
            <pc:docMk/>
            <pc:sldMk cId="499841031" sldId="578"/>
            <ac:picMk id="40" creationId="{00000000-0000-0000-0000-000000000000}"/>
          </ac:picMkLst>
        </pc:picChg>
        <pc:picChg chg="mod">
          <ac:chgData name="Calquin Veas Alexis (Codelco-Casa Matriz)" userId="S::acalq001@codelco.cl::bed4172a-53a7-4851-8acf-473ef95dec61" providerId="AD" clId="Web-{7E8D1A53-FE6B-0F81-238E-7A6E9F833B9F}" dt="2021-08-03T22:58:37.280" v="105" actId="14100"/>
          <ac:picMkLst>
            <pc:docMk/>
            <pc:sldMk cId="499841031" sldId="578"/>
            <ac:picMk id="41" creationId="{00000000-0000-0000-0000-000000000000}"/>
          </ac:picMkLst>
        </pc:picChg>
        <pc:cxnChg chg="mod">
          <ac:chgData name="Calquin Veas Alexis (Codelco-Casa Matriz)" userId="S::acalq001@codelco.cl::bed4172a-53a7-4851-8acf-473ef95dec61" providerId="AD" clId="Web-{7E8D1A53-FE6B-0F81-238E-7A6E9F833B9F}" dt="2021-08-03T22:38:32.622" v="37" actId="1076"/>
          <ac:cxnSpMkLst>
            <pc:docMk/>
            <pc:sldMk cId="499841031" sldId="578"/>
            <ac:cxnSpMk id="23" creationId="{00000000-0000-0000-0000-000000000000}"/>
          </ac:cxnSpMkLst>
        </pc:cxnChg>
        <pc:cxnChg chg="mod">
          <ac:chgData name="Calquin Veas Alexis (Codelco-Casa Matriz)" userId="S::acalq001@codelco.cl::bed4172a-53a7-4851-8acf-473ef95dec61" providerId="AD" clId="Web-{7E8D1A53-FE6B-0F81-238E-7A6E9F833B9F}" dt="2021-08-03T22:59:25.250" v="113" actId="14100"/>
          <ac:cxnSpMkLst>
            <pc:docMk/>
            <pc:sldMk cId="499841031" sldId="578"/>
            <ac:cxnSpMk id="176" creationId="{00000000-0000-0000-0000-000000000000}"/>
          </ac:cxnSpMkLst>
        </pc:cxnChg>
        <pc:cxnChg chg="mod">
          <ac:chgData name="Calquin Veas Alexis (Codelco-Casa Matriz)" userId="S::acalq001@codelco.cl::bed4172a-53a7-4851-8acf-473ef95dec61" providerId="AD" clId="Web-{7E8D1A53-FE6B-0F81-238E-7A6E9F833B9F}" dt="2021-08-03T22:59:19.843" v="110" actId="1076"/>
          <ac:cxnSpMkLst>
            <pc:docMk/>
            <pc:sldMk cId="499841031" sldId="578"/>
            <ac:cxnSpMk id="177" creationId="{00000000-0000-0000-0000-000000000000}"/>
          </ac:cxnSpMkLst>
        </pc:cxnChg>
        <pc:cxnChg chg="mod">
          <ac:chgData name="Calquin Veas Alexis (Codelco-Casa Matriz)" userId="S::acalq001@codelco.cl::bed4172a-53a7-4851-8acf-473ef95dec61" providerId="AD" clId="Web-{7E8D1A53-FE6B-0F81-238E-7A6E9F833B9F}" dt="2021-08-03T22:59:19.859" v="111" actId="1076"/>
          <ac:cxnSpMkLst>
            <pc:docMk/>
            <pc:sldMk cId="499841031" sldId="578"/>
            <ac:cxnSpMk id="178" creationId="{00000000-0000-0000-0000-000000000000}"/>
          </ac:cxnSpMkLst>
        </pc:cxnChg>
        <pc:cxnChg chg="mod">
          <ac:chgData name="Calquin Veas Alexis (Codelco-Casa Matriz)" userId="S::acalq001@codelco.cl::bed4172a-53a7-4851-8acf-473ef95dec61" providerId="AD" clId="Web-{7E8D1A53-FE6B-0F81-238E-7A6E9F833B9F}" dt="2021-08-03T22:59:38.328" v="114" actId="14100"/>
          <ac:cxnSpMkLst>
            <pc:docMk/>
            <pc:sldMk cId="499841031" sldId="578"/>
            <ac:cxnSpMk id="179" creationId="{00000000-0000-0000-0000-000000000000}"/>
          </ac:cxnSpMkLst>
        </pc:cxnChg>
        <pc:cxnChg chg="mod">
          <ac:chgData name="Calquin Veas Alexis (Codelco-Casa Matriz)" userId="S::acalq001@codelco.cl::bed4172a-53a7-4851-8acf-473ef95dec61" providerId="AD" clId="Web-{7E8D1A53-FE6B-0F81-238E-7A6E9F833B9F}" dt="2021-08-03T22:38:32.544" v="32" actId="1076"/>
          <ac:cxnSpMkLst>
            <pc:docMk/>
            <pc:sldMk cId="499841031" sldId="578"/>
            <ac:cxnSpMk id="181" creationId="{00000000-0000-0000-0000-000000000000}"/>
          </ac:cxnSpMkLst>
        </pc:cxnChg>
        <pc:cxnChg chg="mod">
          <ac:chgData name="Calquin Veas Alexis (Codelco-Casa Matriz)" userId="S::acalq001@codelco.cl::bed4172a-53a7-4851-8acf-473ef95dec61" providerId="AD" clId="Web-{7E8D1A53-FE6B-0F81-238E-7A6E9F833B9F}" dt="2021-08-03T22:38:32.575" v="34" actId="1076"/>
          <ac:cxnSpMkLst>
            <pc:docMk/>
            <pc:sldMk cId="499841031" sldId="578"/>
            <ac:cxnSpMk id="183" creationId="{00000000-0000-0000-0000-000000000000}"/>
          </ac:cxnSpMkLst>
        </pc:cxnChg>
        <pc:cxnChg chg="del mod">
          <ac:chgData name="Calquin Veas Alexis (Codelco-Casa Matriz)" userId="S::acalq001@codelco.cl::bed4172a-53a7-4851-8acf-473ef95dec61" providerId="AD" clId="Web-{7E8D1A53-FE6B-0F81-238E-7A6E9F833B9F}" dt="2021-08-03T23:00:05.938" v="115"/>
          <ac:cxnSpMkLst>
            <pc:docMk/>
            <pc:sldMk cId="499841031" sldId="578"/>
            <ac:cxnSpMk id="190" creationId="{00000000-0000-0000-0000-000000000000}"/>
          </ac:cxnSpMkLst>
        </pc:cxnChg>
        <pc:cxnChg chg="del mod">
          <ac:chgData name="Calquin Veas Alexis (Codelco-Casa Matriz)" userId="S::acalq001@codelco.cl::bed4172a-53a7-4851-8acf-473ef95dec61" providerId="AD" clId="Web-{7E8D1A53-FE6B-0F81-238E-7A6E9F833B9F}" dt="2021-08-03T22:37:26.995" v="27"/>
          <ac:cxnSpMkLst>
            <pc:docMk/>
            <pc:sldMk cId="499841031" sldId="578"/>
            <ac:cxnSpMk id="494598" creationId="{E92A0B56-6807-42D6-91F7-A234F6FDC02E}"/>
          </ac:cxnSpMkLst>
        </pc:cxnChg>
      </pc:sldChg>
      <pc:sldChg chg="add replId">
        <pc:chgData name="Calquin Veas Alexis (Codelco-Casa Matriz)" userId="S::acalq001@codelco.cl::bed4172a-53a7-4851-8acf-473ef95dec61" providerId="AD" clId="Web-{7E8D1A53-FE6B-0F81-238E-7A6E9F833B9F}" dt="2021-08-03T22:36:35.447" v="23"/>
        <pc:sldMkLst>
          <pc:docMk/>
          <pc:sldMk cId="138750337" sldId="579"/>
        </pc:sldMkLst>
      </pc:sldChg>
    </pc:docChg>
  </pc:docChgLst>
  <pc:docChgLst>
    <pc:chgData name="Mery Carrasco Mauricio (Codelco-Casa Matriz)" userId="S::mmery004@codelco.cl::a0378191-74de-4d59-9b37-aa421303daba" providerId="AD" clId="Web-{E886BE9F-30CE-0000-D422-25B7C099825D}"/>
    <pc:docChg chg="modSld">
      <pc:chgData name="Mery Carrasco Mauricio (Codelco-Casa Matriz)" userId="S::mmery004@codelco.cl::a0378191-74de-4d59-9b37-aa421303daba" providerId="AD" clId="Web-{E886BE9F-30CE-0000-D422-25B7C099825D}" dt="2021-04-15T15:59:40.991" v="0"/>
      <pc:docMkLst>
        <pc:docMk/>
      </pc:docMkLst>
      <pc:sldChg chg="mod modShow">
        <pc:chgData name="Mery Carrasco Mauricio (Codelco-Casa Matriz)" userId="S::mmery004@codelco.cl::a0378191-74de-4d59-9b37-aa421303daba" providerId="AD" clId="Web-{E886BE9F-30CE-0000-D422-25B7C099825D}" dt="2021-04-15T15:59:40.991" v="0"/>
        <pc:sldMkLst>
          <pc:docMk/>
          <pc:sldMk cId="1595313586" sldId="492"/>
        </pc:sldMkLst>
      </pc:sldChg>
    </pc:docChg>
  </pc:docChgLst>
  <pc:docChgLst>
    <pc:chgData name="Allende Bustamante Jose (Codelco-Casa Matriz)" userId="S::jalle011@codelco.cl::54345eee-8770-43bf-b080-e3e333067d62" providerId="AD" clId="Web-{AAB52B29-99E0-A2E0-70A0-CCAD66FCBB4D}"/>
    <pc:docChg chg="addSld delSld addMainMaster modMainMaster">
      <pc:chgData name="Allende Bustamante Jose (Codelco-Casa Matriz)" userId="S::jalle011@codelco.cl::54345eee-8770-43bf-b080-e3e333067d62" providerId="AD" clId="Web-{AAB52B29-99E0-A2E0-70A0-CCAD66FCBB4D}" dt="2021-03-12T14:17:22.045" v="11"/>
      <pc:docMkLst>
        <pc:docMk/>
      </pc:docMkLst>
      <pc:sldChg chg="del">
        <pc:chgData name="Allende Bustamante Jose (Codelco-Casa Matriz)" userId="S::jalle011@codelco.cl::54345eee-8770-43bf-b080-e3e333067d62" providerId="AD" clId="Web-{AAB52B29-99E0-A2E0-70A0-CCAD66FCBB4D}" dt="2021-03-12T14:16:08.574" v="7"/>
        <pc:sldMkLst>
          <pc:docMk/>
          <pc:sldMk cId="10646255" sldId="443"/>
        </pc:sldMkLst>
      </pc:sldChg>
      <pc:sldChg chg="del">
        <pc:chgData name="Allende Bustamante Jose (Codelco-Casa Matriz)" userId="S::jalle011@codelco.cl::54345eee-8770-43bf-b080-e3e333067d62" providerId="AD" clId="Web-{AAB52B29-99E0-A2E0-70A0-CCAD66FCBB4D}" dt="2021-03-12T14:15:58.355" v="6"/>
        <pc:sldMkLst>
          <pc:docMk/>
          <pc:sldMk cId="3175749001" sldId="444"/>
        </pc:sldMkLst>
      </pc:sldChg>
      <pc:sldChg chg="del">
        <pc:chgData name="Allende Bustamante Jose (Codelco-Casa Matriz)" userId="S::jalle011@codelco.cl::54345eee-8770-43bf-b080-e3e333067d62" providerId="AD" clId="Web-{AAB52B29-99E0-A2E0-70A0-CCAD66FCBB4D}" dt="2021-03-12T14:16:19.793" v="8"/>
        <pc:sldMkLst>
          <pc:docMk/>
          <pc:sldMk cId="3493025245" sldId="445"/>
        </pc:sldMkLst>
      </pc:sldChg>
      <pc:sldChg chg="del">
        <pc:chgData name="Allende Bustamante Jose (Codelco-Casa Matriz)" userId="S::jalle011@codelco.cl::54345eee-8770-43bf-b080-e3e333067d62" providerId="AD" clId="Web-{AAB52B29-99E0-A2E0-70A0-CCAD66FCBB4D}" dt="2021-03-12T14:15:57.996" v="5"/>
        <pc:sldMkLst>
          <pc:docMk/>
          <pc:sldMk cId="1175320256" sldId="446"/>
        </pc:sldMkLst>
      </pc:sldChg>
      <pc:sldChg chg="del">
        <pc:chgData name="Allende Bustamante Jose (Codelco-Casa Matriz)" userId="S::jalle011@codelco.cl::54345eee-8770-43bf-b080-e3e333067d62" providerId="AD" clId="Web-{AAB52B29-99E0-A2E0-70A0-CCAD66FCBB4D}" dt="2021-03-12T14:16:23.700" v="9"/>
        <pc:sldMkLst>
          <pc:docMk/>
          <pc:sldMk cId="123671883" sldId="447"/>
        </pc:sldMkLst>
      </pc:sldChg>
      <pc:sldChg chg="add del">
        <pc:chgData name="Allende Bustamante Jose (Codelco-Casa Matriz)" userId="S::jalle011@codelco.cl::54345eee-8770-43bf-b080-e3e333067d62" providerId="AD" clId="Web-{AAB52B29-99E0-A2E0-70A0-CCAD66FCBB4D}" dt="2021-03-12T14:16:55.497" v="10"/>
        <pc:sldMkLst>
          <pc:docMk/>
          <pc:sldMk cId="942339976" sldId="452"/>
        </pc:sldMkLst>
      </pc:sldChg>
      <pc:sldChg chg="add">
        <pc:chgData name="Allende Bustamante Jose (Codelco-Casa Matriz)" userId="S::jalle011@codelco.cl::54345eee-8770-43bf-b080-e3e333067d62" providerId="AD" clId="Web-{AAB52B29-99E0-A2E0-70A0-CCAD66FCBB4D}" dt="2021-03-12T14:15:10.479" v="1"/>
        <pc:sldMkLst>
          <pc:docMk/>
          <pc:sldMk cId="3214154555" sldId="453"/>
        </pc:sldMkLst>
      </pc:sldChg>
      <pc:sldChg chg="add">
        <pc:chgData name="Allende Bustamante Jose (Codelco-Casa Matriz)" userId="S::jalle011@codelco.cl::54345eee-8770-43bf-b080-e3e333067d62" providerId="AD" clId="Web-{AAB52B29-99E0-A2E0-70A0-CCAD66FCBB4D}" dt="2021-03-12T14:15:11.073" v="2"/>
        <pc:sldMkLst>
          <pc:docMk/>
          <pc:sldMk cId="1645582534" sldId="454"/>
        </pc:sldMkLst>
      </pc:sldChg>
      <pc:sldChg chg="add">
        <pc:chgData name="Allende Bustamante Jose (Codelco-Casa Matriz)" userId="S::jalle011@codelco.cl::54345eee-8770-43bf-b080-e3e333067d62" providerId="AD" clId="Web-{AAB52B29-99E0-A2E0-70A0-CCAD66FCBB4D}" dt="2021-03-12T14:15:11.323" v="3"/>
        <pc:sldMkLst>
          <pc:docMk/>
          <pc:sldMk cId="500662025" sldId="455"/>
        </pc:sldMkLst>
      </pc:sldChg>
      <pc:sldChg chg="add">
        <pc:chgData name="Allende Bustamante Jose (Codelco-Casa Matriz)" userId="S::jalle011@codelco.cl::54345eee-8770-43bf-b080-e3e333067d62" providerId="AD" clId="Web-{AAB52B29-99E0-A2E0-70A0-CCAD66FCBB4D}" dt="2021-03-12T14:15:11.667" v="4"/>
        <pc:sldMkLst>
          <pc:docMk/>
          <pc:sldMk cId="1664775789" sldId="456"/>
        </pc:sldMkLst>
      </pc:sldChg>
      <pc:sldChg chg="add">
        <pc:chgData name="Allende Bustamante Jose (Codelco-Casa Matriz)" userId="S::jalle011@codelco.cl::54345eee-8770-43bf-b080-e3e333067d62" providerId="AD" clId="Web-{AAB52B29-99E0-A2E0-70A0-CCAD66FCBB4D}" dt="2021-03-12T14:17:22.045" v="11"/>
        <pc:sldMkLst>
          <pc:docMk/>
          <pc:sldMk cId="2297803984" sldId="457"/>
        </pc:sldMkLst>
      </pc:sldChg>
      <pc:sldMasterChg chg="modSldLayout">
        <pc:chgData name="Allende Bustamante Jose (Codelco-Casa Matriz)" userId="S::jalle011@codelco.cl::54345eee-8770-43bf-b080-e3e333067d62" providerId="AD" clId="Web-{AAB52B29-99E0-A2E0-70A0-CCAD66FCBB4D}" dt="2021-03-12T14:15:09.870" v="0"/>
        <pc:sldMasterMkLst>
          <pc:docMk/>
          <pc:sldMasterMk cId="1408756453" sldId="2147484118"/>
        </pc:sldMasterMkLst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1408756453" sldId="2147484118"/>
            <pc:sldLayoutMk cId="3416272741" sldId="2147484348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AAB52B29-99E0-A2E0-70A0-CCAD66FCBB4D}" dt="2021-03-12T14:15:09.870" v="0"/>
        <pc:sldMasterMkLst>
          <pc:docMk/>
          <pc:sldMasterMk cId="4045726281" sldId="2147484133"/>
        </pc:sldMasterMkLst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1779011805" sldId="2147484134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1451383489" sldId="2147484135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3005343993" sldId="2147484136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2211757628" sldId="2147484137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1155229566" sldId="2147484138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714310030" sldId="2147484139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503913540" sldId="2147484140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3340093934" sldId="2147484141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411717208" sldId="2147484142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579487429" sldId="2147484143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4093282482" sldId="2147484144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2443564224" sldId="2147484145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1214435557" sldId="2147484146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2252526659" sldId="2147484147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2154972179" sldId="2147484148"/>
          </pc:sldLayoutMkLst>
        </pc:sldLayoutChg>
        <pc:sldLayoutChg chg="ad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4045726281" sldId="2147484133"/>
            <pc:sldLayoutMk cId="2521031360" sldId="2147484149"/>
          </pc:sldLayoutMkLst>
        </pc:sldLayoutChg>
      </pc:sldMasterChg>
      <pc:sldMasterChg chg="replId modSldLayout">
        <pc:chgData name="Allende Bustamante Jose (Codelco-Casa Matriz)" userId="S::jalle011@codelco.cl::54345eee-8770-43bf-b080-e3e333067d62" providerId="AD" clId="Web-{AAB52B29-99E0-A2E0-70A0-CCAD66FCBB4D}" dt="2021-03-12T14:15:09.870" v="0"/>
        <pc:sldMasterMkLst>
          <pc:docMk/>
          <pc:sldMasterMk cId="2969229741" sldId="2147484349"/>
        </pc:sldMasterMkLst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3543058118" sldId="2147484350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2612411629" sldId="2147484351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3543058118" sldId="2147484352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2612411629" sldId="2147484353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1608224328" sldId="2147484354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3852498680" sldId="2147484355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3079707490" sldId="2147484356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2497063147" sldId="2147484357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2411697666" sldId="2147484358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2470369557" sldId="2147484359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2692910053" sldId="2147484360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605467897" sldId="2147484361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3911390954" sldId="2147484362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1470861532" sldId="2147484363"/>
          </pc:sldLayoutMkLst>
        </pc:sldLayoutChg>
        <pc:sldLayoutChg chg="replId">
          <pc:chgData name="Allende Bustamante Jose (Codelco-Casa Matriz)" userId="S::jalle011@codelco.cl::54345eee-8770-43bf-b080-e3e333067d62" providerId="AD" clId="Web-{AAB52B29-99E0-A2E0-70A0-CCAD66FCBB4D}" dt="2021-03-12T14:15:09.870" v="0"/>
          <pc:sldLayoutMkLst>
            <pc:docMk/>
            <pc:sldMasterMk cId="2969229741" sldId="2147484349"/>
            <pc:sldLayoutMk cId="3977499301" sldId="2147484364"/>
          </pc:sldLayoutMkLst>
        </pc:sldLayoutChg>
      </pc:sldMasterChg>
    </pc:docChg>
  </pc:docChgLst>
  <pc:docChgLst>
    <pc:chgData name="Paillacar Oyarzo Paulo Ignacio (Codelco-Casa Matriz)" userId="S::ppail001@codelco.cl::3f9c4ec0-dfff-4bc5-ba03-192dd672e537" providerId="AD" clId="Web-{A3E58F67-C269-CFC6-37D4-F63CC2EA9126}"/>
    <pc:docChg chg="addSld delSld modSld">
      <pc:chgData name="Paillacar Oyarzo Paulo Ignacio (Codelco-Casa Matriz)" userId="S::ppail001@codelco.cl::3f9c4ec0-dfff-4bc5-ba03-192dd672e537" providerId="AD" clId="Web-{A3E58F67-C269-CFC6-37D4-F63CC2EA9126}" dt="2021-01-28T11:39:08.928" v="584" actId="1076"/>
      <pc:docMkLst>
        <pc:docMk/>
      </pc:docMkLst>
      <pc:sldChg chg="modSp mod modShow">
        <pc:chgData name="Paillacar Oyarzo Paulo Ignacio (Codelco-Casa Matriz)" userId="S::ppail001@codelco.cl::3f9c4ec0-dfff-4bc5-ba03-192dd672e537" providerId="AD" clId="Web-{A3E58F67-C269-CFC6-37D4-F63CC2EA9126}" dt="2021-01-28T06:42:10.313" v="24"/>
        <pc:sldMkLst>
          <pc:docMk/>
          <pc:sldMk cId="3013288184" sldId="433"/>
        </pc:sldMkLst>
        <pc:spChg chg="mod">
          <ac:chgData name="Paillacar Oyarzo Paulo Ignacio (Codelco-Casa Matriz)" userId="S::ppail001@codelco.cl::3f9c4ec0-dfff-4bc5-ba03-192dd672e537" providerId="AD" clId="Web-{A3E58F67-C269-CFC6-37D4-F63CC2EA9126}" dt="2021-01-28T06:41:45.531" v="22" actId="20577"/>
          <ac:spMkLst>
            <pc:docMk/>
            <pc:sldMk cId="3013288184" sldId="433"/>
            <ac:spMk id="2" creationId="{5432789E-2055-4E73-BE72-BD1C1DD862C9}"/>
          </ac:spMkLst>
        </pc:spChg>
      </pc:sldChg>
      <pc:sldChg chg="mod modShow">
        <pc:chgData name="Paillacar Oyarzo Paulo Ignacio (Codelco-Casa Matriz)" userId="S::ppail001@codelco.cl::3f9c4ec0-dfff-4bc5-ba03-192dd672e537" providerId="AD" clId="Web-{A3E58F67-C269-CFC6-37D4-F63CC2EA9126}" dt="2021-01-28T07:27:24.609" v="501"/>
        <pc:sldMkLst>
          <pc:docMk/>
          <pc:sldMk cId="2954005240" sldId="434"/>
        </pc:sldMkLst>
      </pc:sldChg>
      <pc:sldChg chg="addSp delSp modSp add mod replId modShow">
        <pc:chgData name="Paillacar Oyarzo Paulo Ignacio (Codelco-Casa Matriz)" userId="S::ppail001@codelco.cl::3f9c4ec0-dfff-4bc5-ba03-192dd672e537" providerId="AD" clId="Web-{A3E58F67-C269-CFC6-37D4-F63CC2EA9126}" dt="2021-01-28T07:14:17.414" v="372"/>
        <pc:sldMkLst>
          <pc:docMk/>
          <pc:sldMk cId="3481664912" sldId="447"/>
        </pc:sldMkLst>
        <pc:spChg chg="mod">
          <ac:chgData name="Paillacar Oyarzo Paulo Ignacio (Codelco-Casa Matriz)" userId="S::ppail001@codelco.cl::3f9c4ec0-dfff-4bc5-ba03-192dd672e537" providerId="AD" clId="Web-{A3E58F67-C269-CFC6-37D4-F63CC2EA9126}" dt="2021-01-28T06:42:36.659" v="53" actId="20577"/>
          <ac:spMkLst>
            <pc:docMk/>
            <pc:sldMk cId="3481664912" sldId="447"/>
            <ac:spMk id="2" creationId="{5432789E-2055-4E73-BE72-BD1C1DD862C9}"/>
          </ac:spMkLst>
        </pc:spChg>
        <pc:spChg chg="mod">
          <ac:chgData name="Paillacar Oyarzo Paulo Ignacio (Codelco-Casa Matriz)" userId="S::ppail001@codelco.cl::3f9c4ec0-dfff-4bc5-ba03-192dd672e537" providerId="AD" clId="Web-{A3E58F67-C269-CFC6-37D4-F63CC2EA9126}" dt="2021-01-28T07:01:06.971" v="328" actId="20577"/>
          <ac:spMkLst>
            <pc:docMk/>
            <pc:sldMk cId="3481664912" sldId="447"/>
            <ac:spMk id="3" creationId="{69CE7AA1-25C2-4A0B-AC35-D763F3F9409A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6:44:50.752" v="100"/>
          <ac:spMkLst>
            <pc:docMk/>
            <pc:sldMk cId="3481664912" sldId="447"/>
            <ac:spMk id="8" creationId="{1F853BAC-BBCB-4C41-800D-CAD797ED5CBF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6:44:50.752" v="99"/>
          <ac:spMkLst>
            <pc:docMk/>
            <pc:sldMk cId="3481664912" sldId="447"/>
            <ac:spMk id="9" creationId="{3CCE15A7-8028-453B-B8D8-DA44FD36D62E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6:44:50.752" v="98"/>
          <ac:spMkLst>
            <pc:docMk/>
            <pc:sldMk cId="3481664912" sldId="447"/>
            <ac:spMk id="10" creationId="{8D7A37FC-4565-4B64-8610-A20D6EC68E18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6:44:50.752" v="97"/>
          <ac:spMkLst>
            <pc:docMk/>
            <pc:sldMk cId="3481664912" sldId="447"/>
            <ac:spMk id="11" creationId="{B79C2A62-5529-4CF1-8311-2B4006FF6256}"/>
          </ac:spMkLst>
        </pc:spChg>
        <pc:spChg chg="add del mod">
          <ac:chgData name="Paillacar Oyarzo Paulo Ignacio (Codelco-Casa Matriz)" userId="S::ppail001@codelco.cl::3f9c4ec0-dfff-4bc5-ba03-192dd672e537" providerId="AD" clId="Web-{A3E58F67-C269-CFC6-37D4-F63CC2EA9126}" dt="2021-01-28T06:45:19.567" v="108"/>
          <ac:spMkLst>
            <pc:docMk/>
            <pc:sldMk cId="3481664912" sldId="447"/>
            <ac:spMk id="13" creationId="{26C1AD85-B64F-4733-A1AF-CA208D8A9441}"/>
          </ac:spMkLst>
        </pc:spChg>
        <pc:spChg chg="add del mod">
          <ac:chgData name="Paillacar Oyarzo Paulo Ignacio (Codelco-Casa Matriz)" userId="S::ppail001@codelco.cl::3f9c4ec0-dfff-4bc5-ba03-192dd672e537" providerId="AD" clId="Web-{A3E58F67-C269-CFC6-37D4-F63CC2EA9126}" dt="2021-01-28T07:13:43.802" v="347"/>
          <ac:spMkLst>
            <pc:docMk/>
            <pc:sldMk cId="3481664912" sldId="447"/>
            <ac:spMk id="15" creationId="{02583DCA-306A-4E91-9CEF-B63644B134E2}"/>
          </ac:spMkLst>
        </pc:spChg>
        <pc:spChg chg="add del mod">
          <ac:chgData name="Paillacar Oyarzo Paulo Ignacio (Codelco-Casa Matriz)" userId="S::ppail001@codelco.cl::3f9c4ec0-dfff-4bc5-ba03-192dd672e537" providerId="AD" clId="Web-{A3E58F67-C269-CFC6-37D4-F63CC2EA9126}" dt="2021-01-28T07:13:43.802" v="348"/>
          <ac:spMkLst>
            <pc:docMk/>
            <pc:sldMk cId="3481664912" sldId="447"/>
            <ac:spMk id="16" creationId="{890BA9AF-FEED-4E77-8A57-47CA8875C717}"/>
          </ac:spMkLst>
        </pc:spChg>
        <pc:spChg chg="add del mod">
          <ac:chgData name="Paillacar Oyarzo Paulo Ignacio (Codelco-Casa Matriz)" userId="S::ppail001@codelco.cl::3f9c4ec0-dfff-4bc5-ba03-192dd672e537" providerId="AD" clId="Web-{A3E58F67-C269-CFC6-37D4-F63CC2EA9126}" dt="2021-01-28T06:55:39.454" v="173"/>
          <ac:spMkLst>
            <pc:docMk/>
            <pc:sldMk cId="3481664912" sldId="447"/>
            <ac:spMk id="30" creationId="{D2E2EEB9-B735-4DD1-8171-B6D44205D4B9}"/>
          </ac:spMkLst>
        </pc:spChg>
        <pc:spChg chg="add del mod">
          <ac:chgData name="Paillacar Oyarzo Paulo Ignacio (Codelco-Casa Matriz)" userId="S::ppail001@codelco.cl::3f9c4ec0-dfff-4bc5-ba03-192dd672e537" providerId="AD" clId="Web-{A3E58F67-C269-CFC6-37D4-F63CC2EA9126}" dt="2021-01-28T07:13:43.818" v="361"/>
          <ac:spMkLst>
            <pc:docMk/>
            <pc:sldMk cId="3481664912" sldId="447"/>
            <ac:spMk id="32" creationId="{74B7EF65-900C-46DD-8F6B-FF24DC0E2FBD}"/>
          </ac:spMkLst>
        </pc:spChg>
        <pc:spChg chg="add del mod">
          <ac:chgData name="Paillacar Oyarzo Paulo Ignacio (Codelco-Casa Matriz)" userId="S::ppail001@codelco.cl::3f9c4ec0-dfff-4bc5-ba03-192dd672e537" providerId="AD" clId="Web-{A3E58F67-C269-CFC6-37D4-F63CC2EA9126}" dt="2021-01-28T06:57:43.593" v="198"/>
          <ac:spMkLst>
            <pc:docMk/>
            <pc:sldMk cId="3481664912" sldId="447"/>
            <ac:spMk id="34" creationId="{19E99733-D284-4588-831E-63B4F7A0A6C0}"/>
          </ac:spMkLst>
        </pc:spChg>
        <pc:picChg chg="del">
          <ac:chgData name="Paillacar Oyarzo Paulo Ignacio (Codelco-Casa Matriz)" userId="S::ppail001@codelco.cl::3f9c4ec0-dfff-4bc5-ba03-192dd672e537" providerId="AD" clId="Web-{A3E58F67-C269-CFC6-37D4-F63CC2EA9126}" dt="2021-01-28T06:44:50.752" v="103"/>
          <ac:picMkLst>
            <pc:docMk/>
            <pc:sldMk cId="3481664912" sldId="447"/>
            <ac:picMk id="5" creationId="{350413F6-1423-48DE-81AC-CB65F40559DB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44:50.752" v="102"/>
          <ac:picMkLst>
            <pc:docMk/>
            <pc:sldMk cId="3481664912" sldId="447"/>
            <ac:picMk id="6" creationId="{3EEA355D-6C75-4346-8526-9BFD9509BF99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44:50.752" v="101"/>
          <ac:picMkLst>
            <pc:docMk/>
            <pc:sldMk cId="3481664912" sldId="447"/>
            <ac:picMk id="7" creationId="{B185062E-8EBF-416F-9475-DF7F46776DC0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02" v="346"/>
          <ac:picMkLst>
            <pc:docMk/>
            <pc:sldMk cId="3481664912" sldId="447"/>
            <ac:picMk id="12" creationId="{593AC27A-1286-4732-B4C1-5520E59A9FB6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02" v="350"/>
          <ac:picMkLst>
            <pc:docMk/>
            <pc:sldMk cId="3481664912" sldId="447"/>
            <ac:picMk id="19" creationId="{3433B70D-B233-441B-B45B-4AC83CAFBE3D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02" v="351"/>
          <ac:picMkLst>
            <pc:docMk/>
            <pc:sldMk cId="3481664912" sldId="447"/>
            <ac:picMk id="20" creationId="{8B3A2E92-9643-46C2-819E-BB50437B9388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6:51:07.636" v="137"/>
          <ac:picMkLst>
            <pc:docMk/>
            <pc:sldMk cId="3481664912" sldId="447"/>
            <ac:picMk id="21" creationId="{961771A7-5A5C-4BE6-9118-187A0A313388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02" v="352"/>
          <ac:picMkLst>
            <pc:docMk/>
            <pc:sldMk cId="3481664912" sldId="447"/>
            <ac:picMk id="22" creationId="{DE9A7D25-60C4-4FD7-80F1-4ECF0940E45A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18" v="355"/>
          <ac:picMkLst>
            <pc:docMk/>
            <pc:sldMk cId="3481664912" sldId="447"/>
            <ac:picMk id="25" creationId="{D4EDC8AF-3E7A-4F8B-B090-F61873505014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18" v="356"/>
          <ac:picMkLst>
            <pc:docMk/>
            <pc:sldMk cId="3481664912" sldId="447"/>
            <ac:picMk id="26" creationId="{A348C241-38CD-4D7B-B88F-04087A61AEF3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13:43.818" v="362"/>
          <ac:picMkLst>
            <pc:docMk/>
            <pc:sldMk cId="3481664912" sldId="447"/>
            <ac:picMk id="33" creationId="{EB9A5EFA-1703-47D7-9D49-FE5F8DC0759F}"/>
          </ac:picMkLst>
        </pc:picChg>
        <pc:cxnChg chg="add del mod">
          <ac:chgData name="Paillacar Oyarzo Paulo Ignacio (Codelco-Casa Matriz)" userId="S::ppail001@codelco.cl::3f9c4ec0-dfff-4bc5-ba03-192dd672e537" providerId="AD" clId="Web-{A3E58F67-C269-CFC6-37D4-F63CC2EA9126}" dt="2021-01-28T06:48:59.737" v="123"/>
          <ac:cxnSpMkLst>
            <pc:docMk/>
            <pc:sldMk cId="3481664912" sldId="447"/>
            <ac:cxnSpMk id="17" creationId="{2C3B6006-4557-45CC-BBB0-0198E057FA7B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02" v="349"/>
          <ac:cxnSpMkLst>
            <pc:docMk/>
            <pc:sldMk cId="3481664912" sldId="447"/>
            <ac:cxnSpMk id="18" creationId="{2247CEA9-BD76-41F0-8622-9D7426318BF3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02" v="353"/>
          <ac:cxnSpMkLst>
            <pc:docMk/>
            <pc:sldMk cId="3481664912" sldId="447"/>
            <ac:cxnSpMk id="23" creationId="{60C29E9B-6653-43E4-9C7B-8B0F38928E8E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18" v="354"/>
          <ac:cxnSpMkLst>
            <pc:docMk/>
            <pc:sldMk cId="3481664912" sldId="447"/>
            <ac:cxnSpMk id="24" creationId="{E802662F-E6A6-4952-9B94-1479FC94B7EB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18" v="357"/>
          <ac:cxnSpMkLst>
            <pc:docMk/>
            <pc:sldMk cId="3481664912" sldId="447"/>
            <ac:cxnSpMk id="27" creationId="{FA71C534-0CF0-4CEE-9FFE-8DA4C7968D84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18" v="358"/>
          <ac:cxnSpMkLst>
            <pc:docMk/>
            <pc:sldMk cId="3481664912" sldId="447"/>
            <ac:cxnSpMk id="28" creationId="{33B3040C-FBD1-4AA2-A1BB-AB2CBA9A0858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18" v="359"/>
          <ac:cxnSpMkLst>
            <pc:docMk/>
            <pc:sldMk cId="3481664912" sldId="447"/>
            <ac:cxnSpMk id="29" creationId="{FFC715C7-AA94-40E5-AEE3-A7EB9A19CCD6}"/>
          </ac:cxnSpMkLst>
        </pc:cxnChg>
        <pc:cxnChg chg="add del mod">
          <ac:chgData name="Paillacar Oyarzo Paulo Ignacio (Codelco-Casa Matriz)" userId="S::ppail001@codelco.cl::3f9c4ec0-dfff-4bc5-ba03-192dd672e537" providerId="AD" clId="Web-{A3E58F67-C269-CFC6-37D4-F63CC2EA9126}" dt="2021-01-28T07:13:43.818" v="360"/>
          <ac:cxnSpMkLst>
            <pc:docMk/>
            <pc:sldMk cId="3481664912" sldId="447"/>
            <ac:cxnSpMk id="31" creationId="{2D31F822-5DE5-418F-958F-54A1066EBB25}"/>
          </ac:cxnSpMkLst>
        </pc:cxnChg>
      </pc:sldChg>
      <pc:sldChg chg="new del">
        <pc:chgData name="Paillacar Oyarzo Paulo Ignacio (Codelco-Casa Matriz)" userId="S::ppail001@codelco.cl::3f9c4ec0-dfff-4bc5-ba03-192dd672e537" providerId="AD" clId="Web-{A3E58F67-C269-CFC6-37D4-F63CC2EA9126}" dt="2021-01-28T06:59:26.308" v="222"/>
        <pc:sldMkLst>
          <pc:docMk/>
          <pc:sldMk cId="1983707895" sldId="448"/>
        </pc:sldMkLst>
      </pc:sldChg>
      <pc:sldChg chg="addSp delSp modSp add replId">
        <pc:chgData name="Paillacar Oyarzo Paulo Ignacio (Codelco-Casa Matriz)" userId="S::ppail001@codelco.cl::3f9c4ec0-dfff-4bc5-ba03-192dd672e537" providerId="AD" clId="Web-{A3E58F67-C269-CFC6-37D4-F63CC2EA9126}" dt="2021-01-28T07:28:27.801" v="570"/>
        <pc:sldMkLst>
          <pc:docMk/>
          <pc:sldMk cId="2416871407" sldId="449"/>
        </pc:sldMkLst>
        <pc:spChg chg="del">
          <ac:chgData name="Paillacar Oyarzo Paulo Ignacio (Codelco-Casa Matriz)" userId="S::ppail001@codelco.cl::3f9c4ec0-dfff-4bc5-ba03-192dd672e537" providerId="AD" clId="Web-{A3E58F67-C269-CFC6-37D4-F63CC2EA9126}" dt="2021-01-28T06:59:36.481" v="238"/>
          <ac:spMkLst>
            <pc:docMk/>
            <pc:sldMk cId="2416871407" sldId="449"/>
            <ac:spMk id="15" creationId="{02583DCA-306A-4E91-9CEF-B63644B134E2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6:59:36.481" v="237"/>
          <ac:spMkLst>
            <pc:docMk/>
            <pc:sldMk cId="2416871407" sldId="449"/>
            <ac:spMk id="16" creationId="{890BA9AF-FEED-4E77-8A57-47CA8875C717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6:59:36.465" v="224"/>
          <ac:spMkLst>
            <pc:docMk/>
            <pc:sldMk cId="2416871407" sldId="449"/>
            <ac:spMk id="32" creationId="{74B7EF65-900C-46DD-8F6B-FF24DC0E2FBD}"/>
          </ac:spMkLst>
        </pc:spChg>
        <pc:picChg chg="add mod">
          <ac:chgData name="Paillacar Oyarzo Paulo Ignacio (Codelco-Casa Matriz)" userId="S::ppail001@codelco.cl::3f9c4ec0-dfff-4bc5-ba03-192dd672e537" providerId="AD" clId="Web-{A3E58F67-C269-CFC6-37D4-F63CC2EA9126}" dt="2021-01-28T07:27:13.843" v="497" actId="1076"/>
          <ac:picMkLst>
            <pc:docMk/>
            <pc:sldMk cId="2416871407" sldId="449"/>
            <ac:picMk id="5" creationId="{62EDE378-3F57-4207-9A27-B396C78267E4}"/>
          </ac:picMkLst>
        </pc:picChg>
        <pc:picChg chg="add del mod">
          <ac:chgData name="Paillacar Oyarzo Paulo Ignacio (Codelco-Casa Matriz)" userId="S::ppail001@codelco.cl::3f9c4ec0-dfff-4bc5-ba03-192dd672e537" providerId="AD" clId="Web-{A3E58F67-C269-CFC6-37D4-F63CC2EA9126}" dt="2021-01-28T07:28:27.801" v="570"/>
          <ac:picMkLst>
            <pc:docMk/>
            <pc:sldMk cId="2416871407" sldId="449"/>
            <ac:picMk id="6" creationId="{0A67214F-BBE3-4577-A079-2AABE613D7EA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81" v="239"/>
          <ac:picMkLst>
            <pc:docMk/>
            <pc:sldMk cId="2416871407" sldId="449"/>
            <ac:picMk id="12" creationId="{593AC27A-1286-4732-B4C1-5520E59A9FB6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81" v="235"/>
          <ac:picMkLst>
            <pc:docMk/>
            <pc:sldMk cId="2416871407" sldId="449"/>
            <ac:picMk id="19" creationId="{3433B70D-B233-441B-B45B-4AC83CAFBE3D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81" v="234"/>
          <ac:picMkLst>
            <pc:docMk/>
            <pc:sldMk cId="2416871407" sldId="449"/>
            <ac:picMk id="20" creationId="{8B3A2E92-9643-46C2-819E-BB50437B9388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81" v="233"/>
          <ac:picMkLst>
            <pc:docMk/>
            <pc:sldMk cId="2416871407" sldId="449"/>
            <ac:picMk id="22" creationId="{DE9A7D25-60C4-4FD7-80F1-4ECF0940E45A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65" v="230"/>
          <ac:picMkLst>
            <pc:docMk/>
            <pc:sldMk cId="2416871407" sldId="449"/>
            <ac:picMk id="25" creationId="{D4EDC8AF-3E7A-4F8B-B090-F61873505014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65" v="229"/>
          <ac:picMkLst>
            <pc:docMk/>
            <pc:sldMk cId="2416871407" sldId="449"/>
            <ac:picMk id="26" creationId="{A348C241-38CD-4D7B-B88F-04087A61AEF3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6:59:36.465" v="223"/>
          <ac:picMkLst>
            <pc:docMk/>
            <pc:sldMk cId="2416871407" sldId="449"/>
            <ac:picMk id="33" creationId="{EB9A5EFA-1703-47D7-9D49-FE5F8DC0759F}"/>
          </ac:picMkLst>
        </pc:picChg>
        <pc:cxnChg chg="del">
          <ac:chgData name="Paillacar Oyarzo Paulo Ignacio (Codelco-Casa Matriz)" userId="S::ppail001@codelco.cl::3f9c4ec0-dfff-4bc5-ba03-192dd672e537" providerId="AD" clId="Web-{A3E58F67-C269-CFC6-37D4-F63CC2EA9126}" dt="2021-01-28T06:59:36.481" v="236"/>
          <ac:cxnSpMkLst>
            <pc:docMk/>
            <pc:sldMk cId="2416871407" sldId="449"/>
            <ac:cxnSpMk id="18" creationId="{2247CEA9-BD76-41F0-8622-9D7426318BF3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6:59:36.481" v="232"/>
          <ac:cxnSpMkLst>
            <pc:docMk/>
            <pc:sldMk cId="2416871407" sldId="449"/>
            <ac:cxnSpMk id="23" creationId="{60C29E9B-6653-43E4-9C7B-8B0F38928E8E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6:59:36.465" v="231"/>
          <ac:cxnSpMkLst>
            <pc:docMk/>
            <pc:sldMk cId="2416871407" sldId="449"/>
            <ac:cxnSpMk id="24" creationId="{E802662F-E6A6-4952-9B94-1479FC94B7EB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6:59:36.465" v="228"/>
          <ac:cxnSpMkLst>
            <pc:docMk/>
            <pc:sldMk cId="2416871407" sldId="449"/>
            <ac:cxnSpMk id="27" creationId="{FA71C534-0CF0-4CEE-9FFE-8DA4C7968D84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6:59:36.465" v="227"/>
          <ac:cxnSpMkLst>
            <pc:docMk/>
            <pc:sldMk cId="2416871407" sldId="449"/>
            <ac:cxnSpMk id="28" creationId="{33B3040C-FBD1-4AA2-A1BB-AB2CBA9A0858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6:59:36.465" v="226"/>
          <ac:cxnSpMkLst>
            <pc:docMk/>
            <pc:sldMk cId="2416871407" sldId="449"/>
            <ac:cxnSpMk id="29" creationId="{FFC715C7-AA94-40E5-AEE3-A7EB9A19CCD6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6:59:36.465" v="225"/>
          <ac:cxnSpMkLst>
            <pc:docMk/>
            <pc:sldMk cId="2416871407" sldId="449"/>
            <ac:cxnSpMk id="31" creationId="{2D31F822-5DE5-418F-958F-54A1066EBB25}"/>
          </ac:cxnSpMkLst>
        </pc:cxnChg>
      </pc:sldChg>
      <pc:sldChg chg="addSp delSp modSp add replId">
        <pc:chgData name="Paillacar Oyarzo Paulo Ignacio (Codelco-Casa Matriz)" userId="S::ppail001@codelco.cl::3f9c4ec0-dfff-4bc5-ba03-192dd672e537" providerId="AD" clId="Web-{A3E58F67-C269-CFC6-37D4-F63CC2EA9126}" dt="2021-01-28T07:24:47.959" v="495" actId="1076"/>
        <pc:sldMkLst>
          <pc:docMk/>
          <pc:sldMk cId="3999619249" sldId="450"/>
        </pc:sldMkLst>
        <pc:spChg chg="add mod">
          <ac:chgData name="Paillacar Oyarzo Paulo Ignacio (Codelco-Casa Matriz)" userId="S::ppail001@codelco.cl::3f9c4ec0-dfff-4bc5-ba03-192dd672e537" providerId="AD" clId="Web-{A3E58F67-C269-CFC6-37D4-F63CC2EA9126}" dt="2021-01-28T07:24:42.052" v="494"/>
          <ac:spMkLst>
            <pc:docMk/>
            <pc:sldMk cId="3999619249" sldId="450"/>
            <ac:spMk id="6" creationId="{063F5D2F-84C8-4AF8-B837-F4DBD84A7FA4}"/>
          </ac:spMkLst>
        </pc:spChg>
        <pc:spChg chg="add mod">
          <ac:chgData name="Paillacar Oyarzo Paulo Ignacio (Codelco-Casa Matriz)" userId="S::ppail001@codelco.cl::3f9c4ec0-dfff-4bc5-ba03-192dd672e537" providerId="AD" clId="Web-{A3E58F67-C269-CFC6-37D4-F63CC2EA9126}" dt="2021-01-28T07:22:12.666" v="447" actId="1076"/>
          <ac:spMkLst>
            <pc:docMk/>
            <pc:sldMk cId="3999619249" sldId="450"/>
            <ac:spMk id="7" creationId="{A0EA6F49-61EB-4103-A4DE-839C8598AC13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7:14:21.992" v="387"/>
          <ac:spMkLst>
            <pc:docMk/>
            <pc:sldMk cId="3999619249" sldId="450"/>
            <ac:spMk id="15" creationId="{02583DCA-306A-4E91-9CEF-B63644B134E2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7:14:21.992" v="386"/>
          <ac:spMkLst>
            <pc:docMk/>
            <pc:sldMk cId="3999619249" sldId="450"/>
            <ac:spMk id="16" creationId="{890BA9AF-FEED-4E77-8A57-47CA8875C717}"/>
          </ac:spMkLst>
        </pc:spChg>
        <pc:spChg chg="del">
          <ac:chgData name="Paillacar Oyarzo Paulo Ignacio (Codelco-Casa Matriz)" userId="S::ppail001@codelco.cl::3f9c4ec0-dfff-4bc5-ba03-192dd672e537" providerId="AD" clId="Web-{A3E58F67-C269-CFC6-37D4-F63CC2EA9126}" dt="2021-01-28T07:14:21.977" v="373"/>
          <ac:spMkLst>
            <pc:docMk/>
            <pc:sldMk cId="3999619249" sldId="450"/>
            <ac:spMk id="32" creationId="{74B7EF65-900C-46DD-8F6B-FF24DC0E2FBD}"/>
          </ac:spMkLst>
        </pc:spChg>
        <pc:spChg chg="add mod">
          <ac:chgData name="Paillacar Oyarzo Paulo Ignacio (Codelco-Casa Matriz)" userId="S::ppail001@codelco.cl::3f9c4ec0-dfff-4bc5-ba03-192dd672e537" providerId="AD" clId="Web-{A3E58F67-C269-CFC6-37D4-F63CC2EA9126}" dt="2021-01-28T07:22:22.402" v="449" actId="1076"/>
          <ac:spMkLst>
            <pc:docMk/>
            <pc:sldMk cId="3999619249" sldId="450"/>
            <ac:spMk id="39" creationId="{272FD6C7-234F-408A-AE1D-F228943A50E6}"/>
          </ac:spMkLst>
        </pc:spChg>
        <pc:picChg chg="add mod">
          <ac:chgData name="Paillacar Oyarzo Paulo Ignacio (Codelco-Casa Matriz)" userId="S::ppail001@codelco.cl::3f9c4ec0-dfff-4bc5-ba03-192dd672e537" providerId="AD" clId="Web-{A3E58F67-C269-CFC6-37D4-F63CC2EA9126}" dt="2021-01-28T07:24:47.959" v="495" actId="1076"/>
          <ac:picMkLst>
            <pc:docMk/>
            <pc:sldMk cId="3999619249" sldId="450"/>
            <ac:picMk id="5" creationId="{303C2B41-49FA-4F75-8AB2-0C86DB0A91B1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14:21.992" v="388"/>
          <ac:picMkLst>
            <pc:docMk/>
            <pc:sldMk cId="3999619249" sldId="450"/>
            <ac:picMk id="12" creationId="{593AC27A-1286-4732-B4C1-5520E59A9FB6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14:21.992" v="384"/>
          <ac:picMkLst>
            <pc:docMk/>
            <pc:sldMk cId="3999619249" sldId="450"/>
            <ac:picMk id="19" creationId="{3433B70D-B233-441B-B45B-4AC83CAFBE3D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14:21.977" v="383"/>
          <ac:picMkLst>
            <pc:docMk/>
            <pc:sldMk cId="3999619249" sldId="450"/>
            <ac:picMk id="20" creationId="{8B3A2E92-9643-46C2-819E-BB50437B9388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14:21.977" v="382"/>
          <ac:picMkLst>
            <pc:docMk/>
            <pc:sldMk cId="3999619249" sldId="450"/>
            <ac:picMk id="22" creationId="{DE9A7D25-60C4-4FD7-80F1-4ECF0940E45A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14:21.977" v="379"/>
          <ac:picMkLst>
            <pc:docMk/>
            <pc:sldMk cId="3999619249" sldId="450"/>
            <ac:picMk id="25" creationId="{D4EDC8AF-3E7A-4F8B-B090-F61873505014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14:21.977" v="378"/>
          <ac:picMkLst>
            <pc:docMk/>
            <pc:sldMk cId="3999619249" sldId="450"/>
            <ac:picMk id="26" creationId="{A348C241-38CD-4D7B-B88F-04087A61AEF3}"/>
          </ac:picMkLst>
        </pc:picChg>
        <pc:picChg chg="mod">
          <ac:chgData name="Paillacar Oyarzo Paulo Ignacio (Codelco-Casa Matriz)" userId="S::ppail001@codelco.cl::3f9c4ec0-dfff-4bc5-ba03-192dd672e537" providerId="AD" clId="Web-{A3E58F67-C269-CFC6-37D4-F63CC2EA9126}" dt="2021-01-28T07:23:27.234" v="474" actId="1076"/>
          <ac:picMkLst>
            <pc:docMk/>
            <pc:sldMk cId="3999619249" sldId="450"/>
            <ac:picMk id="33" creationId="{EB9A5EFA-1703-47D7-9D49-FE5F8DC0759F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07:24:04.534" v="486" actId="1076"/>
          <ac:picMkLst>
            <pc:docMk/>
            <pc:sldMk cId="3999619249" sldId="450"/>
            <ac:picMk id="34" creationId="{65520773-5869-4191-B17B-33456C722EA1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07:24:04.472" v="484" actId="1076"/>
          <ac:picMkLst>
            <pc:docMk/>
            <pc:sldMk cId="3999619249" sldId="450"/>
            <ac:picMk id="35" creationId="{2C29915C-9CCB-44D1-A482-F0313368B1F4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07:23:13.811" v="466" actId="1076"/>
          <ac:picMkLst>
            <pc:docMk/>
            <pc:sldMk cId="3999619249" sldId="450"/>
            <ac:picMk id="36" creationId="{1DE8FFD4-9ED3-4552-9B8F-7C967AFAAD3E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07:21:11.303" v="427" actId="1076"/>
          <ac:picMkLst>
            <pc:docMk/>
            <pc:sldMk cId="3999619249" sldId="450"/>
            <ac:picMk id="37" creationId="{A9CC509F-03A5-4EC3-A8AD-873E098F60F3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07:23:13.843" v="467" actId="1076"/>
          <ac:picMkLst>
            <pc:docMk/>
            <pc:sldMk cId="3999619249" sldId="450"/>
            <ac:picMk id="38" creationId="{8AEEB373-1737-4898-BA57-A167B8A36EE3}"/>
          </ac:picMkLst>
        </pc:picChg>
        <pc:cxnChg chg="add mod">
          <ac:chgData name="Paillacar Oyarzo Paulo Ignacio (Codelco-Casa Matriz)" userId="S::ppail001@codelco.cl::3f9c4ec0-dfff-4bc5-ba03-192dd672e537" providerId="AD" clId="Web-{A3E58F67-C269-CFC6-37D4-F63CC2EA9126}" dt="2021-01-28T07:22:53.201" v="456" actId="14100"/>
          <ac:cxnSpMkLst>
            <pc:docMk/>
            <pc:sldMk cId="3999619249" sldId="450"/>
            <ac:cxnSpMk id="8" creationId="{08E9E1DA-6E1D-4F5B-A0A0-F5EDD38B2DE3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4:04.503" v="485" actId="14100"/>
          <ac:cxnSpMkLst>
            <pc:docMk/>
            <pc:sldMk cId="3999619249" sldId="450"/>
            <ac:cxnSpMk id="9" creationId="{F246B40E-89EF-4BD8-A439-4627D8AC6DDB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92" v="385"/>
          <ac:cxnSpMkLst>
            <pc:docMk/>
            <pc:sldMk cId="3999619249" sldId="450"/>
            <ac:cxnSpMk id="18" creationId="{2247CEA9-BD76-41F0-8622-9D7426318BF3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77" v="381"/>
          <ac:cxnSpMkLst>
            <pc:docMk/>
            <pc:sldMk cId="3999619249" sldId="450"/>
            <ac:cxnSpMk id="23" creationId="{60C29E9B-6653-43E4-9C7B-8B0F38928E8E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77" v="380"/>
          <ac:cxnSpMkLst>
            <pc:docMk/>
            <pc:sldMk cId="3999619249" sldId="450"/>
            <ac:cxnSpMk id="24" creationId="{E802662F-E6A6-4952-9B94-1479FC94B7EB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77" v="377"/>
          <ac:cxnSpMkLst>
            <pc:docMk/>
            <pc:sldMk cId="3999619249" sldId="450"/>
            <ac:cxnSpMk id="27" creationId="{FA71C534-0CF0-4CEE-9FFE-8DA4C7968D84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77" v="376"/>
          <ac:cxnSpMkLst>
            <pc:docMk/>
            <pc:sldMk cId="3999619249" sldId="450"/>
            <ac:cxnSpMk id="28" creationId="{33B3040C-FBD1-4AA2-A1BB-AB2CBA9A0858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77" v="375"/>
          <ac:cxnSpMkLst>
            <pc:docMk/>
            <pc:sldMk cId="3999619249" sldId="450"/>
            <ac:cxnSpMk id="29" creationId="{FFC715C7-AA94-40E5-AEE3-A7EB9A19CCD6}"/>
          </ac:cxnSpMkLst>
        </pc:cxnChg>
        <pc:cxnChg chg="del">
          <ac:chgData name="Paillacar Oyarzo Paulo Ignacio (Codelco-Casa Matriz)" userId="S::ppail001@codelco.cl::3f9c4ec0-dfff-4bc5-ba03-192dd672e537" providerId="AD" clId="Web-{A3E58F67-C269-CFC6-37D4-F63CC2EA9126}" dt="2021-01-28T07:14:21.977" v="374"/>
          <ac:cxnSpMkLst>
            <pc:docMk/>
            <pc:sldMk cId="3999619249" sldId="450"/>
            <ac:cxnSpMk id="31" creationId="{2D31F822-5DE5-418F-958F-54A1066EBB25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3:04.592" v="462" actId="14100"/>
          <ac:cxnSpMkLst>
            <pc:docMk/>
            <pc:sldMk cId="3999619249" sldId="450"/>
            <ac:cxnSpMk id="40" creationId="{DF64B535-5B5F-437F-9667-2A92DDDD30D8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3:03.373" v="460" actId="14100"/>
          <ac:cxnSpMkLst>
            <pc:docMk/>
            <pc:sldMk cId="3999619249" sldId="450"/>
            <ac:cxnSpMk id="41" creationId="{B9446CAD-791A-42AA-BBB0-BFA9546F5786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3:13.780" v="465" actId="14100"/>
          <ac:cxnSpMkLst>
            <pc:docMk/>
            <pc:sldMk cId="3999619249" sldId="450"/>
            <ac:cxnSpMk id="42" creationId="{F4E9AA5D-C42B-4683-864F-42F35F5FF03A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3:23.859" v="471" actId="14100"/>
          <ac:cxnSpMkLst>
            <pc:docMk/>
            <pc:sldMk cId="3999619249" sldId="450"/>
            <ac:cxnSpMk id="43" creationId="{EA100D95-592F-40A0-8C85-90426231A956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4:09.410" v="489" actId="14100"/>
          <ac:cxnSpMkLst>
            <pc:docMk/>
            <pc:sldMk cId="3999619249" sldId="450"/>
            <ac:cxnSpMk id="44" creationId="{AB93785B-DE6C-491E-BFB2-35DC86DEE4F6}"/>
          </ac:cxnSpMkLst>
        </pc:cxnChg>
        <pc:cxnChg chg="add mod">
          <ac:chgData name="Paillacar Oyarzo Paulo Ignacio (Codelco-Casa Matriz)" userId="S::ppail001@codelco.cl::3f9c4ec0-dfff-4bc5-ba03-192dd672e537" providerId="AD" clId="Web-{A3E58F67-C269-CFC6-37D4-F63CC2EA9126}" dt="2021-01-28T07:24:19.723" v="493" actId="14100"/>
          <ac:cxnSpMkLst>
            <pc:docMk/>
            <pc:sldMk cId="3999619249" sldId="450"/>
            <ac:cxnSpMk id="45" creationId="{DE1133E4-ADE0-4D5C-B032-ED391DEB454E}"/>
          </ac:cxnSpMkLst>
        </pc:cxnChg>
      </pc:sldChg>
      <pc:sldChg chg="addSp delSp modSp add replId">
        <pc:chgData name="Paillacar Oyarzo Paulo Ignacio (Codelco-Casa Matriz)" userId="S::ppail001@codelco.cl::3f9c4ec0-dfff-4bc5-ba03-192dd672e537" providerId="AD" clId="Web-{A3E58F67-C269-CFC6-37D4-F63CC2EA9126}" dt="2021-01-28T11:39:08.928" v="584" actId="1076"/>
        <pc:sldMkLst>
          <pc:docMk/>
          <pc:sldMk cId="729368393" sldId="451"/>
        </pc:sldMkLst>
        <pc:spChg chg="mod">
          <ac:chgData name="Paillacar Oyarzo Paulo Ignacio (Codelco-Casa Matriz)" userId="S::ppail001@codelco.cl::3f9c4ec0-dfff-4bc5-ba03-192dd672e537" providerId="AD" clId="Web-{A3E58F67-C269-CFC6-37D4-F63CC2EA9126}" dt="2021-01-28T07:27:56.736" v="555" actId="20577"/>
          <ac:spMkLst>
            <pc:docMk/>
            <pc:sldMk cId="729368393" sldId="451"/>
            <ac:spMk id="2" creationId="{5CD48D0E-D74C-4590-848E-B67B9C751C83}"/>
          </ac:spMkLst>
        </pc:spChg>
        <pc:spChg chg="mod">
          <ac:chgData name="Paillacar Oyarzo Paulo Ignacio (Codelco-Casa Matriz)" userId="S::ppail001@codelco.cl::3f9c4ec0-dfff-4bc5-ba03-192dd672e537" providerId="AD" clId="Web-{A3E58F67-C269-CFC6-37D4-F63CC2EA9126}" dt="2021-01-28T07:28:23.722" v="569" actId="20577"/>
          <ac:spMkLst>
            <pc:docMk/>
            <pc:sldMk cId="729368393" sldId="451"/>
            <ac:spMk id="3" creationId="{5FF56B36-EE0B-48DB-ACBA-3483FD9A079C}"/>
          </ac:spMkLst>
        </pc:spChg>
        <pc:picChg chg="add mod">
          <ac:chgData name="Paillacar Oyarzo Paulo Ignacio (Codelco-Casa Matriz)" userId="S::ppail001@codelco.cl::3f9c4ec0-dfff-4bc5-ba03-192dd672e537" providerId="AD" clId="Web-{A3E58F67-C269-CFC6-37D4-F63CC2EA9126}" dt="2021-01-28T07:28:54.146" v="582" actId="1076"/>
          <ac:picMkLst>
            <pc:docMk/>
            <pc:sldMk cId="729368393" sldId="451"/>
            <ac:picMk id="5" creationId="{924B9CC1-352C-4B9B-A323-5016258F4D95}"/>
          </ac:picMkLst>
        </pc:picChg>
        <pc:picChg chg="del">
          <ac:chgData name="Paillacar Oyarzo Paulo Ignacio (Codelco-Casa Matriz)" userId="S::ppail001@codelco.cl::3f9c4ec0-dfff-4bc5-ba03-192dd672e537" providerId="AD" clId="Web-{A3E58F67-C269-CFC6-37D4-F63CC2EA9126}" dt="2021-01-28T07:28:33.754" v="571"/>
          <ac:picMkLst>
            <pc:docMk/>
            <pc:sldMk cId="729368393" sldId="451"/>
            <ac:picMk id="6" creationId="{E1D9DDA0-54C3-48CE-AD0C-C3A294EE6F3A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11:39:08.928" v="584" actId="1076"/>
          <ac:picMkLst>
            <pc:docMk/>
            <pc:sldMk cId="729368393" sldId="451"/>
            <ac:picMk id="7" creationId="{45ECBA3D-6DBC-4E1E-9C1F-6306CA714EAF}"/>
          </ac:picMkLst>
        </pc:picChg>
        <pc:picChg chg="add mod">
          <ac:chgData name="Paillacar Oyarzo Paulo Ignacio (Codelco-Casa Matriz)" userId="S::ppail001@codelco.cl::3f9c4ec0-dfff-4bc5-ba03-192dd672e537" providerId="AD" clId="Web-{A3E58F67-C269-CFC6-37D4-F63CC2EA9126}" dt="2021-01-28T07:28:54.162" v="583" actId="1076"/>
          <ac:picMkLst>
            <pc:docMk/>
            <pc:sldMk cId="729368393" sldId="451"/>
            <ac:picMk id="8" creationId="{A936AAD3-C03E-43D9-8EEB-27E4893C7346}"/>
          </ac:picMkLst>
        </pc:picChg>
      </pc:sldChg>
    </pc:docChg>
  </pc:docChgLst>
  <pc:docChgLst>
    <pc:chgData name="López Peñafiel Cristian (Codelco-Casa Matriz)" userId="S::clope043@codelco.cl::381c3bc6-4449-46be-b8ff-f88ef887b85f" providerId="AD" clId="Web-{7B897610-0456-2551-9D87-41913105A290}"/>
    <pc:docChg chg="modSld">
      <pc:chgData name="López Peñafiel Cristian (Codelco-Casa Matriz)" userId="S::clope043@codelco.cl::381c3bc6-4449-46be-b8ff-f88ef887b85f" providerId="AD" clId="Web-{7B897610-0456-2551-9D87-41913105A290}" dt="2020-10-22T14:36:08.162" v="2"/>
      <pc:docMkLst>
        <pc:docMk/>
      </pc:docMkLst>
      <pc:sldChg chg="modSp">
        <pc:chgData name="López Peñafiel Cristian (Codelco-Casa Matriz)" userId="S::clope043@codelco.cl::381c3bc6-4449-46be-b8ff-f88ef887b85f" providerId="AD" clId="Web-{7B897610-0456-2551-9D87-41913105A290}" dt="2020-10-22T14:16:20.321" v="0" actId="20577"/>
        <pc:sldMkLst>
          <pc:docMk/>
          <pc:sldMk cId="1259302253" sldId="353"/>
        </pc:sldMkLst>
        <pc:spChg chg="mod">
          <ac:chgData name="López Peñafiel Cristian (Codelco-Casa Matriz)" userId="S::clope043@codelco.cl::381c3bc6-4449-46be-b8ff-f88ef887b85f" providerId="AD" clId="Web-{7B897610-0456-2551-9D87-41913105A290}" dt="2020-10-22T14:16:20.321" v="0" actId="20577"/>
          <ac:spMkLst>
            <pc:docMk/>
            <pc:sldMk cId="1259302253" sldId="353"/>
            <ac:spMk id="11" creationId="{DB92C4CF-7AC4-4BFA-9A29-156AEC1C5231}"/>
          </ac:spMkLst>
        </pc:spChg>
      </pc:sldChg>
      <pc:sldChg chg="delSp">
        <pc:chgData name="López Peñafiel Cristian (Codelco-Casa Matriz)" userId="S::clope043@codelco.cl::381c3bc6-4449-46be-b8ff-f88ef887b85f" providerId="AD" clId="Web-{7B897610-0456-2551-9D87-41913105A290}" dt="2020-10-22T14:36:08.162" v="2"/>
        <pc:sldMkLst>
          <pc:docMk/>
          <pc:sldMk cId="2155997825" sldId="375"/>
        </pc:sldMkLst>
        <pc:spChg chg="del">
          <ac:chgData name="López Peñafiel Cristian (Codelco-Casa Matriz)" userId="S::clope043@codelco.cl::381c3bc6-4449-46be-b8ff-f88ef887b85f" providerId="AD" clId="Web-{7B897610-0456-2551-9D87-41913105A290}" dt="2020-10-22T14:36:08.162" v="2"/>
          <ac:spMkLst>
            <pc:docMk/>
            <pc:sldMk cId="2155997825" sldId="375"/>
            <ac:spMk id="49" creationId="{6D82CDAE-3913-4205-86A4-CE9E40BCFF29}"/>
          </ac:spMkLst>
        </pc:spChg>
        <pc:spChg chg="del">
          <ac:chgData name="López Peñafiel Cristian (Codelco-Casa Matriz)" userId="S::clope043@codelco.cl::381c3bc6-4449-46be-b8ff-f88ef887b85f" providerId="AD" clId="Web-{7B897610-0456-2551-9D87-41913105A290}" dt="2020-10-22T14:36:08.131" v="1"/>
          <ac:spMkLst>
            <pc:docMk/>
            <pc:sldMk cId="2155997825" sldId="375"/>
            <ac:spMk id="50" creationId="{1BB041CE-15E7-4AA3-8747-59E4EA470BC7}"/>
          </ac:spMkLst>
        </pc:spChg>
      </pc:sldChg>
    </pc:docChg>
  </pc:docChgLst>
  <pc:docChgLst>
    <pc:chgData name="Gonzalez Salas Fabian (Codelco-Casa Matriz)" userId="S::fgonz072@codelco.cl::a9649211-5e72-4b4e-8dfa-cd743f2f5996" providerId="AD" clId="Web-{64822188-9F6C-8010-66AF-7871148EF2FC}"/>
    <pc:docChg chg="modSld">
      <pc:chgData name="Gonzalez Salas Fabian (Codelco-Casa Matriz)" userId="S::fgonz072@codelco.cl::a9649211-5e72-4b4e-8dfa-cd743f2f5996" providerId="AD" clId="Web-{64822188-9F6C-8010-66AF-7871148EF2FC}" dt="2021-03-12T12:33:20.182" v="29" actId="20577"/>
      <pc:docMkLst>
        <pc:docMk/>
      </pc:docMkLst>
      <pc:sldChg chg="modSp">
        <pc:chgData name="Gonzalez Salas Fabian (Codelco-Casa Matriz)" userId="S::fgonz072@codelco.cl::a9649211-5e72-4b4e-8dfa-cd743f2f5996" providerId="AD" clId="Web-{64822188-9F6C-8010-66AF-7871148EF2FC}" dt="2021-03-12T12:33:20.182" v="29" actId="20577"/>
        <pc:sldMkLst>
          <pc:docMk/>
          <pc:sldMk cId="3055505354" sldId="441"/>
        </pc:sldMkLst>
        <pc:spChg chg="mod">
          <ac:chgData name="Gonzalez Salas Fabian (Codelco-Casa Matriz)" userId="S::fgonz072@codelco.cl::a9649211-5e72-4b4e-8dfa-cd743f2f5996" providerId="AD" clId="Web-{64822188-9F6C-8010-66AF-7871148EF2FC}" dt="2021-03-12T12:33:20.182" v="29" actId="20577"/>
          <ac:spMkLst>
            <pc:docMk/>
            <pc:sldMk cId="3055505354" sldId="441"/>
            <ac:spMk id="9" creationId="{1A30334E-1A04-4DC1-8C03-05810D2B0898}"/>
          </ac:spMkLst>
        </pc:spChg>
      </pc:sldChg>
    </pc:docChg>
  </pc:docChgLst>
  <pc:docChgLst>
    <pc:chgData name="Delpino Corrales Esteban (Codelco-Casa Matriz)" userId="S::edelp001@codelco.cl::ff2471f2-e58a-4f56-9381-412d9482f71d" providerId="AD" clId="Web-{EFD376E2-E395-46FB-8F20-92614AEB5394}"/>
    <pc:docChg chg="modSld">
      <pc:chgData name="Delpino Corrales Esteban (Codelco-Casa Matriz)" userId="S::edelp001@codelco.cl::ff2471f2-e58a-4f56-9381-412d9482f71d" providerId="AD" clId="Web-{EFD376E2-E395-46FB-8F20-92614AEB5394}" dt="2021-10-07T13:00:52.302" v="74" actId="20577"/>
      <pc:docMkLst>
        <pc:docMk/>
      </pc:docMkLst>
      <pc:sldChg chg="addSp delSp modSp">
        <pc:chgData name="Delpino Corrales Esteban (Codelco-Casa Matriz)" userId="S::edelp001@codelco.cl::ff2471f2-e58a-4f56-9381-412d9482f71d" providerId="AD" clId="Web-{EFD376E2-E395-46FB-8F20-92614AEB5394}" dt="2021-10-07T13:00:52.302" v="74" actId="20577"/>
        <pc:sldMkLst>
          <pc:docMk/>
          <pc:sldMk cId="2159727526" sldId="603"/>
        </pc:sldMkLst>
        <pc:spChg chg="mod">
          <ac:chgData name="Delpino Corrales Esteban (Codelco-Casa Matriz)" userId="S::edelp001@codelco.cl::ff2471f2-e58a-4f56-9381-412d9482f71d" providerId="AD" clId="Web-{EFD376E2-E395-46FB-8F20-92614AEB5394}" dt="2021-10-07T12:30:27.040" v="23" actId="20577"/>
          <ac:spMkLst>
            <pc:docMk/>
            <pc:sldMk cId="2159727526" sldId="603"/>
            <ac:spMk id="2" creationId="{755F471E-EC70-4A1D-A048-321F54208221}"/>
          </ac:spMkLst>
        </pc:spChg>
        <pc:spChg chg="mod">
          <ac:chgData name="Delpino Corrales Esteban (Codelco-Casa Matriz)" userId="S::edelp001@codelco.cl::ff2471f2-e58a-4f56-9381-412d9482f71d" providerId="AD" clId="Web-{EFD376E2-E395-46FB-8F20-92614AEB5394}" dt="2021-10-07T12:45:38.156" v="71" actId="20577"/>
          <ac:spMkLst>
            <pc:docMk/>
            <pc:sldMk cId="2159727526" sldId="603"/>
            <ac:spMk id="7" creationId="{21C0CFEC-5EF5-495A-A9F0-0591C4096B41}"/>
          </ac:spMkLst>
        </pc:spChg>
        <pc:spChg chg="mod">
          <ac:chgData name="Delpino Corrales Esteban (Codelco-Casa Matriz)" userId="S::edelp001@codelco.cl::ff2471f2-e58a-4f56-9381-412d9482f71d" providerId="AD" clId="Web-{EFD376E2-E395-46FB-8F20-92614AEB5394}" dt="2021-10-07T13:00:52.302" v="74" actId="20577"/>
          <ac:spMkLst>
            <pc:docMk/>
            <pc:sldMk cId="2159727526" sldId="603"/>
            <ac:spMk id="18" creationId="{2A5488C6-E0CA-4984-B6A5-01CF1EDF92AD}"/>
          </ac:spMkLst>
        </pc:spChg>
        <pc:spChg chg="add mod">
          <ac:chgData name="Delpino Corrales Esteban (Codelco-Casa Matriz)" userId="S::edelp001@codelco.cl::ff2471f2-e58a-4f56-9381-412d9482f71d" providerId="AD" clId="Web-{EFD376E2-E395-46FB-8F20-92614AEB5394}" dt="2021-10-07T12:38:57.521" v="54" actId="1076"/>
          <ac:spMkLst>
            <pc:docMk/>
            <pc:sldMk cId="2159727526" sldId="603"/>
            <ac:spMk id="23" creationId="{022DCB8D-703F-4B06-AAF8-5B3AB54E40FB}"/>
          </ac:spMkLst>
        </pc:spChg>
        <pc:spChg chg="add mod">
          <ac:chgData name="Delpino Corrales Esteban (Codelco-Casa Matriz)" userId="S::edelp001@codelco.cl::ff2471f2-e58a-4f56-9381-412d9482f71d" providerId="AD" clId="Web-{EFD376E2-E395-46FB-8F20-92614AEB5394}" dt="2021-10-07T12:45:37.859" v="65" actId="1076"/>
          <ac:spMkLst>
            <pc:docMk/>
            <pc:sldMk cId="2159727526" sldId="603"/>
            <ac:spMk id="24" creationId="{07A0BF65-53A3-48D7-8B72-A292309A650A}"/>
          </ac:spMkLst>
        </pc:spChg>
        <pc:spChg chg="mod">
          <ac:chgData name="Delpino Corrales Esteban (Codelco-Casa Matriz)" userId="S::edelp001@codelco.cl::ff2471f2-e58a-4f56-9381-412d9482f71d" providerId="AD" clId="Web-{EFD376E2-E395-46FB-8F20-92614AEB5394}" dt="2021-10-07T12:45:21.593" v="63" actId="20577"/>
          <ac:spMkLst>
            <pc:docMk/>
            <pc:sldMk cId="2159727526" sldId="603"/>
            <ac:spMk id="26" creationId="{78739219-A9B5-4219-8179-85DF49CB5D30}"/>
          </ac:spMkLst>
        </pc:spChg>
        <pc:spChg chg="del mod">
          <ac:chgData name="Delpino Corrales Esteban (Codelco-Casa Matriz)" userId="S::edelp001@codelco.cl::ff2471f2-e58a-4f56-9381-412d9482f71d" providerId="AD" clId="Web-{EFD376E2-E395-46FB-8F20-92614AEB5394}" dt="2021-10-07T12:38:37.224" v="52"/>
          <ac:spMkLst>
            <pc:docMk/>
            <pc:sldMk cId="2159727526" sldId="603"/>
            <ac:spMk id="29" creationId="{F60D977D-173E-4DC8-9303-A459E17F8F7F}"/>
          </ac:spMkLst>
        </pc:spChg>
        <pc:spChg chg="del">
          <ac:chgData name="Delpino Corrales Esteban (Codelco-Casa Matriz)" userId="S::edelp001@codelco.cl::ff2471f2-e58a-4f56-9381-412d9482f71d" providerId="AD" clId="Web-{EFD376E2-E395-46FB-8F20-92614AEB5394}" dt="2021-10-07T12:38:57.568" v="55"/>
          <ac:spMkLst>
            <pc:docMk/>
            <pc:sldMk cId="2159727526" sldId="603"/>
            <ac:spMk id="31" creationId="{7BE4ADDA-2241-467C-9335-EC6E42F7AAB2}"/>
          </ac:spMkLst>
        </pc:spChg>
        <pc:cxnChg chg="mod">
          <ac:chgData name="Delpino Corrales Esteban (Codelco-Casa Matriz)" userId="S::edelp001@codelco.cl::ff2471f2-e58a-4f56-9381-412d9482f71d" providerId="AD" clId="Web-{EFD376E2-E395-46FB-8F20-92614AEB5394}" dt="2021-10-07T12:38:57.646" v="57" actId="1076"/>
          <ac:cxnSpMkLst>
            <pc:docMk/>
            <pc:sldMk cId="2159727526" sldId="603"/>
            <ac:cxnSpMk id="32" creationId="{B10D3FB9-F861-485B-AD93-BDC1CB277DD7}"/>
          </ac:cxnSpMkLst>
        </pc:cxnChg>
      </pc:sldChg>
    </pc:docChg>
  </pc:docChgLst>
  <pc:docChgLst>
    <pc:chgData name="Mery Carrasco Mauricio (Codelco-Casa Matriz)" userId="S::mmery004@codelco.cl::a0378191-74de-4d59-9b37-aa421303daba" providerId="AD" clId="Web-{1B43150A-7A2C-5437-1328-7C5A63C612C9}"/>
    <pc:docChg chg="modSld">
      <pc:chgData name="Mery Carrasco Mauricio (Codelco-Casa Matriz)" userId="S::mmery004@codelco.cl::a0378191-74de-4d59-9b37-aa421303daba" providerId="AD" clId="Web-{1B43150A-7A2C-5437-1328-7C5A63C612C9}" dt="2021-01-28T00:22:41.437" v="1"/>
      <pc:docMkLst>
        <pc:docMk/>
      </pc:docMkLst>
      <pc:sldChg chg="modSp">
        <pc:chgData name="Mery Carrasco Mauricio (Codelco-Casa Matriz)" userId="S::mmery004@codelco.cl::a0378191-74de-4d59-9b37-aa421303daba" providerId="AD" clId="Web-{1B43150A-7A2C-5437-1328-7C5A63C612C9}" dt="2021-01-28T00:22:41.437" v="1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1B43150A-7A2C-5437-1328-7C5A63C612C9}" dt="2021-01-28T00:22:20.077" v="0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1B43150A-7A2C-5437-1328-7C5A63C612C9}" dt="2021-01-28T00:22:41.437" v="1"/>
          <ac:spMkLst>
            <pc:docMk/>
            <pc:sldMk cId="1544981574" sldId="409"/>
            <ac:spMk id="39" creationId="{92D09D5F-B4BB-4B26-A56A-D76176A78E5D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FC7E1566-F886-2809-84D1-C62510FA7256}"/>
    <pc:docChg chg="addSld modSld">
      <pc:chgData name="Paillacar Oyarzo Paulo Ignacio (Codelco-Casa Matriz)" userId="S::ppail001@codelco.cl::3f9c4ec0-dfff-4bc5-ba03-192dd672e537" providerId="AD" clId="Web-{FC7E1566-F886-2809-84D1-C62510FA7256}" dt="2021-01-28T12:55:03.879" v="28"/>
      <pc:docMkLst>
        <pc:docMk/>
      </pc:docMkLst>
      <pc:sldChg chg="addSp delSp modSp">
        <pc:chgData name="Paillacar Oyarzo Paulo Ignacio (Codelco-Casa Matriz)" userId="S::ppail001@codelco.cl::3f9c4ec0-dfff-4bc5-ba03-192dd672e537" providerId="AD" clId="Web-{FC7E1566-F886-2809-84D1-C62510FA7256}" dt="2021-01-28T12:55:00.191" v="27" actId="1076"/>
        <pc:sldMkLst>
          <pc:docMk/>
          <pc:sldMk cId="3999619249" sldId="450"/>
        </pc:sldMkLst>
        <pc:spChg chg="add del mod">
          <ac:chgData name="Paillacar Oyarzo Paulo Ignacio (Codelco-Casa Matriz)" userId="S::ppail001@codelco.cl::3f9c4ec0-dfff-4bc5-ba03-192dd672e537" providerId="AD" clId="Web-{FC7E1566-F886-2809-84D1-C62510FA7256}" dt="2021-01-28T12:51:34.584" v="11"/>
          <ac:spMkLst>
            <pc:docMk/>
            <pc:sldMk cId="3999619249" sldId="450"/>
            <ac:spMk id="12" creationId="{139228CD-0C0E-4766-8DE7-8F32DD4EBADD}"/>
          </ac:spMkLst>
        </pc:spChg>
        <pc:spChg chg="add mod">
          <ac:chgData name="Paillacar Oyarzo Paulo Ignacio (Codelco-Casa Matriz)" userId="S::ppail001@codelco.cl::3f9c4ec0-dfff-4bc5-ba03-192dd672e537" providerId="AD" clId="Web-{FC7E1566-F886-2809-84D1-C62510FA7256}" dt="2021-01-28T12:52:50.739" v="17"/>
          <ac:spMkLst>
            <pc:docMk/>
            <pc:sldMk cId="3999619249" sldId="450"/>
            <ac:spMk id="14" creationId="{41A60701-DF58-46EF-B636-0BCC56B8E427}"/>
          </ac:spMkLst>
        </pc:spChg>
        <pc:graphicFrameChg chg="add del mod modGraphic">
          <ac:chgData name="Paillacar Oyarzo Paulo Ignacio (Codelco-Casa Matriz)" userId="S::ppail001@codelco.cl::3f9c4ec0-dfff-4bc5-ba03-192dd672e537" providerId="AD" clId="Web-{FC7E1566-F886-2809-84D1-C62510FA7256}" dt="2021-01-28T12:50:30.693" v="4"/>
          <ac:graphicFrameMkLst>
            <pc:docMk/>
            <pc:sldMk cId="3999619249" sldId="450"/>
            <ac:graphicFrameMk id="10" creationId="{F292F2AE-A90A-4673-A411-96E96CA64380}"/>
          </ac:graphicFrameMkLst>
        </pc:graphicFrameChg>
        <pc:picChg chg="add del mod">
          <ac:chgData name="Paillacar Oyarzo Paulo Ignacio (Codelco-Casa Matriz)" userId="S::ppail001@codelco.cl::3f9c4ec0-dfff-4bc5-ba03-192dd672e537" providerId="AD" clId="Web-{FC7E1566-F886-2809-84D1-C62510FA7256}" dt="2021-01-28T12:51:34.584" v="11"/>
          <ac:picMkLst>
            <pc:docMk/>
            <pc:sldMk cId="3999619249" sldId="450"/>
            <ac:picMk id="11" creationId="{A86ED012-A953-41E8-AD93-87C504A34385}"/>
          </ac:picMkLst>
        </pc:picChg>
        <pc:picChg chg="del">
          <ac:chgData name="Paillacar Oyarzo Paulo Ignacio (Codelco-Casa Matriz)" userId="S::ppail001@codelco.cl::3f9c4ec0-dfff-4bc5-ba03-192dd672e537" providerId="AD" clId="Web-{FC7E1566-F886-2809-84D1-C62510FA7256}" dt="2021-01-28T12:49:29.616" v="0"/>
          <ac:picMkLst>
            <pc:docMk/>
            <pc:sldMk cId="3999619249" sldId="450"/>
            <ac:picMk id="37" creationId="{A9CC509F-03A5-4EC3-A8AD-873E098F60F3}"/>
          </ac:picMkLst>
        </pc:picChg>
        <pc:cxnChg chg="add mod">
          <ac:chgData name="Paillacar Oyarzo Paulo Ignacio (Codelco-Casa Matriz)" userId="S::ppail001@codelco.cl::3f9c4ec0-dfff-4bc5-ba03-192dd672e537" providerId="AD" clId="Web-{FC7E1566-F886-2809-84D1-C62510FA7256}" dt="2021-01-28T12:55:00.191" v="27" actId="1076"/>
          <ac:cxnSpMkLst>
            <pc:docMk/>
            <pc:sldMk cId="3999619249" sldId="450"/>
            <ac:cxnSpMk id="15" creationId="{4AB26E42-889F-463E-9555-33B6A1E51611}"/>
          </ac:cxnSpMkLst>
        </pc:cxnChg>
        <pc:cxnChg chg="add mod">
          <ac:chgData name="Paillacar Oyarzo Paulo Ignacio (Codelco-Casa Matriz)" userId="S::ppail001@codelco.cl::3f9c4ec0-dfff-4bc5-ba03-192dd672e537" providerId="AD" clId="Web-{FC7E1566-F886-2809-84D1-C62510FA7256}" dt="2021-01-28T12:54:31.926" v="25"/>
          <ac:cxnSpMkLst>
            <pc:docMk/>
            <pc:sldMk cId="3999619249" sldId="450"/>
            <ac:cxnSpMk id="29" creationId="{389A15B7-06F3-43FF-9916-8BE00CC1E23E}"/>
          </ac:cxnSpMkLst>
        </pc:cxnChg>
        <pc:cxnChg chg="add mod">
          <ac:chgData name="Paillacar Oyarzo Paulo Ignacio (Codelco-Casa Matriz)" userId="S::ppail001@codelco.cl::3f9c4ec0-dfff-4bc5-ba03-192dd672e537" providerId="AD" clId="Web-{FC7E1566-F886-2809-84D1-C62510FA7256}" dt="2021-01-28T12:54:47.957" v="26"/>
          <ac:cxnSpMkLst>
            <pc:docMk/>
            <pc:sldMk cId="3999619249" sldId="450"/>
            <ac:cxnSpMk id="30" creationId="{BA5468CC-F821-454B-9210-9B33054619FD}"/>
          </ac:cxnSpMkLst>
        </pc:cxnChg>
      </pc:sldChg>
      <pc:sldChg chg="add replId">
        <pc:chgData name="Paillacar Oyarzo Paulo Ignacio (Codelco-Casa Matriz)" userId="S::ppail001@codelco.cl::3f9c4ec0-dfff-4bc5-ba03-192dd672e537" providerId="AD" clId="Web-{FC7E1566-F886-2809-84D1-C62510FA7256}" dt="2021-01-28T12:55:03.879" v="28"/>
        <pc:sldMkLst>
          <pc:docMk/>
          <pc:sldMk cId="2235578287" sldId="453"/>
        </pc:sldMkLst>
      </pc:sldChg>
    </pc:docChg>
  </pc:docChgLst>
  <pc:docChgLst>
    <pc:chgData name="Calquin Veas Alexis (Codelco-Casa Matriz)" userId="S::acalq001@codelco.cl::bed4172a-53a7-4851-8acf-473ef95dec61" providerId="AD" clId="Web-{1F605135-07A1-2B77-BD8A-215426D736B2}"/>
    <pc:docChg chg="addSld delSld modSld sldOrd">
      <pc:chgData name="Calquin Veas Alexis (Codelco-Casa Matriz)" userId="S::acalq001@codelco.cl::bed4172a-53a7-4851-8acf-473ef95dec61" providerId="AD" clId="Web-{1F605135-07A1-2B77-BD8A-215426D736B2}" dt="2021-08-04T13:02:03.102" v="50" actId="1076"/>
      <pc:docMkLst>
        <pc:docMk/>
      </pc:docMkLst>
      <pc:sldChg chg="modSp del">
        <pc:chgData name="Calquin Veas Alexis (Codelco-Casa Matriz)" userId="S::acalq001@codelco.cl::bed4172a-53a7-4851-8acf-473ef95dec61" providerId="AD" clId="Web-{1F605135-07A1-2B77-BD8A-215426D736B2}" dt="2021-08-04T12:51:23.369" v="4"/>
        <pc:sldMkLst>
          <pc:docMk/>
          <pc:sldMk cId="499841031" sldId="578"/>
        </pc:sldMkLst>
        <pc:spChg chg="mod">
          <ac:chgData name="Calquin Veas Alexis (Codelco-Casa Matriz)" userId="S::acalq001@codelco.cl::bed4172a-53a7-4851-8acf-473ef95dec61" providerId="AD" clId="Web-{1F605135-07A1-2B77-BD8A-215426D736B2}" dt="2021-08-04T12:46:13.940" v="0" actId="1076"/>
          <ac:spMkLst>
            <pc:docMk/>
            <pc:sldMk cId="499841031" sldId="578"/>
            <ac:spMk id="174" creationId="{5DD814C3-F9E7-44C1-9A20-799B0B7555CF}"/>
          </ac:spMkLst>
        </pc:spChg>
        <pc:spChg chg="mod">
          <ac:chgData name="Calquin Veas Alexis (Codelco-Casa Matriz)" userId="S::acalq001@codelco.cl::bed4172a-53a7-4851-8acf-473ef95dec61" providerId="AD" clId="Web-{1F605135-07A1-2B77-BD8A-215426D736B2}" dt="2021-08-04T12:46:28.831" v="1" actId="1076"/>
          <ac:spMkLst>
            <pc:docMk/>
            <pc:sldMk cId="499841031" sldId="578"/>
            <ac:spMk id="175" creationId="{8D3FD4C3-15BB-4013-8435-5068E3C9C4EA}"/>
          </ac:spMkLst>
        </pc:spChg>
      </pc:sldChg>
      <pc:sldChg chg="del">
        <pc:chgData name="Calquin Veas Alexis (Codelco-Casa Matriz)" userId="S::acalq001@codelco.cl::bed4172a-53a7-4851-8acf-473ef95dec61" providerId="AD" clId="Web-{1F605135-07A1-2B77-BD8A-215426D736B2}" dt="2021-08-04T12:51:44.385" v="5"/>
        <pc:sldMkLst>
          <pc:docMk/>
          <pc:sldMk cId="138750337" sldId="579"/>
        </pc:sldMkLst>
      </pc:sldChg>
      <pc:sldChg chg="addSp delSp modSp add ord">
        <pc:chgData name="Calquin Veas Alexis (Codelco-Casa Matriz)" userId="S::acalq001@codelco.cl::bed4172a-53a7-4851-8acf-473ef95dec61" providerId="AD" clId="Web-{1F605135-07A1-2B77-BD8A-215426D736B2}" dt="2021-08-04T13:02:03.102" v="50" actId="1076"/>
        <pc:sldMkLst>
          <pc:docMk/>
          <pc:sldMk cId="3865556671" sldId="581"/>
        </pc:sldMkLst>
        <pc:spChg chg="mod">
          <ac:chgData name="Calquin Veas Alexis (Codelco-Casa Matriz)" userId="S::acalq001@codelco.cl::bed4172a-53a7-4851-8acf-473ef95dec61" providerId="AD" clId="Web-{1F605135-07A1-2B77-BD8A-215426D736B2}" dt="2021-08-04T12:53:38.653" v="23" actId="1076"/>
          <ac:spMkLst>
            <pc:docMk/>
            <pc:sldMk cId="3865556671" sldId="581"/>
            <ac:spMk id="3" creationId="{00000000-0000-0000-0000-000000000000}"/>
          </ac:spMkLst>
        </pc:spChg>
        <pc:spChg chg="mod">
          <ac:chgData name="Calquin Veas Alexis (Codelco-Casa Matriz)" userId="S::acalq001@codelco.cl::bed4172a-53a7-4851-8acf-473ef95dec61" providerId="AD" clId="Web-{1F605135-07A1-2B77-BD8A-215426D736B2}" dt="2021-08-04T12:52:44.542" v="17" actId="20577"/>
          <ac:spMkLst>
            <pc:docMk/>
            <pc:sldMk cId="3865556671" sldId="581"/>
            <ac:spMk id="31" creationId="{9D9A4CF5-7C9E-46C6-90E6-1E3D29185CCD}"/>
          </ac:spMkLst>
        </pc:spChg>
        <pc:spChg chg="mod">
          <ac:chgData name="Calquin Veas Alexis (Codelco-Casa Matriz)" userId="S::acalq001@codelco.cl::bed4172a-53a7-4851-8acf-473ef95dec61" providerId="AD" clId="Web-{1F605135-07A1-2B77-BD8A-215426D736B2}" dt="2021-08-04T13:01:45.929" v="44" actId="1076"/>
          <ac:spMkLst>
            <pc:docMk/>
            <pc:sldMk cId="3865556671" sldId="581"/>
            <ac:spMk id="32" creationId="{7DA82348-4A46-47BD-BA79-9405C7E7DD74}"/>
          </ac:spMkLst>
        </pc:spChg>
        <pc:spChg chg="mod">
          <ac:chgData name="Calquin Veas Alexis (Codelco-Casa Matriz)" userId="S::acalq001@codelco.cl::bed4172a-53a7-4851-8acf-473ef95dec61" providerId="AD" clId="Web-{1F605135-07A1-2B77-BD8A-215426D736B2}" dt="2021-08-04T12:53:33.215" v="22" actId="1076"/>
          <ac:spMkLst>
            <pc:docMk/>
            <pc:sldMk cId="3865556671" sldId="581"/>
            <ac:spMk id="46" creationId="{8D3FD4C3-15BB-4013-8435-5068E3C9C4EA}"/>
          </ac:spMkLst>
        </pc:spChg>
        <pc:spChg chg="mod">
          <ac:chgData name="Calquin Veas Alexis (Codelco-Casa Matriz)" userId="S::acalq001@codelco.cl::bed4172a-53a7-4851-8acf-473ef95dec61" providerId="AD" clId="Web-{1F605135-07A1-2B77-BD8A-215426D736B2}" dt="2021-08-04T13:02:03.102" v="50" actId="1076"/>
          <ac:spMkLst>
            <pc:docMk/>
            <pc:sldMk cId="3865556671" sldId="581"/>
            <ac:spMk id="51" creationId="{B8725CF4-620C-4B98-BD85-FCA99BB19348}"/>
          </ac:spMkLst>
        </pc:spChg>
        <pc:spChg chg="mod">
          <ac:chgData name="Calquin Veas Alexis (Codelco-Casa Matriz)" userId="S::acalq001@codelco.cl::bed4172a-53a7-4851-8acf-473ef95dec61" providerId="AD" clId="Web-{1F605135-07A1-2B77-BD8A-215426D736B2}" dt="2021-08-04T13:01:50.726" v="45" actId="1076"/>
          <ac:spMkLst>
            <pc:docMk/>
            <pc:sldMk cId="3865556671" sldId="581"/>
            <ac:spMk id="174" creationId="{5DD814C3-F9E7-44C1-9A20-799B0B7555CF}"/>
          </ac:spMkLst>
        </pc:spChg>
        <pc:grpChg chg="add del mod">
          <ac:chgData name="Calquin Veas Alexis (Codelco-Casa Matriz)" userId="S::acalq001@codelco.cl::bed4172a-53a7-4851-8acf-473ef95dec61" providerId="AD" clId="Web-{1F605135-07A1-2B77-BD8A-215426D736B2}" dt="2021-08-04T12:52:19.417" v="12"/>
          <ac:grpSpMkLst>
            <pc:docMk/>
            <pc:sldMk cId="3865556671" sldId="581"/>
            <ac:grpSpMk id="2" creationId="{A69C4DB7-2E2C-4059-B84E-2942E217B3EB}"/>
          </ac:grpSpMkLst>
        </pc:grpChg>
        <pc:grpChg chg="add del">
          <ac:chgData name="Calquin Veas Alexis (Codelco-Casa Matriz)" userId="S::acalq001@codelco.cl::bed4172a-53a7-4851-8acf-473ef95dec61" providerId="AD" clId="Web-{1F605135-07A1-2B77-BD8A-215426D736B2}" dt="2021-08-04T12:52:32.651" v="15"/>
          <ac:grpSpMkLst>
            <pc:docMk/>
            <pc:sldMk cId="3865556671" sldId="581"/>
            <ac:grpSpMk id="4" creationId="{2F6EFED9-F700-435B-B081-2ADA9953EE3E}"/>
          </ac:grpSpMkLst>
        </pc:grpChg>
        <pc:grpChg chg="add del">
          <ac:chgData name="Calquin Veas Alexis (Codelco-Casa Matriz)" userId="S::acalq001@codelco.cl::bed4172a-53a7-4851-8acf-473ef95dec61" providerId="AD" clId="Web-{1F605135-07A1-2B77-BD8A-215426D736B2}" dt="2021-08-04T12:52:28.511" v="14"/>
          <ac:grpSpMkLst>
            <pc:docMk/>
            <pc:sldMk cId="3865556671" sldId="581"/>
            <ac:grpSpMk id="6" creationId="{DBAA55AC-5F71-4610-8951-653445CB0B61}"/>
          </ac:grpSpMkLst>
        </pc:grpChg>
        <pc:grpChg chg="add del mod">
          <ac:chgData name="Calquin Veas Alexis (Codelco-Casa Matriz)" userId="S::acalq001@codelco.cl::bed4172a-53a7-4851-8acf-473ef95dec61" providerId="AD" clId="Web-{1F605135-07A1-2B77-BD8A-215426D736B2}" dt="2021-08-04T12:52:19.589" v="13"/>
          <ac:grpSpMkLst>
            <pc:docMk/>
            <pc:sldMk cId="3865556671" sldId="581"/>
            <ac:grpSpMk id="52" creationId="{D7B6B31F-0AFD-4F75-B1F6-D5CA569CB479}"/>
          </ac:grpSpMkLst>
        </pc:grpChg>
        <pc:picChg chg="add del mod">
          <ac:chgData name="Calquin Veas Alexis (Codelco-Casa Matriz)" userId="S::acalq001@codelco.cl::bed4172a-53a7-4851-8acf-473ef95dec61" providerId="AD" clId="Web-{1F605135-07A1-2B77-BD8A-215426D736B2}" dt="2021-08-04T13:01:02.366" v="32"/>
          <ac:picMkLst>
            <pc:docMk/>
            <pc:sldMk cId="3865556671" sldId="581"/>
            <ac:picMk id="8" creationId="{0D2449E7-5662-42AB-A5FC-EDCF82A5F8EC}"/>
          </ac:picMkLst>
        </pc:picChg>
        <pc:picChg chg="add del mod">
          <ac:chgData name="Calquin Veas Alexis (Codelco-Casa Matriz)" userId="S::acalq001@codelco.cl::bed4172a-53a7-4851-8acf-473ef95dec61" providerId="AD" clId="Web-{1F605135-07A1-2B77-BD8A-215426D736B2}" dt="2021-08-04T13:01:02.366" v="31"/>
          <ac:picMkLst>
            <pc:docMk/>
            <pc:sldMk cId="3865556671" sldId="581"/>
            <ac:picMk id="9" creationId="{179FCCFE-8B7A-460E-8895-615B0ECDA97B}"/>
          </ac:picMkLst>
        </pc:picChg>
        <pc:picChg chg="add del mod">
          <ac:chgData name="Calquin Veas Alexis (Codelco-Casa Matriz)" userId="S::acalq001@codelco.cl::bed4172a-53a7-4851-8acf-473ef95dec61" providerId="AD" clId="Web-{1F605135-07A1-2B77-BD8A-215426D736B2}" dt="2021-08-04T13:01:02.366" v="30"/>
          <ac:picMkLst>
            <pc:docMk/>
            <pc:sldMk cId="3865556671" sldId="581"/>
            <ac:picMk id="10" creationId="{715DA91C-97A8-4338-8292-5695CDABAAA1}"/>
          </ac:picMkLst>
        </pc:picChg>
        <pc:picChg chg="add mod">
          <ac:chgData name="Calquin Veas Alexis (Codelco-Casa Matriz)" userId="S::acalq001@codelco.cl::bed4172a-53a7-4851-8acf-473ef95dec61" providerId="AD" clId="Web-{1F605135-07A1-2B77-BD8A-215426D736B2}" dt="2021-08-04T13:01:56.976" v="47" actId="1076"/>
          <ac:picMkLst>
            <pc:docMk/>
            <pc:sldMk cId="3865556671" sldId="581"/>
            <ac:picMk id="11" creationId="{D0E97A95-78F8-411D-A45F-17E6ADEB5614}"/>
          </ac:picMkLst>
        </pc:picChg>
        <pc:picChg chg="add mod">
          <ac:chgData name="Calquin Veas Alexis (Codelco-Casa Matriz)" userId="S::acalq001@codelco.cl::bed4172a-53a7-4851-8acf-473ef95dec61" providerId="AD" clId="Web-{1F605135-07A1-2B77-BD8A-215426D736B2}" dt="2021-08-04T13:01:56.961" v="46" actId="1076"/>
          <ac:picMkLst>
            <pc:docMk/>
            <pc:sldMk cId="3865556671" sldId="581"/>
            <ac:picMk id="12" creationId="{D1683306-0B5A-437A-8F62-AB7A87F92C59}"/>
          </ac:picMkLst>
        </pc:picChg>
        <pc:picChg chg="add mod">
          <ac:chgData name="Calquin Veas Alexis (Codelco-Casa Matriz)" userId="S::acalq001@codelco.cl::bed4172a-53a7-4851-8acf-473ef95dec61" providerId="AD" clId="Web-{1F605135-07A1-2B77-BD8A-215426D736B2}" dt="2021-08-04T13:01:56.992" v="48" actId="1076"/>
          <ac:picMkLst>
            <pc:docMk/>
            <pc:sldMk cId="3865556671" sldId="581"/>
            <ac:picMk id="13" creationId="{67B374E9-3588-4CE0-971B-5F33F292C835}"/>
          </ac:picMkLst>
        </pc:picChg>
        <pc:picChg chg="mod">
          <ac:chgData name="Calquin Veas Alexis (Codelco-Casa Matriz)" userId="S::acalq001@codelco.cl::bed4172a-53a7-4851-8acf-473ef95dec61" providerId="AD" clId="Web-{1F605135-07A1-2B77-BD8A-215426D736B2}" dt="2021-08-04T12:53:33.168" v="20" actId="1076"/>
          <ac:picMkLst>
            <pc:docMk/>
            <pc:sldMk cId="3865556671" sldId="581"/>
            <ac:picMk id="41" creationId="{00000000-0000-0000-0000-000000000000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CF5FBE9F-7093-0000-A0F4-A2A658F0C285}"/>
    <pc:docChg chg="modSld">
      <pc:chgData name="Paillacar Oyarzo Paulo Ignacio (Codelco-Casa Matriz)" userId="S::ppail001@codelco.cl::3f9c4ec0-dfff-4bc5-ba03-192dd672e537" providerId="AD" clId="Web-{CF5FBE9F-7093-0000-A0F4-A2A658F0C285}" dt="2021-04-15T04:38:32.210" v="63" actId="20577"/>
      <pc:docMkLst>
        <pc:docMk/>
      </pc:docMkLst>
      <pc:sldChg chg="delSp modSp">
        <pc:chgData name="Paillacar Oyarzo Paulo Ignacio (Codelco-Casa Matriz)" userId="S::ppail001@codelco.cl::3f9c4ec0-dfff-4bc5-ba03-192dd672e537" providerId="AD" clId="Web-{CF5FBE9F-7093-0000-A0F4-A2A658F0C285}" dt="2021-04-15T04:38:32.210" v="63" actId="20577"/>
        <pc:sldMkLst>
          <pc:docMk/>
          <pc:sldMk cId="3704017336" sldId="460"/>
        </pc:sldMkLst>
        <pc:spChg chg="del">
          <ac:chgData name="Paillacar Oyarzo Paulo Ignacio (Codelco-Casa Matriz)" userId="S::ppail001@codelco.cl::3f9c4ec0-dfff-4bc5-ba03-192dd672e537" providerId="AD" clId="Web-{CF5FBE9F-7093-0000-A0F4-A2A658F0C285}" dt="2021-04-15T04:36:40.251" v="26"/>
          <ac:spMkLst>
            <pc:docMk/>
            <pc:sldMk cId="3704017336" sldId="460"/>
            <ac:spMk id="9" creationId="{7C3B8ECC-0E88-4794-8EBF-528A4EB01996}"/>
          </ac:spMkLst>
        </pc:spChg>
        <pc:spChg chg="mod">
          <ac:chgData name="Paillacar Oyarzo Paulo Ignacio (Codelco-Casa Matriz)" userId="S::ppail001@codelco.cl::3f9c4ec0-dfff-4bc5-ba03-192dd672e537" providerId="AD" clId="Web-{CF5FBE9F-7093-0000-A0F4-A2A658F0C285}" dt="2021-04-15T04:38:32.210" v="63" actId="20577"/>
          <ac:spMkLst>
            <pc:docMk/>
            <pc:sldMk cId="3704017336" sldId="460"/>
            <ac:spMk id="13" creationId="{F8B1AB08-0CAE-4A49-A34E-DA1996B9EF15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23"/>
          <ac:spMkLst>
            <pc:docMk/>
            <pc:sldMk cId="3704017336" sldId="460"/>
            <ac:spMk id="17" creationId="{D2BE2032-9295-4098-93B7-0874C7A326DD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20"/>
          <ac:spMkLst>
            <pc:docMk/>
            <pc:sldMk cId="3704017336" sldId="460"/>
            <ac:spMk id="29" creationId="{6238B00E-D8B9-4F11-B4CA-CA9E2E84CFEE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19"/>
          <ac:spMkLst>
            <pc:docMk/>
            <pc:sldMk cId="3704017336" sldId="460"/>
            <ac:spMk id="31" creationId="{9B9EB1A9-C7B4-42B1-B107-4340ED880392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18"/>
          <ac:spMkLst>
            <pc:docMk/>
            <pc:sldMk cId="3704017336" sldId="460"/>
            <ac:spMk id="32" creationId="{4B145EBE-AC84-4D3C-8AEF-5ECD98C3F771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16"/>
          <ac:spMkLst>
            <pc:docMk/>
            <pc:sldMk cId="3704017336" sldId="460"/>
            <ac:spMk id="34" creationId="{7FEA44BE-66F6-465F-9B1B-BC66C7256651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11"/>
          <ac:spMkLst>
            <pc:docMk/>
            <pc:sldMk cId="3704017336" sldId="460"/>
            <ac:spMk id="37" creationId="{07911B37-304E-4639-9CDB-D188D316767F}"/>
          </ac:spMkLst>
        </pc:spChg>
        <pc:spChg chg="del">
          <ac:chgData name="Paillacar Oyarzo Paulo Ignacio (Codelco-Casa Matriz)" userId="S::ppail001@codelco.cl::3f9c4ec0-dfff-4bc5-ba03-192dd672e537" providerId="AD" clId="Web-{CF5FBE9F-7093-0000-A0F4-A2A658F0C285}" dt="2021-04-15T04:36:40.235" v="10"/>
          <ac:spMkLst>
            <pc:docMk/>
            <pc:sldMk cId="3704017336" sldId="460"/>
            <ac:spMk id="40" creationId="{B7042432-EF4B-4EF8-855B-0D5314158510}"/>
          </ac:spMkLst>
        </pc:spChg>
        <pc:spChg chg="mod">
          <ac:chgData name="Paillacar Oyarzo Paulo Ignacio (Codelco-Casa Matriz)" userId="S::ppail001@codelco.cl::3f9c4ec0-dfff-4bc5-ba03-192dd672e537" providerId="AD" clId="Web-{CF5FBE9F-7093-0000-A0F4-A2A658F0C285}" dt="2021-04-15T04:36:29.829" v="8" actId="20577"/>
          <ac:spMkLst>
            <pc:docMk/>
            <pc:sldMk cId="3704017336" sldId="460"/>
            <ac:spMk id="145" creationId="{3F302836-4F68-4641-BD29-64B0A72CA38E}"/>
          </ac:spMkLst>
        </pc:spChg>
        <pc:picChg chg="del">
          <ac:chgData name="Paillacar Oyarzo Paulo Ignacio (Codelco-Casa Matriz)" userId="S::ppail001@codelco.cl::3f9c4ec0-dfff-4bc5-ba03-192dd672e537" providerId="AD" clId="Web-{CF5FBE9F-7093-0000-A0F4-A2A658F0C285}" dt="2021-04-15T04:36:40.251" v="28"/>
          <ac:picMkLst>
            <pc:docMk/>
            <pc:sldMk cId="3704017336" sldId="460"/>
            <ac:picMk id="6" creationId="{E0CFD4C2-06D4-48FE-8C4C-167CB8AA3BFB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51" v="27"/>
          <ac:picMkLst>
            <pc:docMk/>
            <pc:sldMk cId="3704017336" sldId="460"/>
            <ac:picMk id="8" creationId="{20C1285F-A5E6-4EEE-8E37-39BBD23FCEA0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51" v="25"/>
          <ac:picMkLst>
            <pc:docMk/>
            <pc:sldMk cId="3704017336" sldId="460"/>
            <ac:picMk id="14" creationId="{19D82C41-1391-44E6-A842-3FD727201FBB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51" v="24"/>
          <ac:picMkLst>
            <pc:docMk/>
            <pc:sldMk cId="3704017336" sldId="460"/>
            <ac:picMk id="15" creationId="{4E07BA17-8918-4428-8942-6BD2A1259027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35" v="17"/>
          <ac:picMkLst>
            <pc:docMk/>
            <pc:sldMk cId="3704017336" sldId="460"/>
            <ac:picMk id="21" creationId="{6184E48C-A723-4822-885E-0C363D8E831D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35" v="15"/>
          <ac:picMkLst>
            <pc:docMk/>
            <pc:sldMk cId="3704017336" sldId="460"/>
            <ac:picMk id="22" creationId="{1B97CE30-523D-4FC8-902A-F07236BBF44D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35" v="13"/>
          <ac:picMkLst>
            <pc:docMk/>
            <pc:sldMk cId="3704017336" sldId="460"/>
            <ac:picMk id="33" creationId="{A095EA1C-B112-48EF-8D57-111360F368B2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35" v="14"/>
          <ac:picMkLst>
            <pc:docMk/>
            <pc:sldMk cId="3704017336" sldId="460"/>
            <ac:picMk id="36" creationId="{CE44D5E3-3C0B-4526-93E7-5536A7908724}"/>
          </ac:picMkLst>
        </pc:picChg>
        <pc:picChg chg="del">
          <ac:chgData name="Paillacar Oyarzo Paulo Ignacio (Codelco-Casa Matriz)" userId="S::ppail001@codelco.cl::3f9c4ec0-dfff-4bc5-ba03-192dd672e537" providerId="AD" clId="Web-{CF5FBE9F-7093-0000-A0F4-A2A658F0C285}" dt="2021-04-15T04:36:40.235" v="9"/>
          <ac:picMkLst>
            <pc:docMk/>
            <pc:sldMk cId="3704017336" sldId="460"/>
            <ac:picMk id="38" creationId="{D191E298-6091-4025-9B70-6FEC84E3BC6A}"/>
          </ac:picMkLst>
        </pc:picChg>
        <pc:cxnChg chg="del">
          <ac:chgData name="Paillacar Oyarzo Paulo Ignacio (Codelco-Casa Matriz)" userId="S::ppail001@codelco.cl::3f9c4ec0-dfff-4bc5-ba03-192dd672e537" providerId="AD" clId="Web-{CF5FBE9F-7093-0000-A0F4-A2A658F0C285}" dt="2021-04-15T04:36:40.235" v="22"/>
          <ac:cxnSpMkLst>
            <pc:docMk/>
            <pc:sldMk cId="3704017336" sldId="460"/>
            <ac:cxnSpMk id="20" creationId="{70AF8F9A-4E84-4D02-86BD-7AF6570A6A28}"/>
          </ac:cxnSpMkLst>
        </pc:cxnChg>
        <pc:cxnChg chg="del">
          <ac:chgData name="Paillacar Oyarzo Paulo Ignacio (Codelco-Casa Matriz)" userId="S::ppail001@codelco.cl::3f9c4ec0-dfff-4bc5-ba03-192dd672e537" providerId="AD" clId="Web-{CF5FBE9F-7093-0000-A0F4-A2A658F0C285}" dt="2021-04-15T04:36:40.235" v="21"/>
          <ac:cxnSpMkLst>
            <pc:docMk/>
            <pc:sldMk cId="3704017336" sldId="460"/>
            <ac:cxnSpMk id="28" creationId="{143C6063-174E-4417-9FDA-A83E33DECE48}"/>
          </ac:cxnSpMkLst>
        </pc:cxnChg>
        <pc:cxnChg chg="del">
          <ac:chgData name="Paillacar Oyarzo Paulo Ignacio (Codelco-Casa Matriz)" userId="S::ppail001@codelco.cl::3f9c4ec0-dfff-4bc5-ba03-192dd672e537" providerId="AD" clId="Web-{CF5FBE9F-7093-0000-A0F4-A2A658F0C285}" dt="2021-04-15T04:36:40.235" v="12"/>
          <ac:cxnSpMkLst>
            <pc:docMk/>
            <pc:sldMk cId="3704017336" sldId="460"/>
            <ac:cxnSpMk id="35" creationId="{99769CC8-CEDD-4443-B5F1-B368091CE822}"/>
          </ac:cxnSpMkLst>
        </pc:cxnChg>
      </pc:sldChg>
    </pc:docChg>
  </pc:docChgLst>
  <pc:docChgLst>
    <pc:chgData name="Paillacar Oyarzo Paulo Ignacio (Codelco-Casa Matriz)" userId="S::ppail001@codelco.cl::3f9c4ec0-dfff-4bc5-ba03-192dd672e537" providerId="AD" clId="Web-{76C90C2E-9B33-2CC1-E15E-2EC0F094E148}"/>
    <pc:docChg chg="delSld">
      <pc:chgData name="Paillacar Oyarzo Paulo Ignacio (Codelco-Casa Matriz)" userId="S::ppail001@codelco.cl::3f9c4ec0-dfff-4bc5-ba03-192dd672e537" providerId="AD" clId="Web-{76C90C2E-9B33-2CC1-E15E-2EC0F094E148}" dt="2021-01-28T14:15:24.618" v="3"/>
      <pc:docMkLst>
        <pc:docMk/>
      </pc:docMkLst>
      <pc:sldChg chg="del">
        <pc:chgData name="Paillacar Oyarzo Paulo Ignacio (Codelco-Casa Matriz)" userId="S::ppail001@codelco.cl::3f9c4ec0-dfff-4bc5-ba03-192dd672e537" providerId="AD" clId="Web-{76C90C2E-9B33-2CC1-E15E-2EC0F094E148}" dt="2021-01-28T14:15:13.149" v="0"/>
        <pc:sldMkLst>
          <pc:docMk/>
          <pc:sldMk cId="3013288184" sldId="433"/>
        </pc:sldMkLst>
      </pc:sldChg>
      <pc:sldChg chg="del">
        <pc:chgData name="Paillacar Oyarzo Paulo Ignacio (Codelco-Casa Matriz)" userId="S::ppail001@codelco.cl::3f9c4ec0-dfff-4bc5-ba03-192dd672e537" providerId="AD" clId="Web-{76C90C2E-9B33-2CC1-E15E-2EC0F094E148}" dt="2021-01-28T14:15:19.211" v="2"/>
        <pc:sldMkLst>
          <pc:docMk/>
          <pc:sldMk cId="2954005240" sldId="434"/>
        </pc:sldMkLst>
      </pc:sldChg>
      <pc:sldChg chg="del">
        <pc:chgData name="Paillacar Oyarzo Paulo Ignacio (Codelco-Casa Matriz)" userId="S::ppail001@codelco.cl::3f9c4ec0-dfff-4bc5-ba03-192dd672e537" providerId="AD" clId="Web-{76C90C2E-9B33-2CC1-E15E-2EC0F094E148}" dt="2021-01-28T14:15:24.618" v="3"/>
        <pc:sldMkLst>
          <pc:docMk/>
          <pc:sldMk cId="1439892650" sldId="446"/>
        </pc:sldMkLst>
      </pc:sldChg>
      <pc:sldChg chg="del">
        <pc:chgData name="Paillacar Oyarzo Paulo Ignacio (Codelco-Casa Matriz)" userId="S::ppail001@codelco.cl::3f9c4ec0-dfff-4bc5-ba03-192dd672e537" providerId="AD" clId="Web-{76C90C2E-9B33-2CC1-E15E-2EC0F094E148}" dt="2021-01-28T14:15:13.445" v="1"/>
        <pc:sldMkLst>
          <pc:docMk/>
          <pc:sldMk cId="3481664912" sldId="447"/>
        </pc:sldMkLst>
      </pc:sldChg>
    </pc:docChg>
  </pc:docChgLst>
  <pc:docChgLst>
    <pc:chgData name="Jerez Ortiz Alonso (Codelco-Casa Matriz)" userId="S::ajere002@codelco.cl::0a270fae-b3c5-4943-ba4f-0e2dd2800d21" providerId="AD" clId="Web-{071C5415-BD54-497A-9C36-A7DCBBD194AC}"/>
    <pc:docChg chg="addSld delSld modSld">
      <pc:chgData name="Jerez Ortiz Alonso (Codelco-Casa Matriz)" userId="S::ajere002@codelco.cl::0a270fae-b3c5-4943-ba4f-0e2dd2800d21" providerId="AD" clId="Web-{071C5415-BD54-497A-9C36-A7DCBBD194AC}" dt="2021-08-04T00:19:26.798" v="12"/>
      <pc:docMkLst>
        <pc:docMk/>
      </pc:docMkLst>
      <pc:sldChg chg="addSp delSp modSp new del">
        <pc:chgData name="Jerez Ortiz Alonso (Codelco-Casa Matriz)" userId="S::ajere002@codelco.cl::0a270fae-b3c5-4943-ba4f-0e2dd2800d21" providerId="AD" clId="Web-{071C5415-BD54-497A-9C36-A7DCBBD194AC}" dt="2021-08-04T00:19:26.798" v="12"/>
        <pc:sldMkLst>
          <pc:docMk/>
          <pc:sldMk cId="581850293" sldId="580"/>
        </pc:sldMkLst>
        <pc:picChg chg="add del mod">
          <ac:chgData name="Jerez Ortiz Alonso (Codelco-Casa Matriz)" userId="S::ajere002@codelco.cl::0a270fae-b3c5-4943-ba4f-0e2dd2800d21" providerId="AD" clId="Web-{071C5415-BD54-497A-9C36-A7DCBBD194AC}" dt="2021-08-04T00:19:13.641" v="11" actId="1076"/>
          <ac:picMkLst>
            <pc:docMk/>
            <pc:sldMk cId="581850293" sldId="580"/>
            <ac:picMk id="5" creationId="{237660E3-21A3-49ED-9B36-6A86F194A20D}"/>
          </ac:picMkLst>
        </pc:picChg>
      </pc:sldChg>
    </pc:docChg>
  </pc:docChgLst>
  <pc:docChgLst>
    <pc:chgData name="Yon Muniz Yuan (Codelco-Casa Matriz)" userId="S::yyonm001@codelco.cl::f20ca1ac-b253-4f4a-b9a4-571f8a82fa03" providerId="AD" clId="Web-{9E3A05E1-324F-EEC2-6B02-4B7C967B0846}"/>
    <pc:docChg chg="addSld modSld">
      <pc:chgData name="Yon Muniz Yuan (Codelco-Casa Matriz)" userId="S::yyonm001@codelco.cl::f20ca1ac-b253-4f4a-b9a4-571f8a82fa03" providerId="AD" clId="Web-{9E3A05E1-324F-EEC2-6B02-4B7C967B0846}" dt="2021-02-10T22:47:20.943" v="16"/>
      <pc:docMkLst>
        <pc:docMk/>
      </pc:docMkLst>
      <pc:sldChg chg="addSp delSp modSp">
        <pc:chgData name="Yon Muniz Yuan (Codelco-Casa Matriz)" userId="S::yyonm001@codelco.cl::f20ca1ac-b253-4f4a-b9a4-571f8a82fa03" providerId="AD" clId="Web-{9E3A05E1-324F-EEC2-6B02-4B7C967B0846}" dt="2021-02-10T22:47:17.459" v="15"/>
        <pc:sldMkLst>
          <pc:docMk/>
          <pc:sldMk cId="2362642791" sldId="471"/>
        </pc:sldMkLst>
        <pc:spChg chg="del">
          <ac:chgData name="Yon Muniz Yuan (Codelco-Casa Matriz)" userId="S::yyonm001@codelco.cl::f20ca1ac-b253-4f4a-b9a4-571f8a82fa03" providerId="AD" clId="Web-{9E3A05E1-324F-EEC2-6B02-4B7C967B0846}" dt="2021-02-10T22:47:17.459" v="15"/>
          <ac:spMkLst>
            <pc:docMk/>
            <pc:sldMk cId="2362642791" sldId="471"/>
            <ac:spMk id="3" creationId="{7C122560-A6F5-434C-A8D8-42B97DBD4134}"/>
          </ac:spMkLst>
        </pc:spChg>
        <pc:spChg chg="add mod">
          <ac:chgData name="Yon Muniz Yuan (Codelco-Casa Matriz)" userId="S::yyonm001@codelco.cl::f20ca1ac-b253-4f4a-b9a4-571f8a82fa03" providerId="AD" clId="Web-{9E3A05E1-324F-EEC2-6B02-4B7C967B0846}" dt="2021-02-10T22:47:17.459" v="15"/>
          <ac:spMkLst>
            <pc:docMk/>
            <pc:sldMk cId="2362642791" sldId="471"/>
            <ac:spMk id="6" creationId="{EFE01C06-426A-4FD4-878C-8BEF4238AAB3}"/>
          </ac:spMkLst>
        </pc:spChg>
      </pc:sldChg>
      <pc:sldChg chg="addSp delSp modSp add replId">
        <pc:chgData name="Yon Muniz Yuan (Codelco-Casa Matriz)" userId="S::yyonm001@codelco.cl::f20ca1ac-b253-4f4a-b9a4-571f8a82fa03" providerId="AD" clId="Web-{9E3A05E1-324F-EEC2-6B02-4B7C967B0846}" dt="2021-02-10T22:47:20.943" v="16"/>
        <pc:sldMkLst>
          <pc:docMk/>
          <pc:sldMk cId="3645109419" sldId="475"/>
        </pc:sldMkLst>
        <pc:spChg chg="mod">
          <ac:chgData name="Yon Muniz Yuan (Codelco-Casa Matriz)" userId="S::yyonm001@codelco.cl::f20ca1ac-b253-4f4a-b9a4-571f8a82fa03" providerId="AD" clId="Web-{9E3A05E1-324F-EEC2-6B02-4B7C967B0846}" dt="2021-02-10T22:47:06.474" v="14" actId="20577"/>
          <ac:spMkLst>
            <pc:docMk/>
            <pc:sldMk cId="3645109419" sldId="475"/>
            <ac:spMk id="2" creationId="{052FE435-87E4-45EA-94B3-378D699D1B29}"/>
          </ac:spMkLst>
        </pc:spChg>
        <pc:spChg chg="del">
          <ac:chgData name="Yon Muniz Yuan (Codelco-Casa Matriz)" userId="S::yyonm001@codelco.cl::f20ca1ac-b253-4f4a-b9a4-571f8a82fa03" providerId="AD" clId="Web-{9E3A05E1-324F-EEC2-6B02-4B7C967B0846}" dt="2021-02-10T22:47:20.943" v="16"/>
          <ac:spMkLst>
            <pc:docMk/>
            <pc:sldMk cId="3645109419" sldId="475"/>
            <ac:spMk id="3" creationId="{7C122560-A6F5-434C-A8D8-42B97DBD4134}"/>
          </ac:spMkLst>
        </pc:spChg>
        <pc:spChg chg="add mod">
          <ac:chgData name="Yon Muniz Yuan (Codelco-Casa Matriz)" userId="S::yyonm001@codelco.cl::f20ca1ac-b253-4f4a-b9a4-571f8a82fa03" providerId="AD" clId="Web-{9E3A05E1-324F-EEC2-6B02-4B7C967B0846}" dt="2021-02-10T22:47:20.943" v="16"/>
          <ac:spMkLst>
            <pc:docMk/>
            <pc:sldMk cId="3645109419" sldId="475"/>
            <ac:spMk id="6" creationId="{D27731F8-8859-4303-9DC8-8DFD4FD6BE9F}"/>
          </ac:spMkLst>
        </pc:spChg>
        <pc:picChg chg="del">
          <ac:chgData name="Yon Muniz Yuan (Codelco-Casa Matriz)" userId="S::yyonm001@codelco.cl::f20ca1ac-b253-4f4a-b9a4-571f8a82fa03" providerId="AD" clId="Web-{9E3A05E1-324F-EEC2-6B02-4B7C967B0846}" dt="2021-02-10T22:46:59.037" v="1"/>
          <ac:picMkLst>
            <pc:docMk/>
            <pc:sldMk cId="3645109419" sldId="475"/>
            <ac:picMk id="7" creationId="{9EA2DE63-6B57-4672-BCFF-5E708F19FE9A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19D48364-91E4-5669-5F5E-847D13A90528}"/>
    <pc:docChg chg="modSld">
      <pc:chgData name="Carrillo Rojas Daniela (Codelco-Chuquicamata)" userId="S::dcarr014@codelco.cl::b6c6fc0c-fc39-4bf0-8e9d-fb82d681f847" providerId="AD" clId="Web-{19D48364-91E4-5669-5F5E-847D13A90528}" dt="2021-04-29T14:20:44.541" v="2" actId="14100"/>
      <pc:docMkLst>
        <pc:docMk/>
      </pc:docMkLst>
      <pc:sldChg chg="modSp">
        <pc:chgData name="Carrillo Rojas Daniela (Codelco-Chuquicamata)" userId="S::dcarr014@codelco.cl::b6c6fc0c-fc39-4bf0-8e9d-fb82d681f847" providerId="AD" clId="Web-{19D48364-91E4-5669-5F5E-847D13A90528}" dt="2021-04-29T14:20:44.541" v="2" actId="14100"/>
        <pc:sldMkLst>
          <pc:docMk/>
          <pc:sldMk cId="1418399147" sldId="500"/>
        </pc:sldMkLst>
        <pc:spChg chg="mod">
          <ac:chgData name="Carrillo Rojas Daniela (Codelco-Chuquicamata)" userId="S::dcarr014@codelco.cl::b6c6fc0c-fc39-4bf0-8e9d-fb82d681f847" providerId="AD" clId="Web-{19D48364-91E4-5669-5F5E-847D13A90528}" dt="2021-04-29T14:20:44.541" v="2" actId="14100"/>
          <ac:spMkLst>
            <pc:docMk/>
            <pc:sldMk cId="1418399147" sldId="500"/>
            <ac:spMk id="5" creationId="{A0E25850-ED9D-41B4-9E1D-1234F01E5E40}"/>
          </ac:spMkLst>
        </pc:spChg>
        <pc:grpChg chg="mod">
          <ac:chgData name="Carrillo Rojas Daniela (Codelco-Chuquicamata)" userId="S::dcarr014@codelco.cl::b6c6fc0c-fc39-4bf0-8e9d-fb82d681f847" providerId="AD" clId="Web-{19D48364-91E4-5669-5F5E-847D13A90528}" dt="2021-04-29T14:20:34.400" v="1" actId="1076"/>
          <ac:grpSpMkLst>
            <pc:docMk/>
            <pc:sldMk cId="1418399147" sldId="500"/>
            <ac:grpSpMk id="19" creationId="{CDFDF048-E5C4-4700-915E-1B674C4F7473}"/>
          </ac:grpSpMkLst>
        </pc:grpChg>
      </pc:sldChg>
    </pc:docChg>
  </pc:docChgLst>
  <pc:docChgLst>
    <pc:chgData name="Mery Carrasco Mauricio (Codelco-Casa Matriz)" userId="S::mmery004@codelco.cl::a0378191-74de-4d59-9b37-aa421303daba" providerId="AD" clId="Web-{A0FE57EC-EFD4-C8F8-80B9-1E8704A3EF59}"/>
    <pc:docChg chg="addSld delSld modSld">
      <pc:chgData name="Mery Carrasco Mauricio (Codelco-Casa Matriz)" userId="S::mmery004@codelco.cl::a0378191-74de-4d59-9b37-aa421303daba" providerId="AD" clId="Web-{A0FE57EC-EFD4-C8F8-80B9-1E8704A3EF59}" dt="2021-02-10T14:54:43.252" v="149" actId="1076"/>
      <pc:docMkLst>
        <pc:docMk/>
      </pc:docMkLst>
      <pc:sldChg chg="modSp">
        <pc:chgData name="Mery Carrasco Mauricio (Codelco-Casa Matriz)" userId="S::mmery004@codelco.cl::a0378191-74de-4d59-9b37-aa421303daba" providerId="AD" clId="Web-{A0FE57EC-EFD4-C8F8-80B9-1E8704A3EF59}" dt="2021-02-10T11:49:39.471" v="2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A0FE57EC-EFD4-C8F8-80B9-1E8704A3EF59}" dt="2021-02-10T11:49:28.611" v="0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1:49:39.471" v="2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addSp delSp modSp">
        <pc:chgData name="Mery Carrasco Mauricio (Codelco-Casa Matriz)" userId="S::mmery004@codelco.cl::a0378191-74de-4d59-9b37-aa421303daba" providerId="AD" clId="Web-{A0FE57EC-EFD4-C8F8-80B9-1E8704A3EF59}" dt="2021-02-10T14:54:43.252" v="149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A0FE57EC-EFD4-C8F8-80B9-1E8704A3EF59}" dt="2021-02-10T12:00:50.568" v="100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68" v="101" actId="1076"/>
          <ac:spMkLst>
            <pc:docMk/>
            <pc:sldMk cId="2155997825" sldId="375"/>
            <ac:spMk id="4" creationId="{4E905CBF-F1FF-48C4-AF2B-075028B38C41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2:59.843" v="114" actId="688"/>
          <ac:spMkLst>
            <pc:docMk/>
            <pc:sldMk cId="2155997825" sldId="375"/>
            <ac:spMk id="6" creationId="{6DCCCF95-5623-4999-AC3A-24EE68D3554A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474" v="88" actId="1076"/>
          <ac:spMkLst>
            <pc:docMk/>
            <pc:sldMk cId="2155997825" sldId="375"/>
            <ac:spMk id="17" creationId="{92D7D665-E910-49F2-B784-B5B031CE0DE9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474" v="89" actId="1076"/>
          <ac:spMkLst>
            <pc:docMk/>
            <pc:sldMk cId="2155997825" sldId="375"/>
            <ac:spMk id="18" creationId="{B682D45E-A165-4DDC-8609-A871608E67E5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3:17.766" v="117" actId="20577"/>
          <ac:spMkLst>
            <pc:docMk/>
            <pc:sldMk cId="2155997825" sldId="375"/>
            <ac:spMk id="20" creationId="{0ED3F883-AD2E-4F7C-8552-B535D7C7A485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3:37.485" v="129" actId="20577"/>
          <ac:spMkLst>
            <pc:docMk/>
            <pc:sldMk cId="2155997825" sldId="375"/>
            <ac:spMk id="21" creationId="{AB531814-A1EE-4345-86B5-5358ABD26794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3:45.063" v="131" actId="20577"/>
          <ac:spMkLst>
            <pc:docMk/>
            <pc:sldMk cId="2155997825" sldId="375"/>
            <ac:spMk id="22" creationId="{7851A235-ED5E-4137-AD50-6F10AD12B65E}"/>
          </ac:spMkLst>
        </pc:spChg>
        <pc:spChg chg="del mod">
          <ac:chgData name="Mery Carrasco Mauricio (Codelco-Casa Matriz)" userId="S::mmery004@codelco.cl::a0378191-74de-4d59-9b37-aa421303daba" providerId="AD" clId="Web-{A0FE57EC-EFD4-C8F8-80B9-1E8704A3EF59}" dt="2021-02-10T11:57:18.687" v="64"/>
          <ac:spMkLst>
            <pc:docMk/>
            <pc:sldMk cId="2155997825" sldId="375"/>
            <ac:spMk id="23" creationId="{1076B96B-A461-4C29-8040-F9E89CBE9081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4:10.408" v="141" actId="14100"/>
          <ac:spMkLst>
            <pc:docMk/>
            <pc:sldMk cId="2155997825" sldId="375"/>
            <ac:spMk id="23" creationId="{C67C1FCA-F15F-4CBB-B08F-595DE9432149}"/>
          </ac:spMkLst>
        </pc:spChg>
        <pc:spChg chg="del">
          <ac:chgData name="Mery Carrasco Mauricio (Codelco-Casa Matriz)" userId="S::mmery004@codelco.cl::a0378191-74de-4d59-9b37-aa421303daba" providerId="AD" clId="Web-{A0FE57EC-EFD4-C8F8-80B9-1E8704A3EF59}" dt="2021-02-10T11:50:17.441" v="12"/>
          <ac:spMkLst>
            <pc:docMk/>
            <pc:sldMk cId="2155997825" sldId="375"/>
            <ac:spMk id="24" creationId="{3AEE07E5-D518-4FC9-8E20-C4CFB2B91087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4:33.064" v="147" actId="14100"/>
          <ac:spMkLst>
            <pc:docMk/>
            <pc:sldMk cId="2155997825" sldId="375"/>
            <ac:spMk id="24" creationId="{9D3B6B4F-AFE9-4C98-A264-E4735FFD431C}"/>
          </ac:spMkLst>
        </pc:spChg>
        <pc:spChg chg="add mod">
          <ac:chgData name="Mery Carrasco Mauricio (Codelco-Casa Matriz)" userId="S::mmery004@codelco.cl::a0378191-74de-4d59-9b37-aa421303daba" providerId="AD" clId="Web-{A0FE57EC-EFD4-C8F8-80B9-1E8704A3EF59}" dt="2021-02-10T14:54:43.252" v="149" actId="1076"/>
          <ac:spMkLst>
            <pc:docMk/>
            <pc:sldMk cId="2155997825" sldId="375"/>
            <ac:spMk id="25" creationId="{E7D85969-2F2F-4CBD-9130-FD5ADAA7E0BE}"/>
          </ac:spMkLst>
        </pc:spChg>
        <pc:spChg chg="del">
          <ac:chgData name="Mery Carrasco Mauricio (Codelco-Casa Matriz)" userId="S::mmery004@codelco.cl::a0378191-74de-4d59-9b37-aa421303daba" providerId="AD" clId="Web-{A0FE57EC-EFD4-C8F8-80B9-1E8704A3EF59}" dt="2021-02-10T11:50:17.441" v="11"/>
          <ac:spMkLst>
            <pc:docMk/>
            <pc:sldMk cId="2155997825" sldId="375"/>
            <ac:spMk id="25" creationId="{E80B0A98-231F-4399-BCC9-B37E9E64DDBC}"/>
          </ac:spMkLst>
        </pc:spChg>
        <pc:spChg chg="del">
          <ac:chgData name="Mery Carrasco Mauricio (Codelco-Casa Matriz)" userId="S::mmery004@codelco.cl::a0378191-74de-4d59-9b37-aa421303daba" providerId="AD" clId="Web-{A0FE57EC-EFD4-C8F8-80B9-1E8704A3EF59}" dt="2021-02-10T11:57:18.687" v="63"/>
          <ac:spMkLst>
            <pc:docMk/>
            <pc:sldMk cId="2155997825" sldId="375"/>
            <ac:spMk id="28" creationId="{2E6F6FFB-AB41-4BA3-BA27-D4ED2512B16D}"/>
          </ac:spMkLst>
        </pc:spChg>
        <pc:spChg chg="del">
          <ac:chgData name="Mery Carrasco Mauricio (Codelco-Casa Matriz)" userId="S::mmery004@codelco.cl::a0378191-74de-4d59-9b37-aa421303daba" providerId="AD" clId="Web-{A0FE57EC-EFD4-C8F8-80B9-1E8704A3EF59}" dt="2021-02-10T11:50:18.566" v="14"/>
          <ac:spMkLst>
            <pc:docMk/>
            <pc:sldMk cId="2155997825" sldId="375"/>
            <ac:spMk id="34" creationId="{B9A9FC0C-9B5B-4F10-82D8-24B19E148E67}"/>
          </ac:spMkLst>
        </pc:spChg>
        <pc:spChg chg="del">
          <ac:chgData name="Mery Carrasco Mauricio (Codelco-Casa Matriz)" userId="S::mmery004@codelco.cl::a0378191-74de-4d59-9b37-aa421303daba" providerId="AD" clId="Web-{A0FE57EC-EFD4-C8F8-80B9-1E8704A3EF59}" dt="2021-02-10T11:50:18.566" v="13"/>
          <ac:spMkLst>
            <pc:docMk/>
            <pc:sldMk cId="2155997825" sldId="375"/>
            <ac:spMk id="35" creationId="{73CF1B7A-7CD1-4223-9BB6-4C13C0F6BB83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52" v="99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52" v="98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490" v="90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05" v="92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05" v="93" actId="1076"/>
          <ac:spMkLst>
            <pc:docMk/>
            <pc:sldMk cId="2155997825" sldId="37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490" v="91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21" v="95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36" v="96" actId="1076"/>
          <ac:spMkLst>
            <pc:docMk/>
            <pc:sldMk cId="2155997825" sldId="37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36" v="97" actId="1076"/>
          <ac:spMkLst>
            <pc:docMk/>
            <pc:sldMk cId="2155997825" sldId="37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A0FE57EC-EFD4-C8F8-80B9-1E8704A3EF59}" dt="2021-02-10T12:00:50.505" v="94" actId="1076"/>
          <ac:spMkLst>
            <pc:docMk/>
            <pc:sldMk cId="2155997825" sldId="375"/>
            <ac:spMk id="51" creationId="{F913A60D-2783-4406-9452-4739CB932FC8}"/>
          </ac:spMkLst>
        </pc:spChg>
      </pc:sldChg>
      <pc:sldChg chg="del">
        <pc:chgData name="Mery Carrasco Mauricio (Codelco-Casa Matriz)" userId="S::mmery004@codelco.cl::a0378191-74de-4d59-9b37-aa421303daba" providerId="AD" clId="Web-{A0FE57EC-EFD4-C8F8-80B9-1E8704A3EF59}" dt="2021-02-10T11:54:45.073" v="21"/>
        <pc:sldMkLst>
          <pc:docMk/>
          <pc:sldMk cId="3999619249" sldId="450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28.342" v="29"/>
        <pc:sldMkLst>
          <pc:docMk/>
          <pc:sldMk cId="729368393" sldId="451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11.263" v="22"/>
        <pc:sldMkLst>
          <pc:docMk/>
          <pc:sldMk cId="2488319862" sldId="452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4:35.417" v="20"/>
        <pc:sldMkLst>
          <pc:docMk/>
          <pc:sldMk cId="1619407024" sldId="453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28.342" v="30"/>
        <pc:sldMkLst>
          <pc:docMk/>
          <pc:sldMk cId="1918491469" sldId="454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19.435" v="26"/>
        <pc:sldMkLst>
          <pc:docMk/>
          <pc:sldMk cId="104579374" sldId="456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28.232" v="28"/>
        <pc:sldMkLst>
          <pc:docMk/>
          <pc:sldMk cId="2837719933" sldId="457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18.498" v="25"/>
        <pc:sldMkLst>
          <pc:docMk/>
          <pc:sldMk cId="2036570787" sldId="458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18.466" v="24"/>
        <pc:sldMkLst>
          <pc:docMk/>
          <pc:sldMk cId="700712230" sldId="459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18.373" v="23"/>
        <pc:sldMkLst>
          <pc:docMk/>
          <pc:sldMk cId="1853763067" sldId="460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21.435" v="27"/>
        <pc:sldMkLst>
          <pc:docMk/>
          <pc:sldMk cId="3118458210" sldId="461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30.482" v="33"/>
        <pc:sldMkLst>
          <pc:docMk/>
          <pc:sldMk cId="3603438608" sldId="465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29.732" v="32"/>
        <pc:sldMkLst>
          <pc:docMk/>
          <pc:sldMk cId="3642239849" sldId="466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28.639" v="31"/>
        <pc:sldMkLst>
          <pc:docMk/>
          <pc:sldMk cId="3898576614" sldId="467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38.639" v="36"/>
        <pc:sldMkLst>
          <pc:docMk/>
          <pc:sldMk cId="860796454" sldId="468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38.529" v="35"/>
        <pc:sldMkLst>
          <pc:docMk/>
          <pc:sldMk cId="4111653900" sldId="469"/>
        </pc:sldMkLst>
      </pc:sldChg>
      <pc:sldChg chg="del">
        <pc:chgData name="Mery Carrasco Mauricio (Codelco-Casa Matriz)" userId="S::mmery004@codelco.cl::a0378191-74de-4d59-9b37-aa421303daba" providerId="AD" clId="Web-{A0FE57EC-EFD4-C8F8-80B9-1E8704A3EF59}" dt="2021-02-10T11:56:31.811" v="34"/>
        <pc:sldMkLst>
          <pc:docMk/>
          <pc:sldMk cId="804424727" sldId="470"/>
        </pc:sldMkLst>
      </pc:sldChg>
      <pc:sldChg chg="new">
        <pc:chgData name="Mery Carrasco Mauricio (Codelco-Casa Matriz)" userId="S::mmery004@codelco.cl::a0378191-74de-4d59-9b37-aa421303daba" providerId="AD" clId="Web-{A0FE57EC-EFD4-C8F8-80B9-1E8704A3EF59}" dt="2021-02-10T11:54:35.057" v="19"/>
        <pc:sldMkLst>
          <pc:docMk/>
          <pc:sldMk cId="2362642791" sldId="471"/>
        </pc:sldMkLst>
      </pc:sldChg>
      <pc:sldChg chg="add del replId">
        <pc:chgData name="Mery Carrasco Mauricio (Codelco-Casa Matriz)" userId="S::mmery004@codelco.cl::a0378191-74de-4d59-9b37-aa421303daba" providerId="AD" clId="Web-{A0FE57EC-EFD4-C8F8-80B9-1E8704A3EF59}" dt="2021-02-10T11:54:34.901" v="18"/>
        <pc:sldMkLst>
          <pc:docMk/>
          <pc:sldMk cId="3609028083" sldId="471"/>
        </pc:sldMkLst>
      </pc:sldChg>
    </pc:docChg>
  </pc:docChgLst>
  <pc:docChgLst>
    <pc:chgData name="Mery Carrasco Mauricio (Codelco-Casa Matriz)" userId="S::mmery004@codelco.cl::a0378191-74de-4d59-9b37-aa421303daba" providerId="AD" clId="Web-{820B093F-809B-BCD2-1789-794792997399}"/>
    <pc:docChg chg="delSld modSld">
      <pc:chgData name="Mery Carrasco Mauricio (Codelco-Casa Matriz)" userId="S::mmery004@codelco.cl::a0378191-74de-4d59-9b37-aa421303daba" providerId="AD" clId="Web-{820B093F-809B-BCD2-1789-794792997399}" dt="2021-08-03T23:04:22.011" v="184"/>
      <pc:docMkLst>
        <pc:docMk/>
      </pc:docMkLst>
      <pc:sldChg chg="delSp modSp">
        <pc:chgData name="Mery Carrasco Mauricio (Codelco-Casa Matriz)" userId="S::mmery004@codelco.cl::a0378191-74de-4d59-9b37-aa421303daba" providerId="AD" clId="Web-{820B093F-809B-BCD2-1789-794792997399}" dt="2021-08-03T22:49:11.535" v="48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49:11.519" v="47" actId="1076"/>
          <ac:spMkLst>
            <pc:docMk/>
            <pc:sldMk cId="2155997825" sldId="375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48:43.878" v="15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535" v="48" actId="1076"/>
          <ac:spMkLst>
            <pc:docMk/>
            <pc:sldMk cId="2155997825" sldId="37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07.019" v="33" actId="1076"/>
          <ac:spMkLst>
            <pc:docMk/>
            <pc:sldMk cId="2155997825" sldId="37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488" v="45" actId="1076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07.019" v="34" actId="1076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503" v="46" actId="1076"/>
          <ac:spMkLst>
            <pc:docMk/>
            <pc:sldMk cId="2155997825" sldId="37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07.081" v="40" actId="1076"/>
          <ac:spMkLst>
            <pc:docMk/>
            <pc:sldMk cId="2155997825" sldId="375"/>
            <ac:spMk id="35" creationId="{3E1FB314-0B4B-4E37-B51E-64C590443006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394" v="41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410" v="42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07.050" v="37" actId="1076"/>
          <ac:spMkLst>
            <pc:docMk/>
            <pc:sldMk cId="2155997825" sldId="37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410" v="43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49:11.456" v="44" actId="1076"/>
          <ac:spMkLst>
            <pc:docMk/>
            <pc:sldMk cId="2155997825" sldId="375"/>
            <ac:spMk id="48" creationId="{62444E91-07F2-4258-A080-F0F76AFF8F81}"/>
          </ac:spMkLst>
        </pc:spChg>
        <pc:spChg chg="del mod">
          <ac:chgData name="Mery Carrasco Mauricio (Codelco-Casa Matriz)" userId="S::mmery004@codelco.cl::a0378191-74de-4d59-9b37-aa421303daba" providerId="AD" clId="Web-{820B093F-809B-BCD2-1789-794792997399}" dt="2021-08-03T22:48:41.721" v="14"/>
          <ac:spMkLst>
            <pc:docMk/>
            <pc:sldMk cId="2155997825" sldId="375"/>
            <ac:spMk id="50" creationId="{CAB885FA-46E1-44EF-8D19-C807FC349CC4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48:41.721" v="13"/>
          <ac:spMkLst>
            <pc:docMk/>
            <pc:sldMk cId="2155997825" sldId="375"/>
            <ac:spMk id="51" creationId="{F913A60D-2783-4406-9452-4739CB932FC8}"/>
          </ac:spMkLst>
        </pc:spChg>
      </pc:sldChg>
      <pc:sldChg chg="modSp">
        <pc:chgData name="Mery Carrasco Mauricio (Codelco-Casa Matriz)" userId="S::mmery004@codelco.cl::a0378191-74de-4d59-9b37-aa421303daba" providerId="AD" clId="Web-{820B093F-809B-BCD2-1789-794792997399}" dt="2021-08-03T23:04:22.011" v="184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3:04:22.011" v="184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8:48.659" v="142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3:04:09.058" v="183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3:03:58.386" v="182" actId="20577"/>
          <ac:spMkLst>
            <pc:docMk/>
            <pc:sldMk cId="1544981574" sldId="409"/>
            <ac:spMk id="30" creationId="{44A25184-26B8-4AAA-9E65-3A78929CCFB6}"/>
          </ac:spMkLst>
        </pc:spChg>
      </pc:sldChg>
      <pc:sldChg chg="delSp modSp">
        <pc:chgData name="Mery Carrasco Mauricio (Codelco-Casa Matriz)" userId="S::mmery004@codelco.cl::a0378191-74de-4d59-9b37-aa421303daba" providerId="AD" clId="Web-{820B093F-809B-BCD2-1789-794792997399}" dt="2021-08-03T22:51:45.648" v="72" actId="1076"/>
        <pc:sldMkLst>
          <pc:docMk/>
          <pc:sldMk cId="4023416910" sldId="554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51:45.648" v="71" actId="1076"/>
          <ac:spMkLst>
            <pc:docMk/>
            <pc:sldMk cId="4023416910" sldId="554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1:45.648" v="72" actId="1076"/>
          <ac:spMkLst>
            <pc:docMk/>
            <pc:sldMk cId="4023416910" sldId="554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1:45.632" v="69" actId="1076"/>
          <ac:spMkLst>
            <pc:docMk/>
            <pc:sldMk cId="4023416910" sldId="554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1:45.632" v="70" actId="1076"/>
          <ac:spMkLst>
            <pc:docMk/>
            <pc:sldMk cId="4023416910" sldId="554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1:45.617" v="67" actId="1076"/>
          <ac:spMkLst>
            <pc:docMk/>
            <pc:sldMk cId="4023416910" sldId="554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1:45.617" v="68" actId="1076"/>
          <ac:spMkLst>
            <pc:docMk/>
            <pc:sldMk cId="4023416910" sldId="554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1:40.382" v="66"/>
          <ac:spMkLst>
            <pc:docMk/>
            <pc:sldMk cId="4023416910" sldId="554"/>
            <ac:spMk id="47" creationId="{8AFED1E8-722F-4F9D-8B1C-DD0D8C1C324E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1:40.382" v="65"/>
          <ac:spMkLst>
            <pc:docMk/>
            <pc:sldMk cId="4023416910" sldId="554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1:33.101" v="64" actId="20577"/>
          <ac:spMkLst>
            <pc:docMk/>
            <pc:sldMk cId="4023416910" sldId="554"/>
            <ac:spMk id="50" creationId="{CAB885FA-46E1-44EF-8D19-C807FC349CC4}"/>
          </ac:spMkLst>
        </pc:spChg>
      </pc:sldChg>
      <pc:sldChg chg="delSp modSp">
        <pc:chgData name="Mery Carrasco Mauricio (Codelco-Casa Matriz)" userId="S::mmery004@codelco.cl::a0378191-74de-4d59-9b37-aa421303daba" providerId="AD" clId="Web-{820B093F-809B-BCD2-1789-794792997399}" dt="2021-08-03T22:52:25.212" v="82" actId="1076"/>
        <pc:sldMkLst>
          <pc:docMk/>
          <pc:sldMk cId="3546602395" sldId="555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52:25.196" v="81" actId="1076"/>
          <ac:spMkLst>
            <pc:docMk/>
            <pc:sldMk cId="3546602395" sldId="555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25.212" v="82" actId="1076"/>
          <ac:spMkLst>
            <pc:docMk/>
            <pc:sldMk cId="3546602395" sldId="55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25.196" v="79" actId="1076"/>
          <ac:spMkLst>
            <pc:docMk/>
            <pc:sldMk cId="3546602395" sldId="55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25.196" v="80" actId="1076"/>
          <ac:spMkLst>
            <pc:docMk/>
            <pc:sldMk cId="3546602395" sldId="55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25.180" v="77" actId="1076"/>
          <ac:spMkLst>
            <pc:docMk/>
            <pc:sldMk cId="3546602395" sldId="55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25.180" v="78" actId="1076"/>
          <ac:spMkLst>
            <pc:docMk/>
            <pc:sldMk cId="3546602395" sldId="555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2:17.071" v="76"/>
          <ac:spMkLst>
            <pc:docMk/>
            <pc:sldMk cId="3546602395" sldId="555"/>
            <ac:spMk id="47" creationId="{8AFED1E8-722F-4F9D-8B1C-DD0D8C1C324E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2:17.071" v="75"/>
          <ac:spMkLst>
            <pc:docMk/>
            <pc:sldMk cId="3546602395" sldId="55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12.696" v="74" actId="20577"/>
          <ac:spMkLst>
            <pc:docMk/>
            <pc:sldMk cId="3546602395" sldId="555"/>
            <ac:spMk id="50" creationId="{CAB885FA-46E1-44EF-8D19-C807FC349CC4}"/>
          </ac:spMkLst>
        </pc:spChg>
      </pc:sldChg>
      <pc:sldChg chg="delSp modSp">
        <pc:chgData name="Mery Carrasco Mauricio (Codelco-Casa Matriz)" userId="S::mmery004@codelco.cl::a0378191-74de-4d59-9b37-aa421303daba" providerId="AD" clId="Web-{820B093F-809B-BCD2-1789-794792997399}" dt="2021-08-03T22:53:26.229" v="93" actId="1076"/>
        <pc:sldMkLst>
          <pc:docMk/>
          <pc:sldMk cId="2313332346" sldId="556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53:26.229" v="92" actId="1076"/>
          <ac:spMkLst>
            <pc:docMk/>
            <pc:sldMk cId="2313332346" sldId="556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3:26.229" v="93" actId="1076"/>
          <ac:spMkLst>
            <pc:docMk/>
            <pc:sldMk cId="2313332346" sldId="556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3:26.213" v="90" actId="1076"/>
          <ac:spMkLst>
            <pc:docMk/>
            <pc:sldMk cId="2313332346" sldId="556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3:26.229" v="91" actId="1076"/>
          <ac:spMkLst>
            <pc:docMk/>
            <pc:sldMk cId="2313332346" sldId="556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3:26.198" v="88" actId="1076"/>
          <ac:spMkLst>
            <pc:docMk/>
            <pc:sldMk cId="2313332346" sldId="556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3:26.213" v="89" actId="1076"/>
          <ac:spMkLst>
            <pc:docMk/>
            <pc:sldMk cId="2313332346" sldId="556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3:17.307" v="87"/>
          <ac:spMkLst>
            <pc:docMk/>
            <pc:sldMk cId="2313332346" sldId="556"/>
            <ac:spMk id="47" creationId="{8AFED1E8-722F-4F9D-8B1C-DD0D8C1C324E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3:17.307" v="86"/>
          <ac:spMkLst>
            <pc:docMk/>
            <pc:sldMk cId="2313332346" sldId="556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3:13.103" v="85" actId="20577"/>
          <ac:spMkLst>
            <pc:docMk/>
            <pc:sldMk cId="2313332346" sldId="556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2:55.384" v="83"/>
          <ac:spMkLst>
            <pc:docMk/>
            <pc:sldMk cId="2313332346" sldId="556"/>
            <ac:spMk id="51" creationId="{F913A60D-2783-4406-9452-4739CB932FC8}"/>
          </ac:spMkLst>
        </pc:spChg>
      </pc:sldChg>
      <pc:sldChg chg="del">
        <pc:chgData name="Mery Carrasco Mauricio (Codelco-Casa Matriz)" userId="S::mmery004@codelco.cl::a0378191-74de-4d59-9b37-aa421303daba" providerId="AD" clId="Web-{820B093F-809B-BCD2-1789-794792997399}" dt="2021-08-03T22:54:10.480" v="95"/>
        <pc:sldMkLst>
          <pc:docMk/>
          <pc:sldMk cId="3594889304" sldId="558"/>
        </pc:sldMkLst>
      </pc:sldChg>
      <pc:sldChg chg="delSp modSp">
        <pc:chgData name="Mery Carrasco Mauricio (Codelco-Casa Matriz)" userId="S::mmery004@codelco.cl::a0378191-74de-4d59-9b37-aa421303daba" providerId="AD" clId="Web-{820B093F-809B-BCD2-1789-794792997399}" dt="2021-08-03T22:54:46.340" v="105" actId="1076"/>
        <pc:sldMkLst>
          <pc:docMk/>
          <pc:sldMk cId="1718909961" sldId="560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54:46.340" v="104" actId="1076"/>
          <ac:spMkLst>
            <pc:docMk/>
            <pc:sldMk cId="1718909961" sldId="560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4:46.340" v="105" actId="1076"/>
          <ac:spMkLst>
            <pc:docMk/>
            <pc:sldMk cId="1718909961" sldId="560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4:46.325" v="102" actId="1076"/>
          <ac:spMkLst>
            <pc:docMk/>
            <pc:sldMk cId="1718909961" sldId="560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4:46.325" v="103" actId="1076"/>
          <ac:spMkLst>
            <pc:docMk/>
            <pc:sldMk cId="1718909961" sldId="560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4:46.309" v="100" actId="1076"/>
          <ac:spMkLst>
            <pc:docMk/>
            <pc:sldMk cId="1718909961" sldId="560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4:46.325" v="101" actId="1076"/>
          <ac:spMkLst>
            <pc:docMk/>
            <pc:sldMk cId="1718909961" sldId="560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4:16.683" v="97"/>
          <ac:spMkLst>
            <pc:docMk/>
            <pc:sldMk cId="1718909961" sldId="560"/>
            <ac:spMk id="47" creationId="{8AFED1E8-722F-4F9D-8B1C-DD0D8C1C324E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4:16.683" v="96"/>
          <ac:spMkLst>
            <pc:docMk/>
            <pc:sldMk cId="1718909961" sldId="560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4:31.152" v="99" actId="20577"/>
          <ac:spMkLst>
            <pc:docMk/>
            <pc:sldMk cId="1718909961" sldId="560"/>
            <ac:spMk id="50" creationId="{CAB885FA-46E1-44EF-8D19-C807FC349CC4}"/>
          </ac:spMkLst>
        </pc:spChg>
      </pc:sldChg>
      <pc:sldChg chg="delSp modSp">
        <pc:chgData name="Mery Carrasco Mauricio (Codelco-Casa Matriz)" userId="S::mmery004@codelco.cl::a0378191-74de-4d59-9b37-aa421303daba" providerId="AD" clId="Web-{820B093F-809B-BCD2-1789-794792997399}" dt="2021-08-03T22:55:26.466" v="115" actId="1076"/>
        <pc:sldMkLst>
          <pc:docMk/>
          <pc:sldMk cId="2710820077" sldId="562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55:26.466" v="114" actId="1076"/>
          <ac:spMkLst>
            <pc:docMk/>
            <pc:sldMk cId="2710820077" sldId="562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26.466" v="115" actId="1076"/>
          <ac:spMkLst>
            <pc:docMk/>
            <pc:sldMk cId="2710820077" sldId="562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26.451" v="112" actId="1076"/>
          <ac:spMkLst>
            <pc:docMk/>
            <pc:sldMk cId="2710820077" sldId="562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26.451" v="113" actId="1076"/>
          <ac:spMkLst>
            <pc:docMk/>
            <pc:sldMk cId="2710820077" sldId="562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26.435" v="110" actId="1076"/>
          <ac:spMkLst>
            <pc:docMk/>
            <pc:sldMk cId="2710820077" sldId="562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26.451" v="111" actId="1076"/>
          <ac:spMkLst>
            <pc:docMk/>
            <pc:sldMk cId="2710820077" sldId="562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5:06.450" v="107"/>
          <ac:spMkLst>
            <pc:docMk/>
            <pc:sldMk cId="2710820077" sldId="562"/>
            <ac:spMk id="47" creationId="{8AFED1E8-722F-4F9D-8B1C-DD0D8C1C324E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5:06.450" v="106"/>
          <ac:spMkLst>
            <pc:docMk/>
            <pc:sldMk cId="2710820077" sldId="562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10.841" v="109" actId="20577"/>
          <ac:spMkLst>
            <pc:docMk/>
            <pc:sldMk cId="2710820077" sldId="562"/>
            <ac:spMk id="50" creationId="{CAB885FA-46E1-44EF-8D19-C807FC349CC4}"/>
          </ac:spMkLst>
        </pc:spChg>
      </pc:sldChg>
      <pc:sldChg chg="del">
        <pc:chgData name="Mery Carrasco Mauricio (Codelco-Casa Matriz)" userId="S::mmery004@codelco.cl::a0378191-74de-4d59-9b37-aa421303daba" providerId="AD" clId="Web-{820B093F-809B-BCD2-1789-794792997399}" dt="2021-08-03T22:54:10.464" v="94"/>
        <pc:sldMkLst>
          <pc:docMk/>
          <pc:sldMk cId="2016978074" sldId="563"/>
        </pc:sldMkLst>
      </pc:sldChg>
      <pc:sldChg chg="addCm">
        <pc:chgData name="Mery Carrasco Mauricio (Codelco-Casa Matriz)" userId="S::mmery004@codelco.cl::a0378191-74de-4d59-9b37-aa421303daba" providerId="AD" clId="Web-{820B093F-809B-BCD2-1789-794792997399}" dt="2021-08-03T22:55:45.310" v="116"/>
        <pc:sldMkLst>
          <pc:docMk/>
          <pc:sldMk cId="513596260" sldId="564"/>
        </pc:sldMkLst>
      </pc:sldChg>
      <pc:sldChg chg="delSp modSp">
        <pc:chgData name="Mery Carrasco Mauricio (Codelco-Casa Matriz)" userId="S::mmery004@codelco.cl::a0378191-74de-4d59-9b37-aa421303daba" providerId="AD" clId="Web-{820B093F-809B-BCD2-1789-794792997399}" dt="2021-08-03T22:56:11.483" v="132" actId="1076"/>
        <pc:sldMkLst>
          <pc:docMk/>
          <pc:sldMk cId="662694252" sldId="565"/>
        </pc:sldMkLst>
        <pc:spChg chg="mod">
          <ac:chgData name="Mery Carrasco Mauricio (Codelco-Casa Matriz)" userId="S::mmery004@codelco.cl::a0378191-74de-4d59-9b37-aa421303daba" providerId="AD" clId="Web-{820B093F-809B-BCD2-1789-794792997399}" dt="2021-08-03T22:56:11.467" v="131" actId="1076"/>
          <ac:spMkLst>
            <pc:docMk/>
            <pc:sldMk cId="662694252" sldId="565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6:11.483" v="132" actId="1076"/>
          <ac:spMkLst>
            <pc:docMk/>
            <pc:sldMk cId="662694252" sldId="56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6:11.452" v="129" actId="1076"/>
          <ac:spMkLst>
            <pc:docMk/>
            <pc:sldMk cId="662694252" sldId="56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6:11.467" v="130" actId="1076"/>
          <ac:spMkLst>
            <pc:docMk/>
            <pc:sldMk cId="662694252" sldId="56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6:11.452" v="127" actId="1076"/>
          <ac:spMkLst>
            <pc:docMk/>
            <pc:sldMk cId="662694252" sldId="56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6:11.452" v="128" actId="1076"/>
          <ac:spMkLst>
            <pc:docMk/>
            <pc:sldMk cId="662694252" sldId="565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6:11.280" v="120"/>
          <ac:spMkLst>
            <pc:docMk/>
            <pc:sldMk cId="662694252" sldId="565"/>
            <ac:spMk id="47" creationId="{8AFED1E8-722F-4F9D-8B1C-DD0D8C1C324E}"/>
          </ac:spMkLst>
        </pc:spChg>
        <pc:spChg chg="del">
          <ac:chgData name="Mery Carrasco Mauricio (Codelco-Casa Matriz)" userId="S::mmery004@codelco.cl::a0378191-74de-4d59-9b37-aa421303daba" providerId="AD" clId="Web-{820B093F-809B-BCD2-1789-794792997399}" dt="2021-08-03T22:56:11.280" v="119"/>
          <ac:spMkLst>
            <pc:docMk/>
            <pc:sldMk cId="662694252" sldId="56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20B093F-809B-BCD2-1789-794792997399}" dt="2021-08-03T22:55:58.811" v="118" actId="20577"/>
          <ac:spMkLst>
            <pc:docMk/>
            <pc:sldMk cId="662694252" sldId="565"/>
            <ac:spMk id="50" creationId="{CAB885FA-46E1-44EF-8D19-C807FC349CC4}"/>
          </ac:spMkLst>
        </pc:spChg>
      </pc:sldChg>
    </pc:docChg>
  </pc:docChgLst>
  <pc:docChgLst>
    <pc:chgData name="Herrera Bustamante Cristian (Codelco-Casa Matriz)" userId="S::cherr058@codelco.cl::2c6d9cd6-c296-4612-8f6b-c05dbcd0c76b" providerId="AD" clId="Web-{9E0BD75B-B108-D665-D094-CB036DACA7D2}"/>
    <pc:docChg chg="modSld">
      <pc:chgData name="Herrera Bustamante Cristian (Codelco-Casa Matriz)" userId="S::cherr058@codelco.cl::2c6d9cd6-c296-4612-8f6b-c05dbcd0c76b" providerId="AD" clId="Web-{9E0BD75B-B108-D665-D094-CB036DACA7D2}" dt="2021-08-04T16:54:16.944" v="31" actId="20577"/>
      <pc:docMkLst>
        <pc:docMk/>
      </pc:docMkLst>
      <pc:sldChg chg="modSp">
        <pc:chgData name="Herrera Bustamante Cristian (Codelco-Casa Matriz)" userId="S::cherr058@codelco.cl::2c6d9cd6-c296-4612-8f6b-c05dbcd0c76b" providerId="AD" clId="Web-{9E0BD75B-B108-D665-D094-CB036DACA7D2}" dt="2021-08-04T16:54:16.944" v="31" actId="20577"/>
        <pc:sldMkLst>
          <pc:docMk/>
          <pc:sldMk cId="1775339418" sldId="440"/>
        </pc:sldMkLst>
        <pc:spChg chg="mod">
          <ac:chgData name="Herrera Bustamante Cristian (Codelco-Casa Matriz)" userId="S::cherr058@codelco.cl::2c6d9cd6-c296-4612-8f6b-c05dbcd0c76b" providerId="AD" clId="Web-{9E0BD75B-B108-D665-D094-CB036DACA7D2}" dt="2021-08-04T16:52:18.300" v="26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Herrera Bustamante Cristian (Codelco-Casa Matriz)" userId="S::cherr058@codelco.cl::2c6d9cd6-c296-4612-8f6b-c05dbcd0c76b" providerId="AD" clId="Web-{9E0BD75B-B108-D665-D094-CB036DACA7D2}" dt="2021-08-04T16:54:16.944" v="31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modSp">
        <pc:chgData name="Herrera Bustamante Cristian (Codelco-Casa Matriz)" userId="S::cherr058@codelco.cl::2c6d9cd6-c296-4612-8f6b-c05dbcd0c76b" providerId="AD" clId="Web-{9E0BD75B-B108-D665-D094-CB036DACA7D2}" dt="2021-08-04T16:30:47.913" v="3" actId="1076"/>
        <pc:sldMkLst>
          <pc:docMk/>
          <pc:sldMk cId="3434625331" sldId="575"/>
        </pc:sldMkLst>
        <pc:spChg chg="mod">
          <ac:chgData name="Herrera Bustamante Cristian (Codelco-Casa Matriz)" userId="S::cherr058@codelco.cl::2c6d9cd6-c296-4612-8f6b-c05dbcd0c76b" providerId="AD" clId="Web-{9E0BD75B-B108-D665-D094-CB036DACA7D2}" dt="2021-08-04T16:30:47.913" v="3" actId="1076"/>
          <ac:spMkLst>
            <pc:docMk/>
            <pc:sldMk cId="3434625331" sldId="575"/>
            <ac:spMk id="5" creationId="{D57101E3-207B-4809-B335-D526084CEA70}"/>
          </ac:spMkLst>
        </pc:spChg>
      </pc:sldChg>
      <pc:sldChg chg="delSp">
        <pc:chgData name="Herrera Bustamante Cristian (Codelco-Casa Matriz)" userId="S::cherr058@codelco.cl::2c6d9cd6-c296-4612-8f6b-c05dbcd0c76b" providerId="AD" clId="Web-{9E0BD75B-B108-D665-D094-CB036DACA7D2}" dt="2021-08-04T16:19:20.265" v="0"/>
        <pc:sldMkLst>
          <pc:docMk/>
          <pc:sldMk cId="2647087036" sldId="576"/>
        </pc:sldMkLst>
        <pc:spChg chg="del">
          <ac:chgData name="Herrera Bustamante Cristian (Codelco-Casa Matriz)" userId="S::cherr058@codelco.cl::2c6d9cd6-c296-4612-8f6b-c05dbcd0c76b" providerId="AD" clId="Web-{9E0BD75B-B108-D665-D094-CB036DACA7D2}" dt="2021-08-04T16:19:20.265" v="0"/>
          <ac:spMkLst>
            <pc:docMk/>
            <pc:sldMk cId="2647087036" sldId="576"/>
            <ac:spMk id="3" creationId="{4C48135C-FBA7-4FE0-AC63-CECB1BCE06BB}"/>
          </ac:spMkLst>
        </pc:spChg>
      </pc:sldChg>
    </pc:docChg>
  </pc:docChgLst>
  <pc:docChgLst>
    <pc:chgData name="Gonzalez Salas Fabian (Codelco-Casa Matriz)" userId="S::fgonz072@codelco.cl::a9649211-5e72-4b4e-8dfa-cd743f2f5996" providerId="AD" clId="Web-{83124983-BE70-E585-4F67-0A3A7E078284}"/>
    <pc:docChg chg="modSld">
      <pc:chgData name="Gonzalez Salas Fabian (Codelco-Casa Matriz)" userId="S::fgonz072@codelco.cl::a9649211-5e72-4b4e-8dfa-cd743f2f5996" providerId="AD" clId="Web-{83124983-BE70-E585-4F67-0A3A7E078284}" dt="2021-05-06T12:27:45.567" v="158" actId="14100"/>
      <pc:docMkLst>
        <pc:docMk/>
      </pc:docMkLst>
      <pc:sldChg chg="addSp delSp modSp">
        <pc:chgData name="Gonzalez Salas Fabian (Codelco-Casa Matriz)" userId="S::fgonz072@codelco.cl::a9649211-5e72-4b4e-8dfa-cd743f2f5996" providerId="AD" clId="Web-{83124983-BE70-E585-4F67-0A3A7E078284}" dt="2021-05-06T12:27:45.567" v="158" actId="14100"/>
        <pc:sldMkLst>
          <pc:docMk/>
          <pc:sldMk cId="889978394" sldId="492"/>
        </pc:sldMkLst>
        <pc:spChg chg="mod">
          <ac:chgData name="Gonzalez Salas Fabian (Codelco-Casa Matriz)" userId="S::fgonz072@codelco.cl::a9649211-5e72-4b4e-8dfa-cd743f2f5996" providerId="AD" clId="Web-{83124983-BE70-E585-4F67-0A3A7E078284}" dt="2021-05-06T12:23:00.827" v="59" actId="20577"/>
          <ac:spMkLst>
            <pc:docMk/>
            <pc:sldMk cId="889978394" sldId="492"/>
            <ac:spMk id="2" creationId="{727B74A5-D37A-4F3F-AD4A-C2E78C224FA6}"/>
          </ac:spMkLst>
        </pc:spChg>
        <pc:spChg chg="add mod">
          <ac:chgData name="Gonzalez Salas Fabian (Codelco-Casa Matriz)" userId="S::fgonz072@codelco.cl::a9649211-5e72-4b4e-8dfa-cd743f2f5996" providerId="AD" clId="Web-{83124983-BE70-E585-4F67-0A3A7E078284}" dt="2021-05-06T12:27:45.567" v="158" actId="14100"/>
          <ac:spMkLst>
            <pc:docMk/>
            <pc:sldMk cId="889978394" sldId="492"/>
            <ac:spMk id="5" creationId="{257A8F9C-8686-477B-BD4A-6138EA49161B}"/>
          </ac:spMkLst>
        </pc:spChg>
        <pc:spChg chg="add del">
          <ac:chgData name="Gonzalez Salas Fabian (Codelco-Casa Matriz)" userId="S::fgonz072@codelco.cl::a9649211-5e72-4b4e-8dfa-cd743f2f5996" providerId="AD" clId="Web-{83124983-BE70-E585-4F67-0A3A7E078284}" dt="2021-05-06T12:22:01.669" v="34"/>
          <ac:spMkLst>
            <pc:docMk/>
            <pc:sldMk cId="889978394" sldId="492"/>
            <ac:spMk id="6" creationId="{60D83D00-C7B5-4637-A52A-88EFBED5279E}"/>
          </ac:spMkLst>
        </pc:spChg>
        <pc:spChg chg="add mod">
          <ac:chgData name="Gonzalez Salas Fabian (Codelco-Casa Matriz)" userId="S::fgonz072@codelco.cl::a9649211-5e72-4b4e-8dfa-cd743f2f5996" providerId="AD" clId="Web-{83124983-BE70-E585-4F67-0A3A7E078284}" dt="2021-05-06T12:27:44.708" v="157" actId="14100"/>
          <ac:spMkLst>
            <pc:docMk/>
            <pc:sldMk cId="889978394" sldId="492"/>
            <ac:spMk id="33" creationId="{05DC4E6F-A758-494F-96BD-5BC36C5F8E30}"/>
          </ac:spMkLst>
        </pc:spChg>
        <pc:spChg chg="add del">
          <ac:chgData name="Gonzalez Salas Fabian (Codelco-Casa Matriz)" userId="S::fgonz072@codelco.cl::a9649211-5e72-4b4e-8dfa-cd743f2f5996" providerId="AD" clId="Web-{83124983-BE70-E585-4F67-0A3A7E078284}" dt="2021-05-06T12:26:44.316" v="123"/>
          <ac:spMkLst>
            <pc:docMk/>
            <pc:sldMk cId="889978394" sldId="492"/>
            <ac:spMk id="34" creationId="{8E97CB09-C7AB-4148-90E5-AA8076B0AB5F}"/>
          </ac:spMkLst>
        </pc:spChg>
        <pc:spChg chg="add mod">
          <ac:chgData name="Gonzalez Salas Fabian (Codelco-Casa Matriz)" userId="S::fgonz072@codelco.cl::a9649211-5e72-4b4e-8dfa-cd743f2f5996" providerId="AD" clId="Web-{83124983-BE70-E585-4F67-0A3A7E078284}" dt="2021-05-06T12:27:36.301" v="154" actId="14100"/>
          <ac:spMkLst>
            <pc:docMk/>
            <pc:sldMk cId="889978394" sldId="492"/>
            <ac:spMk id="35" creationId="{68DCC3C3-E8AC-4B00-9104-85429A820BB7}"/>
          </ac:spMkLst>
        </pc:spChg>
        <pc:spChg chg="add mod">
          <ac:chgData name="Gonzalez Salas Fabian (Codelco-Casa Matriz)" userId="S::fgonz072@codelco.cl::a9649211-5e72-4b4e-8dfa-cd743f2f5996" providerId="AD" clId="Web-{83124983-BE70-E585-4F67-0A3A7E078284}" dt="2021-05-06T12:27:44.599" v="155" actId="14100"/>
          <ac:spMkLst>
            <pc:docMk/>
            <pc:sldMk cId="889978394" sldId="492"/>
            <ac:spMk id="36" creationId="{9BB7ACBD-25DF-4DF3-B683-557812889123}"/>
          </ac:spMkLst>
        </pc:spChg>
        <pc:picChg chg="del">
          <ac:chgData name="Gonzalez Salas Fabian (Codelco-Casa Matriz)" userId="S::fgonz072@codelco.cl::a9649211-5e72-4b4e-8dfa-cd743f2f5996" providerId="AD" clId="Web-{83124983-BE70-E585-4F67-0A3A7E078284}" dt="2021-05-06T12:21:40.888" v="29"/>
          <ac:picMkLst>
            <pc:docMk/>
            <pc:sldMk cId="889978394" sldId="492"/>
            <ac:picMk id="10" creationId="{8E2FE320-1658-428C-B9B0-9599E55D0766}"/>
          </ac:picMkLst>
        </pc:picChg>
        <pc:picChg chg="del">
          <ac:chgData name="Gonzalez Salas Fabian (Codelco-Casa Matriz)" userId="S::fgonz072@codelco.cl::a9649211-5e72-4b4e-8dfa-cd743f2f5996" providerId="AD" clId="Web-{83124983-BE70-E585-4F67-0A3A7E078284}" dt="2021-05-06T12:21:40.935" v="31"/>
          <ac:picMkLst>
            <pc:docMk/>
            <pc:sldMk cId="889978394" sldId="492"/>
            <ac:picMk id="11" creationId="{01320BDE-31B0-4F19-A645-67A000CCF3B7}"/>
          </ac:picMkLst>
        </pc:picChg>
        <pc:picChg chg="del">
          <ac:chgData name="Gonzalez Salas Fabian (Codelco-Casa Matriz)" userId="S::fgonz072@codelco.cl::a9649211-5e72-4b4e-8dfa-cd743f2f5996" providerId="AD" clId="Web-{83124983-BE70-E585-4F67-0A3A7E078284}" dt="2021-05-06T12:21:40.919" v="30"/>
          <ac:picMkLst>
            <pc:docMk/>
            <pc:sldMk cId="889978394" sldId="492"/>
            <ac:picMk id="12" creationId="{AD1220C4-0E1D-4A6E-9F96-466ACFF59D47}"/>
          </ac:picMkLst>
        </pc:picChg>
        <pc:picChg chg="del">
          <ac:chgData name="Gonzalez Salas Fabian (Codelco-Casa Matriz)" userId="S::fgonz072@codelco.cl::a9649211-5e72-4b4e-8dfa-cd743f2f5996" providerId="AD" clId="Web-{83124983-BE70-E585-4F67-0A3A7E078284}" dt="2021-05-06T12:21:32.481" v="27"/>
          <ac:picMkLst>
            <pc:docMk/>
            <pc:sldMk cId="889978394" sldId="492"/>
            <ac:picMk id="15" creationId="{093AD648-7222-4CC0-A6A0-F9D50FAC9AFE}"/>
          </ac:picMkLst>
        </pc:picChg>
        <pc:picChg chg="del">
          <ac:chgData name="Gonzalez Salas Fabian (Codelco-Casa Matriz)" userId="S::fgonz072@codelco.cl::a9649211-5e72-4b4e-8dfa-cd743f2f5996" providerId="AD" clId="Web-{83124983-BE70-E585-4F67-0A3A7E078284}" dt="2021-05-06T12:24:18.610" v="60"/>
          <ac:picMkLst>
            <pc:docMk/>
            <pc:sldMk cId="889978394" sldId="492"/>
            <ac:picMk id="16" creationId="{951A7D72-177A-4E6F-AE2E-B7DFCDE47412}"/>
          </ac:picMkLst>
        </pc:picChg>
        <pc:picChg chg="del">
          <ac:chgData name="Gonzalez Salas Fabian (Codelco-Casa Matriz)" userId="S::fgonz072@codelco.cl::a9649211-5e72-4b4e-8dfa-cd743f2f5996" providerId="AD" clId="Web-{83124983-BE70-E585-4F67-0A3A7E078284}" dt="2021-05-06T12:21:40.825" v="28"/>
          <ac:picMkLst>
            <pc:docMk/>
            <pc:sldMk cId="889978394" sldId="492"/>
            <ac:picMk id="17" creationId="{4228DA34-31DF-4BE3-A0AC-D59FB7604CBE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182" v="20" actId="1076"/>
          <ac:picMkLst>
            <pc:docMk/>
            <pc:sldMk cId="889978394" sldId="492"/>
            <ac:picMk id="21" creationId="{DB872588-F3C7-4389-9799-92B031108B4D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182" v="21" actId="1076"/>
          <ac:picMkLst>
            <pc:docMk/>
            <pc:sldMk cId="889978394" sldId="492"/>
            <ac:picMk id="22" creationId="{92817772-A3D2-46B2-A33B-169877A09E1D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182" v="22" actId="1076"/>
          <ac:picMkLst>
            <pc:docMk/>
            <pc:sldMk cId="889978394" sldId="492"/>
            <ac:picMk id="28" creationId="{722FBAD4-34BE-4B9F-8E2B-BB7FE70B0DAA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197" v="23" actId="1076"/>
          <ac:picMkLst>
            <pc:docMk/>
            <pc:sldMk cId="889978394" sldId="492"/>
            <ac:picMk id="29" creationId="{9340E904-E3CE-4113-B075-1F5D932C6153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197" v="24" actId="1076"/>
          <ac:picMkLst>
            <pc:docMk/>
            <pc:sldMk cId="889978394" sldId="492"/>
            <ac:picMk id="30" creationId="{2EA8F2F3-8AC7-44A0-93F3-A882606A9531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197" v="25" actId="1076"/>
          <ac:picMkLst>
            <pc:docMk/>
            <pc:sldMk cId="889978394" sldId="492"/>
            <ac:picMk id="31" creationId="{5949F3ED-D2F1-46C1-8FED-3933C03DC918}"/>
          </ac:picMkLst>
        </pc:picChg>
        <pc:picChg chg="add mod">
          <ac:chgData name="Gonzalez Salas Fabian (Codelco-Casa Matriz)" userId="S::fgonz072@codelco.cl::a9649211-5e72-4b4e-8dfa-cd743f2f5996" providerId="AD" clId="Web-{83124983-BE70-E585-4F67-0A3A7E078284}" dt="2021-05-06T12:19:16.213" v="26" actId="1076"/>
          <ac:picMkLst>
            <pc:docMk/>
            <pc:sldMk cId="889978394" sldId="492"/>
            <ac:picMk id="32" creationId="{E56B46EE-643D-4CF7-863F-8DD9253903BC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CBE2DF19-6901-51BD-D8FA-B7FAB96BE114}"/>
    <pc:docChg chg="addSld delSld modSld">
      <pc:chgData name="Mery Carrasco Mauricio (Codelco-Casa Matriz)" userId="S::mmery004@codelco.cl::a0378191-74de-4d59-9b37-aa421303daba" providerId="AD" clId="Web-{CBE2DF19-6901-51BD-D8FA-B7FAB96BE114}" dt="2020-11-05T13:45:35.946" v="65"/>
      <pc:docMkLst>
        <pc:docMk/>
      </pc:docMkLst>
      <pc:sldChg chg="modSp">
        <pc:chgData name="Mery Carrasco Mauricio (Codelco-Casa Matriz)" userId="S::mmery004@codelco.cl::a0378191-74de-4d59-9b37-aa421303daba" providerId="AD" clId="Web-{CBE2DF19-6901-51BD-D8FA-B7FAB96BE114}" dt="2020-11-05T13:28:56.609" v="25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CBE2DF19-6901-51BD-D8FA-B7FAB96BE114}" dt="2020-11-05T13:28:56.609" v="25" actId="20577"/>
          <ac:spMkLst>
            <pc:docMk/>
            <pc:sldMk cId="1259302253" sldId="353"/>
            <ac:spMk id="11" creationId="{DB92C4CF-7AC4-4BFA-9A29-156AEC1C5231}"/>
          </ac:spMkLst>
        </pc:spChg>
      </pc:sldChg>
      <pc:sldChg chg="modSp">
        <pc:chgData name="Mery Carrasco Mauricio (Codelco-Casa Matriz)" userId="S::mmery004@codelco.cl::a0378191-74de-4d59-9b37-aa421303daba" providerId="AD" clId="Web-{CBE2DF19-6901-51BD-D8FA-B7FAB96BE114}" dt="2020-11-05T13:35:01.540" v="62" actId="20577"/>
        <pc:sldMkLst>
          <pc:docMk/>
          <pc:sldMk cId="1943212446" sldId="416"/>
        </pc:sldMkLst>
        <pc:spChg chg="mod">
          <ac:chgData name="Mery Carrasco Mauricio (Codelco-Casa Matriz)" userId="S::mmery004@codelco.cl::a0378191-74de-4d59-9b37-aa421303daba" providerId="AD" clId="Web-{CBE2DF19-6901-51BD-D8FA-B7FAB96BE114}" dt="2020-11-05T13:29:54.157" v="42" actId="20577"/>
          <ac:spMkLst>
            <pc:docMk/>
            <pc:sldMk cId="1943212446" sldId="416"/>
            <ac:spMk id="17" creationId="{9C4C5E3E-6150-4685-BEAC-9E2042B17D9D}"/>
          </ac:spMkLst>
        </pc:spChg>
        <pc:spChg chg="mod">
          <ac:chgData name="Mery Carrasco Mauricio (Codelco-Casa Matriz)" userId="S::mmery004@codelco.cl::a0378191-74de-4d59-9b37-aa421303daba" providerId="AD" clId="Web-{CBE2DF19-6901-51BD-D8FA-B7FAB96BE114}" dt="2020-11-05T13:35:01.540" v="62" actId="20577"/>
          <ac:spMkLst>
            <pc:docMk/>
            <pc:sldMk cId="1943212446" sldId="416"/>
            <ac:spMk id="26" creationId="{C05AF7CA-BE06-4010-A753-779C63F68D58}"/>
          </ac:spMkLst>
        </pc:spChg>
      </pc:sldChg>
      <pc:sldChg chg="del">
        <pc:chgData name="Mery Carrasco Mauricio (Codelco-Casa Matriz)" userId="S::mmery004@codelco.cl::a0378191-74de-4d59-9b37-aa421303daba" providerId="AD" clId="Web-{CBE2DF19-6901-51BD-D8FA-B7FAB96BE114}" dt="2020-11-05T13:45:35.946" v="65"/>
        <pc:sldMkLst>
          <pc:docMk/>
          <pc:sldMk cId="2145969823" sldId="422"/>
        </pc:sldMkLst>
      </pc:sldChg>
      <pc:sldChg chg="add">
        <pc:chgData name="Mery Carrasco Mauricio (Codelco-Casa Matriz)" userId="S::mmery004@codelco.cl::a0378191-74de-4d59-9b37-aa421303daba" providerId="AD" clId="Web-{CBE2DF19-6901-51BD-D8FA-B7FAB96BE114}" dt="2020-11-05T13:45:14.133" v="64"/>
        <pc:sldMkLst>
          <pc:docMk/>
          <pc:sldMk cId="595306389" sldId="427"/>
        </pc:sldMkLst>
      </pc:sldChg>
    </pc:docChg>
  </pc:docChgLst>
  <pc:docChgLst>
    <pc:chgData name="Mery Carrasco Mauricio (Codelco-Casa Matriz)" userId="S::mmery004@codelco.cl::a0378191-74de-4d59-9b37-aa421303daba" providerId="AD" clId="Web-{ED19217C-6BF9-F55A-0F5C-F9DAC7EE30D5}"/>
    <pc:docChg chg="addSld delSld modSld sldOrd addMainMaster">
      <pc:chgData name="Mery Carrasco Mauricio (Codelco-Casa Matriz)" userId="S::mmery004@codelco.cl::a0378191-74de-4d59-9b37-aa421303daba" providerId="AD" clId="Web-{ED19217C-6BF9-F55A-0F5C-F9DAC7EE30D5}" dt="2021-06-30T15:53:02.603" v="305" actId="20577"/>
      <pc:docMkLst>
        <pc:docMk/>
      </pc:docMkLst>
      <pc:sldChg chg="modSp">
        <pc:chgData name="Mery Carrasco Mauricio (Codelco-Casa Matriz)" userId="S::mmery004@codelco.cl::a0378191-74de-4d59-9b37-aa421303daba" providerId="AD" clId="Web-{ED19217C-6BF9-F55A-0F5C-F9DAC7EE30D5}" dt="2021-06-30T15:26:51.172" v="54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ED19217C-6BF9-F55A-0F5C-F9DAC7EE30D5}" dt="2021-06-30T15:26:51.172" v="54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del">
        <pc:chgData name="Mery Carrasco Mauricio (Codelco-Casa Matriz)" userId="S::mmery004@codelco.cl::a0378191-74de-4d59-9b37-aa421303daba" providerId="AD" clId="Web-{ED19217C-6BF9-F55A-0F5C-F9DAC7EE30D5}" dt="2021-06-30T15:25:50.246" v="51"/>
        <pc:sldMkLst>
          <pc:docMk/>
          <pc:sldMk cId="772336465" sldId="346"/>
        </pc:sldMkLst>
      </pc:sldChg>
      <pc:sldChg chg="addSp modSp">
        <pc:chgData name="Mery Carrasco Mauricio (Codelco-Casa Matriz)" userId="S::mmery004@codelco.cl::a0378191-74de-4d59-9b37-aa421303daba" providerId="AD" clId="Web-{ED19217C-6BF9-F55A-0F5C-F9DAC7EE30D5}" dt="2021-06-30T15:24:30.053" v="50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ED19217C-6BF9-F55A-0F5C-F9DAC7EE30D5}" dt="2021-06-30T15:22:20.873" v="15" actId="20577"/>
          <ac:spMkLst>
            <pc:docMk/>
            <pc:sldMk cId="2155997825" sldId="375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3:19.626" v="25" actId="20577"/>
          <ac:spMkLst>
            <pc:docMk/>
            <pc:sldMk cId="2155997825" sldId="375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2:35.858" v="17" actId="20577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3:33.737" v="28" actId="20577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4:16.333" v="46" actId="20577"/>
          <ac:spMkLst>
            <pc:docMk/>
            <pc:sldMk cId="2155997825" sldId="375"/>
            <ac:spMk id="30" creationId="{FC6F8EAE-BF9D-4CD4-A556-34E7503884BF}"/>
          </ac:spMkLst>
        </pc:spChg>
        <pc:spChg chg="add mod">
          <ac:chgData name="Mery Carrasco Mauricio (Codelco-Casa Matriz)" userId="S::mmery004@codelco.cl::a0378191-74de-4d59-9b37-aa421303daba" providerId="AD" clId="Web-{ED19217C-6BF9-F55A-0F5C-F9DAC7EE30D5}" dt="2021-06-30T15:19:12.407" v="3" actId="1076"/>
          <ac:spMkLst>
            <pc:docMk/>
            <pc:sldMk cId="2155997825" sldId="375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4:16.161" v="43" actId="20577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4:02.051" v="40"/>
          <ac:spMkLst>
            <pc:docMk/>
            <pc:sldMk cId="2155997825" sldId="375"/>
            <ac:spMk id="34" creationId="{4D6685A8-C632-4230-9E08-284878417DE5}"/>
          </ac:spMkLst>
        </pc:spChg>
        <pc:spChg chg="add mod">
          <ac:chgData name="Mery Carrasco Mauricio (Codelco-Casa Matriz)" userId="S::mmery004@codelco.cl::a0378191-74de-4d59-9b37-aa421303daba" providerId="AD" clId="Web-{ED19217C-6BF9-F55A-0F5C-F9DAC7EE30D5}" dt="2021-06-30T15:21:52.152" v="8" actId="1076"/>
          <ac:spMkLst>
            <pc:docMk/>
            <pc:sldMk cId="2155997825" sldId="375"/>
            <ac:spMk id="35" creationId="{7E1174E0-6994-428E-A1D9-F5DD894C8BC8}"/>
          </ac:spMkLst>
        </pc:spChg>
        <pc:spChg chg="add mod">
          <ac:chgData name="Mery Carrasco Mauricio (Codelco-Casa Matriz)" userId="S::mmery004@codelco.cl::a0378191-74de-4d59-9b37-aa421303daba" providerId="AD" clId="Web-{ED19217C-6BF9-F55A-0F5C-F9DAC7EE30D5}" dt="2021-06-30T15:22:50.687" v="21" actId="1076"/>
          <ac:spMkLst>
            <pc:docMk/>
            <pc:sldMk cId="2155997825" sldId="375"/>
            <ac:spMk id="36" creationId="{0BFBA08B-FE84-4038-81E0-1E030F6F918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3:48.410" v="39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18:58.328" v="1" actId="20577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4:30.053" v="50" actId="20577"/>
          <ac:spMkLst>
            <pc:docMk/>
            <pc:sldMk cId="2155997825" sldId="37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3:47.941" v="36" actId="20577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2:20.701" v="13" actId="20577"/>
          <ac:spMkLst>
            <pc:docMk/>
            <pc:sldMk cId="2155997825" sldId="375"/>
            <ac:spMk id="50" creationId="{CAB885FA-46E1-44EF-8D19-C807FC349CC4}"/>
          </ac:spMkLst>
        </pc:spChg>
      </pc:sldChg>
      <pc:sldChg chg="addSp delSp modSp">
        <pc:chgData name="Mery Carrasco Mauricio (Codelco-Casa Matriz)" userId="S::mmery004@codelco.cl::a0378191-74de-4d59-9b37-aa421303daba" providerId="AD" clId="Web-{ED19217C-6BF9-F55A-0F5C-F9DAC7EE30D5}" dt="2021-06-30T15:51:59.521" v="299" actId="1076"/>
        <pc:sldMkLst>
          <pc:docMk/>
          <pc:sldMk cId="1544981574" sldId="409"/>
        </pc:sldMkLst>
        <pc:spChg chg="add mod">
          <ac:chgData name="Mery Carrasco Mauricio (Codelco-Casa Matriz)" userId="S::mmery004@codelco.cl::a0378191-74de-4d59-9b37-aa421303daba" providerId="AD" clId="Web-{ED19217C-6BF9-F55A-0F5C-F9DAC7EE30D5}" dt="2021-06-30T15:51:59.521" v="299" actId="1076"/>
          <ac:spMkLst>
            <pc:docMk/>
            <pc:sldMk cId="1544981574" sldId="409"/>
            <ac:spMk id="2" creationId="{8AAD5BFB-6D48-41AA-A2AB-CA4CAA3DEBAD}"/>
          </ac:spMkLst>
        </pc:spChg>
        <pc:spChg chg="add del">
          <ac:chgData name="Mery Carrasco Mauricio (Codelco-Casa Matriz)" userId="S::mmery004@codelco.cl::a0378191-74de-4d59-9b37-aa421303daba" providerId="AD" clId="Web-{ED19217C-6BF9-F55A-0F5C-F9DAC7EE30D5}" dt="2021-06-30T15:50:54.251" v="277"/>
          <ac:spMkLst>
            <pc:docMk/>
            <pc:sldMk cId="1544981574" sldId="409"/>
            <ac:spMk id="3" creationId="{B10FB00C-721E-499D-986A-C4612C75B13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9:55.904" v="273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8:39.289" v="261" actId="20577"/>
          <ac:spMkLst>
            <pc:docMk/>
            <pc:sldMk cId="1544981574" sldId="409"/>
            <ac:spMk id="21" creationId="{839346A3-1820-4C50-8F02-466E51D4A4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50:18.452" v="274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8:38.961" v="260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8:41.086" v="265" actId="20577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8:21.944" v="258" actId="20577"/>
          <ac:spMkLst>
            <pc:docMk/>
            <pc:sldMk cId="1544981574" sldId="409"/>
            <ac:spMk id="31" creationId="{0F0C68C8-7E5C-4702-92C2-12695702903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9:15.760" v="268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8:38.649" v="259" actId="20577"/>
          <ac:spMkLst>
            <pc:docMk/>
            <pc:sldMk cId="1544981574" sldId="409"/>
            <ac:spMk id="41" creationId="{79B6483E-7060-4A55-A8F4-C7DD2AF3826E}"/>
          </ac:spMkLst>
        </pc:spChg>
      </pc:sldChg>
      <pc:sldChg chg="del">
        <pc:chgData name="Mery Carrasco Mauricio (Codelco-Casa Matriz)" userId="S::mmery004@codelco.cl::a0378191-74de-4d59-9b37-aa421303daba" providerId="AD" clId="Web-{ED19217C-6BF9-F55A-0F5C-F9DAC7EE30D5}" dt="2021-06-30T15:28:54.586" v="85"/>
        <pc:sldMkLst>
          <pc:docMk/>
          <pc:sldMk cId="1655563711" sldId="519"/>
        </pc:sldMkLst>
      </pc:sldChg>
      <pc:sldChg chg="del">
        <pc:chgData name="Mery Carrasco Mauricio (Codelco-Casa Matriz)" userId="S::mmery004@codelco.cl::a0378191-74de-4d59-9b37-aa421303daba" providerId="AD" clId="Web-{ED19217C-6BF9-F55A-0F5C-F9DAC7EE30D5}" dt="2021-06-30T15:27:46.957" v="68"/>
        <pc:sldMkLst>
          <pc:docMk/>
          <pc:sldMk cId="2219402378" sldId="520"/>
        </pc:sldMkLst>
      </pc:sldChg>
      <pc:sldChg chg="delSp modSp add replId">
        <pc:chgData name="Mery Carrasco Mauricio (Codelco-Casa Matriz)" userId="S::mmery004@codelco.cl::a0378191-74de-4d59-9b37-aa421303daba" providerId="AD" clId="Web-{ED19217C-6BF9-F55A-0F5C-F9DAC7EE30D5}" dt="2021-06-30T15:28:21.131" v="82"/>
        <pc:sldMkLst>
          <pc:docMk/>
          <pc:sldMk cId="487958714" sldId="521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27:26.846" v="67"/>
          <ac:spMkLst>
            <pc:docMk/>
            <pc:sldMk cId="487958714" sldId="521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817" v="73"/>
          <ac:spMkLst>
            <pc:docMk/>
            <pc:sldMk cId="487958714" sldId="521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115" v="80"/>
          <ac:spMkLst>
            <pc:docMk/>
            <pc:sldMk cId="487958714" sldId="521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848" v="75"/>
          <ac:spMkLst>
            <pc:docMk/>
            <pc:sldMk cId="487958714" sldId="521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26.846" v="66"/>
          <ac:spMkLst>
            <pc:docMk/>
            <pc:sldMk cId="487958714" sldId="521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26.846" v="65"/>
          <ac:spMkLst>
            <pc:docMk/>
            <pc:sldMk cId="487958714" sldId="521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131" v="82"/>
          <ac:spMkLst>
            <pc:docMk/>
            <pc:sldMk cId="487958714" sldId="521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09.345" v="63"/>
          <ac:spMkLst>
            <pc:docMk/>
            <pc:sldMk cId="487958714" sldId="521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09.345" v="60"/>
          <ac:spMkLst>
            <pc:docMk/>
            <pc:sldMk cId="487958714" sldId="521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833" v="74"/>
          <ac:spMkLst>
            <pc:docMk/>
            <pc:sldMk cId="487958714" sldId="521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09.345" v="62"/>
          <ac:spMkLst>
            <pc:docMk/>
            <pc:sldMk cId="487958714" sldId="521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131" v="81"/>
          <ac:spMkLst>
            <pc:docMk/>
            <pc:sldMk cId="487958714" sldId="521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09.063" v="56"/>
          <ac:spMkLst>
            <pc:docMk/>
            <pc:sldMk cId="487958714" sldId="521"/>
            <ac:spMk id="35" creationId="{7E1174E0-6994-428E-A1D9-F5DD894C8BC8}"/>
          </ac:spMkLst>
        </pc:spChg>
        <pc:spChg chg="del mod">
          <ac:chgData name="Mery Carrasco Mauricio (Codelco-Casa Matriz)" userId="S::mmery004@codelco.cl::a0378191-74de-4d59-9b37-aa421303daba" providerId="AD" clId="Web-{ED19217C-6BF9-F55A-0F5C-F9DAC7EE30D5}" dt="2021-06-30T15:27:09.313" v="59"/>
          <ac:spMkLst>
            <pc:docMk/>
            <pc:sldMk cId="487958714" sldId="521"/>
            <ac:spMk id="36" creationId="{0BFBA08B-FE84-4038-81E0-1E030F6F918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786" v="69"/>
          <ac:spMkLst>
            <pc:docMk/>
            <pc:sldMk cId="487958714" sldId="521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068" v="76"/>
          <ac:spMkLst>
            <pc:docMk/>
            <pc:sldMk cId="487958714" sldId="521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26.846" v="64"/>
          <ac:spMkLst>
            <pc:docMk/>
            <pc:sldMk cId="487958714" sldId="521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786" v="70"/>
          <ac:spMkLst>
            <pc:docMk/>
            <pc:sldMk cId="487958714" sldId="521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084" v="77"/>
          <ac:spMkLst>
            <pc:docMk/>
            <pc:sldMk cId="487958714" sldId="521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7:09.345" v="61"/>
          <ac:spMkLst>
            <pc:docMk/>
            <pc:sldMk cId="487958714" sldId="521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801" v="71"/>
          <ac:spMkLst>
            <pc:docMk/>
            <pc:sldMk cId="487958714" sldId="521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084" v="78"/>
          <ac:spMkLst>
            <pc:docMk/>
            <pc:sldMk cId="487958714" sldId="521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02.817" v="72"/>
          <ac:spMkLst>
            <pc:docMk/>
            <pc:sldMk cId="487958714" sldId="521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28:21.099" v="79"/>
          <ac:spMkLst>
            <pc:docMk/>
            <pc:sldMk cId="487958714" sldId="521"/>
            <ac:spMk id="51" creationId="{F913A60D-2783-4406-9452-4739CB932FC8}"/>
          </ac:spMkLst>
        </pc:spChg>
      </pc:sldChg>
      <pc:sldChg chg="delSp modSp add ord replId">
        <pc:chgData name="Mery Carrasco Mauricio (Codelco-Casa Matriz)" userId="S::mmery004@codelco.cl::a0378191-74de-4d59-9b37-aa421303daba" providerId="AD" clId="Web-{ED19217C-6BF9-F55A-0F5C-F9DAC7EE30D5}" dt="2021-06-30T15:31:05.532" v="117"/>
        <pc:sldMkLst>
          <pc:docMk/>
          <pc:sldMk cId="2892333405" sldId="522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30:36.952" v="103"/>
          <ac:spMkLst>
            <pc:docMk/>
            <pc:sldMk cId="2892333405" sldId="522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37" v="108"/>
          <ac:spMkLst>
            <pc:docMk/>
            <pc:sldMk cId="2892333405" sldId="522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517" v="115"/>
          <ac:spMkLst>
            <pc:docMk/>
            <pc:sldMk cId="2892333405" sldId="522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53" v="110"/>
          <ac:spMkLst>
            <pc:docMk/>
            <pc:sldMk cId="2892333405" sldId="522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36.952" v="102"/>
          <ac:spMkLst>
            <pc:docMk/>
            <pc:sldMk cId="2892333405" sldId="522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36.952" v="101"/>
          <ac:spMkLst>
            <pc:docMk/>
            <pc:sldMk cId="2892333405" sldId="522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532" v="117"/>
          <ac:spMkLst>
            <pc:docMk/>
            <pc:sldMk cId="2892333405" sldId="522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23.389" v="99"/>
          <ac:spMkLst>
            <pc:docMk/>
            <pc:sldMk cId="2892333405" sldId="522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23.389" v="96"/>
          <ac:spMkLst>
            <pc:docMk/>
            <pc:sldMk cId="2892333405" sldId="522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53" v="109"/>
          <ac:spMkLst>
            <pc:docMk/>
            <pc:sldMk cId="2892333405" sldId="522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23.389" v="98"/>
          <ac:spMkLst>
            <pc:docMk/>
            <pc:sldMk cId="2892333405" sldId="522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517" v="116"/>
          <ac:spMkLst>
            <pc:docMk/>
            <pc:sldMk cId="2892333405" sldId="522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8:54.992" v="86"/>
          <ac:spMkLst>
            <pc:docMk/>
            <pc:sldMk cId="2892333405" sldId="522"/>
            <ac:spMk id="35" creationId="{7E1174E0-6994-428E-A1D9-F5DD894C8BC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8:56.227" v="87"/>
          <ac:spMkLst>
            <pc:docMk/>
            <pc:sldMk cId="2892333405" sldId="522"/>
            <ac:spMk id="36" creationId="{0BFBA08B-FE84-4038-81E0-1E030F6F918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22" v="104"/>
          <ac:spMkLst>
            <pc:docMk/>
            <pc:sldMk cId="2892333405" sldId="522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470" v="111"/>
          <ac:spMkLst>
            <pc:docMk/>
            <pc:sldMk cId="2892333405" sldId="522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36.952" v="100"/>
          <ac:spMkLst>
            <pc:docMk/>
            <pc:sldMk cId="2892333405" sldId="522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37" v="106"/>
          <ac:spMkLst>
            <pc:docMk/>
            <pc:sldMk cId="2892333405" sldId="522"/>
            <ac:spMk id="41" creationId="{DE907C1A-0FFF-4431-94AA-1E9BD4429219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0:23.389" v="97"/>
          <ac:spMkLst>
            <pc:docMk/>
            <pc:sldMk cId="2892333405" sldId="522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501" v="113"/>
          <ac:spMkLst>
            <pc:docMk/>
            <pc:sldMk cId="2892333405" sldId="522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22" v="105"/>
          <ac:spMkLst>
            <pc:docMk/>
            <pc:sldMk cId="2892333405" sldId="522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485" v="112"/>
          <ac:spMkLst>
            <pc:docMk/>
            <pc:sldMk cId="2892333405" sldId="522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0:50.937" v="107"/>
          <ac:spMkLst>
            <pc:docMk/>
            <pc:sldMk cId="2892333405" sldId="522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1:05.501" v="114"/>
          <ac:spMkLst>
            <pc:docMk/>
            <pc:sldMk cId="2892333405" sldId="522"/>
            <ac:spMk id="51" creationId="{F913A60D-2783-4406-9452-4739CB932FC8}"/>
          </ac:spMkLst>
        </pc:spChg>
      </pc:sldChg>
      <pc:sldChg chg="delSp modSp add replId">
        <pc:chgData name="Mery Carrasco Mauricio (Codelco-Casa Matriz)" userId="S::mmery004@codelco.cl::a0378191-74de-4d59-9b37-aa421303daba" providerId="AD" clId="Web-{ED19217C-6BF9-F55A-0F5C-F9DAC7EE30D5}" dt="2021-06-30T15:34:02.341" v="144"/>
        <pc:sldMkLst>
          <pc:docMk/>
          <pc:sldMk cId="3182901359" sldId="523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34:01.153" v="143"/>
          <ac:spMkLst>
            <pc:docMk/>
            <pc:sldMk cId="3182901359" sldId="523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65" v="127"/>
          <ac:spMkLst>
            <pc:docMk/>
            <pc:sldMk cId="3182901359" sldId="523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59" v="134"/>
          <ac:spMkLst>
            <pc:docMk/>
            <pc:sldMk cId="3182901359" sldId="523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80" v="129"/>
          <ac:spMkLst>
            <pc:docMk/>
            <pc:sldMk cId="3182901359" sldId="523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1.153" v="142"/>
          <ac:spMkLst>
            <pc:docMk/>
            <pc:sldMk cId="3182901359" sldId="523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1.153" v="141"/>
          <ac:spMkLst>
            <pc:docMk/>
            <pc:sldMk cId="3182901359" sldId="523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75" v="136"/>
          <ac:spMkLst>
            <pc:docMk/>
            <pc:sldMk cId="3182901359" sldId="523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1.153" v="140"/>
          <ac:spMkLst>
            <pc:docMk/>
            <pc:sldMk cId="3182901359" sldId="523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1.153" v="137"/>
          <ac:spMkLst>
            <pc:docMk/>
            <pc:sldMk cId="3182901359" sldId="523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80" v="128"/>
          <ac:spMkLst>
            <pc:docMk/>
            <pc:sldMk cId="3182901359" sldId="523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1.153" v="139"/>
          <ac:spMkLst>
            <pc:docMk/>
            <pc:sldMk cId="3182901359" sldId="523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75" v="135"/>
          <ac:spMkLst>
            <pc:docMk/>
            <pc:sldMk cId="3182901359" sldId="523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18" v="123"/>
          <ac:spMkLst>
            <pc:docMk/>
            <pc:sldMk cId="3182901359" sldId="523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12" v="130"/>
          <ac:spMkLst>
            <pc:docMk/>
            <pc:sldMk cId="3182901359" sldId="523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1.153" v="138"/>
          <ac:spMkLst>
            <pc:docMk/>
            <pc:sldMk cId="3182901359" sldId="523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49" v="126"/>
          <ac:spMkLst>
            <pc:docMk/>
            <pc:sldMk cId="3182901359" sldId="523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33" v="124"/>
          <ac:spMkLst>
            <pc:docMk/>
            <pc:sldMk cId="3182901359" sldId="523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28" v="131"/>
          <ac:spMkLst>
            <pc:docMk/>
            <pc:sldMk cId="3182901359" sldId="523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4:02.341" v="144"/>
          <ac:spMkLst>
            <pc:docMk/>
            <pc:sldMk cId="3182901359" sldId="523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44" v="133"/>
          <ac:spMkLst>
            <pc:docMk/>
            <pc:sldMk cId="3182901359" sldId="523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3:45.933" v="125"/>
          <ac:spMkLst>
            <pc:docMk/>
            <pc:sldMk cId="3182901359" sldId="523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01.044" v="132"/>
          <ac:spMkLst>
            <pc:docMk/>
            <pc:sldMk cId="3182901359" sldId="523"/>
            <ac:spMk id="48" creationId="{62444E91-07F2-4258-A080-F0F76AFF8F81}"/>
          </ac:spMkLst>
        </pc:spChg>
      </pc:sldChg>
      <pc:sldChg chg="delSp modSp add replId">
        <pc:chgData name="Mery Carrasco Mauricio (Codelco-Casa Matriz)" userId="S::mmery004@codelco.cl::a0378191-74de-4d59-9b37-aa421303daba" providerId="AD" clId="Web-{ED19217C-6BF9-F55A-0F5C-F9DAC7EE30D5}" dt="2021-06-30T15:35:28.409" v="168"/>
        <pc:sldMkLst>
          <pc:docMk/>
          <pc:sldMk cId="2010855279" sldId="524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35:28.409" v="168"/>
          <ac:spMkLst>
            <pc:docMk/>
            <pc:sldMk cId="2010855279" sldId="524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329" v="153"/>
          <ac:spMkLst>
            <pc:docMk/>
            <pc:sldMk cId="2010855279" sldId="524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7"/>
          <ac:spMkLst>
            <pc:docMk/>
            <pc:sldMk cId="2010855279" sldId="524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6"/>
          <ac:spMkLst>
            <pc:docMk/>
            <pc:sldMk cId="2010855279" sldId="524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2.033" v="160"/>
          <ac:spMkLst>
            <pc:docMk/>
            <pc:sldMk cId="2010855279" sldId="524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5"/>
          <ac:spMkLst>
            <pc:docMk/>
            <pc:sldMk cId="2010855279" sldId="524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1"/>
          <ac:spMkLst>
            <pc:docMk/>
            <pc:sldMk cId="2010855279" sldId="524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313" v="152"/>
          <ac:spMkLst>
            <pc:docMk/>
            <pc:sldMk cId="2010855279" sldId="524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4"/>
          <ac:spMkLst>
            <pc:docMk/>
            <pc:sldMk cId="2010855279" sldId="524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2.017" v="159"/>
          <ac:spMkLst>
            <pc:docMk/>
            <pc:sldMk cId="2010855279" sldId="524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251" v="147"/>
          <ac:spMkLst>
            <pc:docMk/>
            <pc:sldMk cId="2010855279" sldId="524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1.955" v="154"/>
          <ac:spMkLst>
            <pc:docMk/>
            <pc:sldMk cId="2010855279" sldId="524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3"/>
          <ac:spMkLst>
            <pc:docMk/>
            <pc:sldMk cId="2010855279" sldId="524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282" v="150"/>
          <ac:spMkLst>
            <pc:docMk/>
            <pc:sldMk cId="2010855279" sldId="524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266" v="148"/>
          <ac:spMkLst>
            <pc:docMk/>
            <pc:sldMk cId="2010855279" sldId="524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1.970" v="155"/>
          <ac:spMkLst>
            <pc:docMk/>
            <pc:sldMk cId="2010855279" sldId="524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35:28.409" v="162"/>
          <ac:spMkLst>
            <pc:docMk/>
            <pc:sldMk cId="2010855279" sldId="524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1.986" v="157"/>
          <ac:spMkLst>
            <pc:docMk/>
            <pc:sldMk cId="2010855279" sldId="524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282" v="149"/>
          <ac:spMkLst>
            <pc:docMk/>
            <pc:sldMk cId="2010855279" sldId="524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1.986" v="156"/>
          <ac:spMkLst>
            <pc:docMk/>
            <pc:sldMk cId="2010855279" sldId="524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4:58.297" v="151"/>
          <ac:spMkLst>
            <pc:docMk/>
            <pc:sldMk cId="2010855279" sldId="524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12.001" v="158"/>
          <ac:spMkLst>
            <pc:docMk/>
            <pc:sldMk cId="2010855279" sldId="524"/>
            <ac:spMk id="51" creationId="{F913A60D-2783-4406-9452-4739CB932FC8}"/>
          </ac:spMkLst>
        </pc:spChg>
      </pc:sldChg>
      <pc:sldChg chg="modSp add replId">
        <pc:chgData name="Mery Carrasco Mauricio (Codelco-Casa Matriz)" userId="S::mmery004@codelco.cl::a0378191-74de-4d59-9b37-aa421303daba" providerId="AD" clId="Web-{ED19217C-6BF9-F55A-0F5C-F9DAC7EE30D5}" dt="2021-06-30T15:37:14.853" v="184"/>
        <pc:sldMkLst>
          <pc:docMk/>
          <pc:sldMk cId="1193571837" sldId="525"/>
        </pc:sldMkLst>
        <pc:spChg chg="mod">
          <ac:chgData name="Mery Carrasco Mauricio (Codelco-Casa Matriz)" userId="S::mmery004@codelco.cl::a0378191-74de-4d59-9b37-aa421303daba" providerId="AD" clId="Web-{ED19217C-6BF9-F55A-0F5C-F9DAC7EE30D5}" dt="2021-06-30T15:35:44.410" v="175"/>
          <ac:spMkLst>
            <pc:docMk/>
            <pc:sldMk cId="1193571837" sldId="525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838" v="182"/>
          <ac:spMkLst>
            <pc:docMk/>
            <pc:sldMk cId="1193571837" sldId="525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44.441" v="177"/>
          <ac:spMkLst>
            <pc:docMk/>
            <pc:sldMk cId="1193571837" sldId="525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853" v="184"/>
          <ac:spMkLst>
            <pc:docMk/>
            <pc:sldMk cId="1193571837" sldId="52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44.425" v="176"/>
          <ac:spMkLst>
            <pc:docMk/>
            <pc:sldMk cId="1193571837" sldId="52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838" v="183"/>
          <ac:spMkLst>
            <pc:docMk/>
            <pc:sldMk cId="1193571837" sldId="52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44.379" v="171"/>
          <ac:spMkLst>
            <pc:docMk/>
            <pc:sldMk cId="1193571837" sldId="52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791" v="178"/>
          <ac:spMkLst>
            <pc:docMk/>
            <pc:sldMk cId="1193571837" sldId="52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44.394" v="173"/>
          <ac:spMkLst>
            <pc:docMk/>
            <pc:sldMk cId="1193571837" sldId="52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44.379" v="172"/>
          <ac:spMkLst>
            <pc:docMk/>
            <pc:sldMk cId="1193571837" sldId="52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806" v="179"/>
          <ac:spMkLst>
            <pc:docMk/>
            <pc:sldMk cId="1193571837" sldId="52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806" v="180"/>
          <ac:spMkLst>
            <pc:docMk/>
            <pc:sldMk cId="1193571837" sldId="52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5:44.410" v="174"/>
          <ac:spMkLst>
            <pc:docMk/>
            <pc:sldMk cId="1193571837" sldId="52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7:14.822" v="181"/>
          <ac:spMkLst>
            <pc:docMk/>
            <pc:sldMk cId="1193571837" sldId="525"/>
            <ac:spMk id="51" creationId="{F913A60D-2783-4406-9452-4739CB932FC8}"/>
          </ac:spMkLst>
        </pc:spChg>
      </pc:sldChg>
      <pc:sldChg chg="delSp modSp add replId">
        <pc:chgData name="Mery Carrasco Mauricio (Codelco-Casa Matriz)" userId="S::mmery004@codelco.cl::a0378191-74de-4d59-9b37-aa421303daba" providerId="AD" clId="Web-{ED19217C-6BF9-F55A-0F5C-F9DAC7EE30D5}" dt="2021-06-30T15:41:11.353" v="210"/>
        <pc:sldMkLst>
          <pc:docMk/>
          <pc:sldMk cId="3647565459" sldId="526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40:52.696" v="209"/>
          <ac:spMkLst>
            <pc:docMk/>
            <pc:sldMk cId="3647565459" sldId="526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309" v="191"/>
          <ac:spMkLst>
            <pc:docMk/>
            <pc:sldMk cId="3647565459" sldId="526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585" v="198"/>
          <ac:spMkLst>
            <pc:docMk/>
            <pc:sldMk cId="3647565459" sldId="526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341" v="193"/>
          <ac:spMkLst>
            <pc:docMk/>
            <pc:sldMk cId="3647565459" sldId="526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0:52.696" v="208"/>
          <ac:spMkLst>
            <pc:docMk/>
            <pc:sldMk cId="3647565459" sldId="526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0:52.696" v="207"/>
          <ac:spMkLst>
            <pc:docMk/>
            <pc:sldMk cId="3647565459" sldId="526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617" v="200"/>
          <ac:spMkLst>
            <pc:docMk/>
            <pc:sldMk cId="3647565459" sldId="526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0:52.696" v="206"/>
          <ac:spMkLst>
            <pc:docMk/>
            <pc:sldMk cId="3647565459" sldId="526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0:52.696" v="203"/>
          <ac:spMkLst>
            <pc:docMk/>
            <pc:sldMk cId="3647565459" sldId="526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325" v="192"/>
          <ac:spMkLst>
            <pc:docMk/>
            <pc:sldMk cId="3647565459" sldId="526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0:52.696" v="205"/>
          <ac:spMkLst>
            <pc:docMk/>
            <pc:sldMk cId="3647565459" sldId="526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601" v="199"/>
          <ac:spMkLst>
            <pc:docMk/>
            <pc:sldMk cId="3647565459" sldId="526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0:52.696" v="204"/>
          <ac:spMkLst>
            <pc:docMk/>
            <pc:sldMk cId="3647565459" sldId="526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294" v="189"/>
          <ac:spMkLst>
            <pc:docMk/>
            <pc:sldMk cId="3647565459" sldId="526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263" v="187"/>
          <ac:spMkLst>
            <pc:docMk/>
            <pc:sldMk cId="3647565459" sldId="526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538" v="194"/>
          <ac:spMkLst>
            <pc:docMk/>
            <pc:sldMk cId="3647565459" sldId="526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11.353" v="210"/>
          <ac:spMkLst>
            <pc:docMk/>
            <pc:sldMk cId="3647565459" sldId="526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570" v="196"/>
          <ac:spMkLst>
            <pc:docMk/>
            <pc:sldMk cId="3647565459" sldId="526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278" v="188"/>
          <ac:spMkLst>
            <pc:docMk/>
            <pc:sldMk cId="3647565459" sldId="526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554" v="195"/>
          <ac:spMkLst>
            <pc:docMk/>
            <pc:sldMk cId="3647565459" sldId="526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38:00.309" v="190"/>
          <ac:spMkLst>
            <pc:docMk/>
            <pc:sldMk cId="3647565459" sldId="526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0:34.570" v="197"/>
          <ac:spMkLst>
            <pc:docMk/>
            <pc:sldMk cId="3647565459" sldId="526"/>
            <ac:spMk id="51" creationId="{F913A60D-2783-4406-9452-4739CB932FC8}"/>
          </ac:spMkLst>
        </pc:spChg>
      </pc:sldChg>
      <pc:sldChg chg="delSp modSp add replId">
        <pc:chgData name="Mery Carrasco Mauricio (Codelco-Casa Matriz)" userId="S::mmery004@codelco.cl::a0378191-74de-4d59-9b37-aa421303daba" providerId="AD" clId="Web-{ED19217C-6BF9-F55A-0F5C-F9DAC7EE30D5}" dt="2021-06-30T15:41:48.934" v="234"/>
        <pc:sldMkLst>
          <pc:docMk/>
          <pc:sldMk cId="2643918582" sldId="527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41:31.714" v="218"/>
          <ac:spMkLst>
            <pc:docMk/>
            <pc:sldMk cId="2643918582" sldId="527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46" v="226"/>
          <ac:spMkLst>
            <pc:docMk/>
            <pc:sldMk cId="2643918582" sldId="527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934" v="233"/>
          <ac:spMkLst>
            <pc:docMk/>
            <pc:sldMk cId="2643918582" sldId="527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62" v="227"/>
          <ac:spMkLst>
            <pc:docMk/>
            <pc:sldMk cId="2643918582" sldId="527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31.714" v="217"/>
          <ac:spMkLst>
            <pc:docMk/>
            <pc:sldMk cId="2643918582" sldId="527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31.714" v="216"/>
          <ac:spMkLst>
            <pc:docMk/>
            <pc:sldMk cId="2643918582" sldId="527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934" v="234"/>
          <ac:spMkLst>
            <pc:docMk/>
            <pc:sldMk cId="2643918582" sldId="527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31.714" v="215"/>
          <ac:spMkLst>
            <pc:docMk/>
            <pc:sldMk cId="2643918582" sldId="527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48.653" v="219"/>
          <ac:spMkLst>
            <pc:docMk/>
            <pc:sldMk cId="2643918582" sldId="527"/>
            <ac:spMk id="31" creationId="{E1258742-5AE9-450A-9701-C2FA96F081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31.714" v="214"/>
          <ac:spMkLst>
            <pc:docMk/>
            <pc:sldMk cId="2643918582" sldId="527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00" v="221"/>
          <ac:spMkLst>
            <pc:docMk/>
            <pc:sldMk cId="2643918582" sldId="527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887" v="228"/>
          <ac:spMkLst>
            <pc:docMk/>
            <pc:sldMk cId="2643918582" sldId="527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31.714" v="213"/>
          <ac:spMkLst>
            <pc:docMk/>
            <pc:sldMk cId="2643918582" sldId="527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31" v="224"/>
          <ac:spMkLst>
            <pc:docMk/>
            <pc:sldMk cId="2643918582" sldId="527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15" v="222"/>
          <ac:spMkLst>
            <pc:docMk/>
            <pc:sldMk cId="2643918582" sldId="527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903" v="229"/>
          <ac:spMkLst>
            <pc:docMk/>
            <pc:sldMk cId="2643918582" sldId="527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1:48.653" v="220"/>
          <ac:spMkLst>
            <pc:docMk/>
            <pc:sldMk cId="2643918582" sldId="527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918" v="231"/>
          <ac:spMkLst>
            <pc:docMk/>
            <pc:sldMk cId="2643918582" sldId="527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15" v="223"/>
          <ac:spMkLst>
            <pc:docMk/>
            <pc:sldMk cId="2643918582" sldId="527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903" v="230"/>
          <ac:spMkLst>
            <pc:docMk/>
            <pc:sldMk cId="2643918582" sldId="527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746" v="225"/>
          <ac:spMkLst>
            <pc:docMk/>
            <pc:sldMk cId="2643918582" sldId="527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1:48.918" v="232"/>
          <ac:spMkLst>
            <pc:docMk/>
            <pc:sldMk cId="2643918582" sldId="527"/>
            <ac:spMk id="51" creationId="{F913A60D-2783-4406-9452-4739CB932FC8}"/>
          </ac:spMkLst>
        </pc:spChg>
      </pc:sldChg>
      <pc:sldChg chg="delSp modSp add replId">
        <pc:chgData name="Mery Carrasco Mauricio (Codelco-Casa Matriz)" userId="S::mmery004@codelco.cl::a0378191-74de-4d59-9b37-aa421303daba" providerId="AD" clId="Web-{ED19217C-6BF9-F55A-0F5C-F9DAC7EE30D5}" dt="2021-06-30T15:43:21.253" v="256"/>
        <pc:sldMkLst>
          <pc:docMk/>
          <pc:sldMk cId="4077693337" sldId="528"/>
        </pc:sldMkLst>
        <pc:spChg chg="del">
          <ac:chgData name="Mery Carrasco Mauricio (Codelco-Casa Matriz)" userId="S::mmery004@codelco.cl::a0378191-74de-4d59-9b37-aa421303daba" providerId="AD" clId="Web-{ED19217C-6BF9-F55A-0F5C-F9DAC7EE30D5}" dt="2021-06-30T15:42:50.454" v="242"/>
          <ac:spMkLst>
            <pc:docMk/>
            <pc:sldMk cId="4077693337" sldId="528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439" v="248"/>
          <ac:spMkLst>
            <pc:docMk/>
            <pc:sldMk cId="4077693337" sldId="528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53" v="255"/>
          <ac:spMkLst>
            <pc:docMk/>
            <pc:sldMk cId="4077693337" sldId="528"/>
            <ac:spMk id="20" creationId="{147F67F4-8295-4335-A9A3-880D29F245E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54" v="241"/>
          <ac:spMkLst>
            <pc:docMk/>
            <pc:sldMk cId="4077693337" sldId="528"/>
            <ac:spMk id="27" creationId="{A062FC8C-1E57-4847-93FE-E45C585DFE1C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54" v="240"/>
          <ac:spMkLst>
            <pc:docMk/>
            <pc:sldMk cId="4077693337" sldId="528"/>
            <ac:spMk id="28" creationId="{E62D2DE4-5353-428C-9AD9-568F12103B8B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38" v="239"/>
          <ac:spMkLst>
            <pc:docMk/>
            <pc:sldMk cId="4077693337" sldId="528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38" v="235"/>
          <ac:spMkLst>
            <pc:docMk/>
            <pc:sldMk cId="4077693337" sldId="528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455" v="249"/>
          <ac:spMkLst>
            <pc:docMk/>
            <pc:sldMk cId="4077693337" sldId="528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38" v="238"/>
          <ac:spMkLst>
            <pc:docMk/>
            <pc:sldMk cId="4077693337" sldId="528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53" v="256"/>
          <ac:spMkLst>
            <pc:docMk/>
            <pc:sldMk cId="4077693337" sldId="528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392" v="243"/>
          <ac:spMkLst>
            <pc:docMk/>
            <pc:sldMk cId="4077693337" sldId="528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06" v="250"/>
          <ac:spMkLst>
            <pc:docMk/>
            <pc:sldMk cId="4077693337" sldId="528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38" v="237"/>
          <ac:spMkLst>
            <pc:docMk/>
            <pc:sldMk cId="4077693337" sldId="528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423" v="246"/>
          <ac:spMkLst>
            <pc:docMk/>
            <pc:sldMk cId="4077693337" sldId="528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392" v="244"/>
          <ac:spMkLst>
            <pc:docMk/>
            <pc:sldMk cId="4077693337" sldId="528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06" v="251"/>
          <ac:spMkLst>
            <pc:docMk/>
            <pc:sldMk cId="4077693337" sldId="528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42:50.438" v="236"/>
          <ac:spMkLst>
            <pc:docMk/>
            <pc:sldMk cId="4077693337" sldId="528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37" v="253"/>
          <ac:spMkLst>
            <pc:docMk/>
            <pc:sldMk cId="4077693337" sldId="528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408" v="245"/>
          <ac:spMkLst>
            <pc:docMk/>
            <pc:sldMk cId="4077693337" sldId="528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21" v="252"/>
          <ac:spMkLst>
            <pc:docMk/>
            <pc:sldMk cId="4077693337" sldId="528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04.423" v="247"/>
          <ac:spMkLst>
            <pc:docMk/>
            <pc:sldMk cId="4077693337" sldId="528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ED19217C-6BF9-F55A-0F5C-F9DAC7EE30D5}" dt="2021-06-30T15:43:21.237" v="254"/>
          <ac:spMkLst>
            <pc:docMk/>
            <pc:sldMk cId="4077693337" sldId="528"/>
            <ac:spMk id="51" creationId="{F913A60D-2783-4406-9452-4739CB932FC8}"/>
          </ac:spMkLst>
        </pc:spChg>
      </pc:sldChg>
      <pc:sldChg chg="delSp modSp new del mod modClrScheme chgLayout">
        <pc:chgData name="Mery Carrasco Mauricio (Codelco-Casa Matriz)" userId="S::mmery004@codelco.cl::a0378191-74de-4d59-9b37-aa421303daba" providerId="AD" clId="Web-{ED19217C-6BF9-F55A-0F5C-F9DAC7EE30D5}" dt="2021-06-30T15:33:29.401" v="122"/>
        <pc:sldMkLst>
          <pc:docMk/>
          <pc:sldMk cId="1973482765" sldId="529"/>
        </pc:sldMkLst>
        <pc:spChg chg="mod ord">
          <ac:chgData name="Mery Carrasco Mauricio (Codelco-Casa Matriz)" userId="S::mmery004@codelco.cl::a0378191-74de-4d59-9b37-aa421303daba" providerId="AD" clId="Web-{ED19217C-6BF9-F55A-0F5C-F9DAC7EE30D5}" dt="2021-06-30T15:29:44.371" v="95"/>
          <ac:spMkLst>
            <pc:docMk/>
            <pc:sldMk cId="1973482765" sldId="529"/>
            <ac:spMk id="2" creationId="{93CD3BA4-8C19-4BF4-A9CC-A0989BCA9850}"/>
          </ac:spMkLst>
        </pc:spChg>
        <pc:spChg chg="del">
          <ac:chgData name="Mery Carrasco Mauricio (Codelco-Casa Matriz)" userId="S::mmery004@codelco.cl::a0378191-74de-4d59-9b37-aa421303daba" providerId="AD" clId="Web-{ED19217C-6BF9-F55A-0F5C-F9DAC7EE30D5}" dt="2021-06-30T15:29:44.371" v="95"/>
          <ac:spMkLst>
            <pc:docMk/>
            <pc:sldMk cId="1973482765" sldId="529"/>
            <ac:spMk id="3" creationId="{F222981C-1BFF-48C6-812A-F098ACC132F0}"/>
          </ac:spMkLst>
        </pc:spChg>
        <pc:spChg chg="mod ord">
          <ac:chgData name="Mery Carrasco Mauricio (Codelco-Casa Matriz)" userId="S::mmery004@codelco.cl::a0378191-74de-4d59-9b37-aa421303daba" providerId="AD" clId="Web-{ED19217C-6BF9-F55A-0F5C-F9DAC7EE30D5}" dt="2021-06-30T15:29:44.371" v="95"/>
          <ac:spMkLst>
            <pc:docMk/>
            <pc:sldMk cId="1973482765" sldId="529"/>
            <ac:spMk id="4" creationId="{15891868-40A5-49F7-9716-577719F47BC0}"/>
          </ac:spMkLst>
        </pc:spChg>
      </pc:sldChg>
      <pc:sldChg chg="addSp modSp add mod ord replId modClrScheme chgLayout">
        <pc:chgData name="Mery Carrasco Mauricio (Codelco-Casa Matriz)" userId="S::mmery004@codelco.cl::a0378191-74de-4d59-9b37-aa421303daba" providerId="AD" clId="Web-{ED19217C-6BF9-F55A-0F5C-F9DAC7EE30D5}" dt="2021-06-30T15:31:42.425" v="120"/>
        <pc:sldMkLst>
          <pc:docMk/>
          <pc:sldMk cId="953770067" sldId="530"/>
        </pc:sldMkLst>
        <pc:spChg chg="mod ord">
          <ac:chgData name="Mery Carrasco Mauricio (Codelco-Casa Matriz)" userId="S::mmery004@codelco.cl::a0378191-74de-4d59-9b37-aa421303daba" providerId="AD" clId="Web-{ED19217C-6BF9-F55A-0F5C-F9DAC7EE30D5}" dt="2021-06-30T15:31:42.425" v="120"/>
          <ac:spMkLst>
            <pc:docMk/>
            <pc:sldMk cId="953770067" sldId="530"/>
            <ac:spMk id="2" creationId="{93CD3BA4-8C19-4BF4-A9CC-A0989BCA9850}"/>
          </ac:spMkLst>
        </pc:spChg>
        <pc:spChg chg="add mod ord">
          <ac:chgData name="Mery Carrasco Mauricio (Codelco-Casa Matriz)" userId="S::mmery004@codelco.cl::a0378191-74de-4d59-9b37-aa421303daba" providerId="AD" clId="Web-{ED19217C-6BF9-F55A-0F5C-F9DAC7EE30D5}" dt="2021-06-30T15:31:42.425" v="120"/>
          <ac:spMkLst>
            <pc:docMk/>
            <pc:sldMk cId="953770067" sldId="530"/>
            <ac:spMk id="3" creationId="{73731382-712D-4713-AA60-5F9A81586785}"/>
          </ac:spMkLst>
        </pc:spChg>
        <pc:spChg chg="mod ord">
          <ac:chgData name="Mery Carrasco Mauricio (Codelco-Casa Matriz)" userId="S::mmery004@codelco.cl::a0378191-74de-4d59-9b37-aa421303daba" providerId="AD" clId="Web-{ED19217C-6BF9-F55A-0F5C-F9DAC7EE30D5}" dt="2021-06-30T15:31:42.425" v="120"/>
          <ac:spMkLst>
            <pc:docMk/>
            <pc:sldMk cId="953770067" sldId="530"/>
            <ac:spMk id="4" creationId="{15891868-40A5-49F7-9716-577719F47BC0}"/>
          </ac:spMkLst>
        </pc:spChg>
      </pc:sldChg>
      <pc:sldChg chg="add replId">
        <pc:chgData name="Mery Carrasco Mauricio (Codelco-Casa Matriz)" userId="S::mmery004@codelco.cl::a0378191-74de-4d59-9b37-aa421303daba" providerId="AD" clId="Web-{ED19217C-6BF9-F55A-0F5C-F9DAC7EE30D5}" dt="2021-06-30T15:33:13.947" v="121"/>
        <pc:sldMkLst>
          <pc:docMk/>
          <pc:sldMk cId="114498264" sldId="531"/>
        </pc:sldMkLst>
      </pc:sldChg>
      <pc:sldChg chg="add del ord replId">
        <pc:chgData name="Mery Carrasco Mauricio (Codelco-Casa Matriz)" userId="S::mmery004@codelco.cl::a0378191-74de-4d59-9b37-aa421303daba" providerId="AD" clId="Web-{ED19217C-6BF9-F55A-0F5C-F9DAC7EE30D5}" dt="2021-06-30T15:45:29.355" v="257"/>
        <pc:sldMkLst>
          <pc:docMk/>
          <pc:sldMk cId="3136382742" sldId="532"/>
        </pc:sldMkLst>
      </pc:sldChg>
      <pc:sldChg chg="add replId">
        <pc:chgData name="Mery Carrasco Mauricio (Codelco-Casa Matriz)" userId="S::mmery004@codelco.cl::a0378191-74de-4d59-9b37-aa421303daba" providerId="AD" clId="Web-{ED19217C-6BF9-F55A-0F5C-F9DAC7EE30D5}" dt="2021-06-30T15:35:28.909" v="169"/>
        <pc:sldMkLst>
          <pc:docMk/>
          <pc:sldMk cId="3660273785" sldId="533"/>
        </pc:sldMkLst>
      </pc:sldChg>
      <pc:sldChg chg="add replId">
        <pc:chgData name="Mery Carrasco Mauricio (Codelco-Casa Matriz)" userId="S::mmery004@codelco.cl::a0378191-74de-4d59-9b37-aa421303daba" providerId="AD" clId="Web-{ED19217C-6BF9-F55A-0F5C-F9DAC7EE30D5}" dt="2021-06-30T15:37:29.307" v="185"/>
        <pc:sldMkLst>
          <pc:docMk/>
          <pc:sldMk cId="680563334" sldId="534"/>
        </pc:sldMkLst>
      </pc:sldChg>
      <pc:sldChg chg="add replId">
        <pc:chgData name="Mery Carrasco Mauricio (Codelco-Casa Matriz)" userId="S::mmery004@codelco.cl::a0378191-74de-4d59-9b37-aa421303daba" providerId="AD" clId="Web-{ED19217C-6BF9-F55A-0F5C-F9DAC7EE30D5}" dt="2021-06-30T15:40:50.743" v="201"/>
        <pc:sldMkLst>
          <pc:docMk/>
          <pc:sldMk cId="3708898252" sldId="535"/>
        </pc:sldMkLst>
      </pc:sldChg>
      <pc:sldChg chg="modSp add replId">
        <pc:chgData name="Mery Carrasco Mauricio (Codelco-Casa Matriz)" userId="S::mmery004@codelco.cl::a0378191-74de-4d59-9b37-aa421303daba" providerId="AD" clId="Web-{ED19217C-6BF9-F55A-0F5C-F9DAC7EE30D5}" dt="2021-06-30T15:53:02.603" v="305" actId="20577"/>
        <pc:sldMkLst>
          <pc:docMk/>
          <pc:sldMk cId="1731287607" sldId="536"/>
        </pc:sldMkLst>
        <pc:spChg chg="mod">
          <ac:chgData name="Mery Carrasco Mauricio (Codelco-Casa Matriz)" userId="S::mmery004@codelco.cl::a0378191-74de-4d59-9b37-aa421303daba" providerId="AD" clId="Web-{ED19217C-6BF9-F55A-0F5C-F9DAC7EE30D5}" dt="2021-06-30T15:53:02.603" v="305" actId="20577"/>
          <ac:spMkLst>
            <pc:docMk/>
            <pc:sldMk cId="1731287607" sldId="536"/>
            <ac:spMk id="2" creationId="{93CD3BA4-8C19-4BF4-A9CC-A0989BCA9850}"/>
          </ac:spMkLst>
        </pc:spChg>
      </pc:sldChg>
      <pc:sldChg chg="add">
        <pc:chgData name="Mery Carrasco Mauricio (Codelco-Casa Matriz)" userId="S::mmery004@codelco.cl::a0378191-74de-4d59-9b37-aa421303daba" providerId="AD" clId="Web-{ED19217C-6BF9-F55A-0F5C-F9DAC7EE30D5}" dt="2021-06-30T15:52:19.694" v="300"/>
        <pc:sldMkLst>
          <pc:docMk/>
          <pc:sldMk cId="2416833515" sldId="537"/>
        </pc:sldMkLst>
      </pc:sldChg>
      <pc:sldMasterChg chg="add addSldLayout">
        <pc:chgData name="Mery Carrasco Mauricio (Codelco-Casa Matriz)" userId="S::mmery004@codelco.cl::a0378191-74de-4d59-9b37-aa421303daba" providerId="AD" clId="Web-{ED19217C-6BF9-F55A-0F5C-F9DAC7EE30D5}" dt="2021-06-30T15:52:19.694" v="300"/>
        <pc:sldMasterMkLst>
          <pc:docMk/>
          <pc:sldMasterMk cId="2028919938" sldId="2147483648"/>
        </pc:sldMasterMkLst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327140361" sldId="2147483649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1337845046" sldId="2147483650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640247579" sldId="2147483651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3047604642" sldId="2147483652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14326389" sldId="2147483653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3392706529" sldId="2147483654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3992085358" sldId="2147483655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769833617" sldId="2147483656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4230763387" sldId="2147483657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3474069350" sldId="2147483658"/>
          </pc:sldLayoutMkLst>
        </pc:sldLayoutChg>
        <pc:sldLayoutChg chg="add">
          <pc:chgData name="Mery Carrasco Mauricio (Codelco-Casa Matriz)" userId="S::mmery004@codelco.cl::a0378191-74de-4d59-9b37-aa421303daba" providerId="AD" clId="Web-{ED19217C-6BF9-F55A-0F5C-F9DAC7EE30D5}" dt="2021-06-30T15:52:19.694" v="300"/>
          <pc:sldLayoutMkLst>
            <pc:docMk/>
            <pc:sldMasterMk cId="2028919938" sldId="2147483648"/>
            <pc:sldLayoutMk cId="3584271311" sldId="2147483659"/>
          </pc:sldLayoutMkLst>
        </pc:sldLayoutChg>
      </pc:sldMasterChg>
    </pc:docChg>
  </pc:docChgLst>
  <pc:docChgLst>
    <pc:chgData name="Valenzuela Alfaro Alvaro (Codelco-Casa Matriz)" userId="S::avale036@codelco.cl::beebaec1-f16e-436d-a3cd-8566efe3ac18" providerId="AD" clId="Web-{4EEDD6E0-8788-D885-0076-E1DFAAABC99B}"/>
    <pc:docChg chg="modSld">
      <pc:chgData name="Valenzuela Alfaro Alvaro (Codelco-Casa Matriz)" userId="S::avale036@codelco.cl::beebaec1-f16e-436d-a3cd-8566efe3ac18" providerId="AD" clId="Web-{4EEDD6E0-8788-D885-0076-E1DFAAABC99B}" dt="2021-02-10T15:09:30.430" v="9" actId="1076"/>
      <pc:docMkLst>
        <pc:docMk/>
      </pc:docMkLst>
      <pc:sldChg chg="modSp">
        <pc:chgData name="Valenzuela Alfaro Alvaro (Codelco-Casa Matriz)" userId="S::avale036@codelco.cl::beebaec1-f16e-436d-a3cd-8566efe3ac18" providerId="AD" clId="Web-{4EEDD6E0-8788-D885-0076-E1DFAAABC99B}" dt="2021-02-10T15:09:30.430" v="9" actId="1076"/>
        <pc:sldMkLst>
          <pc:docMk/>
          <pc:sldMk cId="1797116895" sldId="444"/>
        </pc:sldMkLst>
        <pc:spChg chg="mod">
          <ac:chgData name="Valenzuela Alfaro Alvaro (Codelco-Casa Matriz)" userId="S::avale036@codelco.cl::beebaec1-f16e-436d-a3cd-8566efe3ac18" providerId="AD" clId="Web-{4EEDD6E0-8788-D885-0076-E1DFAAABC99B}" dt="2021-02-10T15:09:30.430" v="9" actId="1076"/>
          <ac:spMkLst>
            <pc:docMk/>
            <pc:sldMk cId="1797116895" sldId="444"/>
            <ac:spMk id="7" creationId="{E0FC0527-253A-4EDC-B084-354C053BCE0D}"/>
          </ac:spMkLst>
        </pc:spChg>
      </pc:sldChg>
      <pc:sldChg chg="modSp">
        <pc:chgData name="Valenzuela Alfaro Alvaro (Codelco-Casa Matriz)" userId="S::avale036@codelco.cl::beebaec1-f16e-436d-a3cd-8566efe3ac18" providerId="AD" clId="Web-{4EEDD6E0-8788-D885-0076-E1DFAAABC99B}" dt="2021-02-10T15:09:09.305" v="7" actId="20577"/>
        <pc:sldMkLst>
          <pc:docMk/>
          <pc:sldMk cId="2362642791" sldId="471"/>
        </pc:sldMkLst>
        <pc:spChg chg="mod">
          <ac:chgData name="Valenzuela Alfaro Alvaro (Codelco-Casa Matriz)" userId="S::avale036@codelco.cl::beebaec1-f16e-436d-a3cd-8566efe3ac18" providerId="AD" clId="Web-{4EEDD6E0-8788-D885-0076-E1DFAAABC99B}" dt="2021-02-10T15:09:09.024" v="2" actId="20577"/>
          <ac:spMkLst>
            <pc:docMk/>
            <pc:sldMk cId="2362642791" sldId="471"/>
            <ac:spMk id="2" creationId="{052FE435-87E4-45EA-94B3-378D699D1B29}"/>
          </ac:spMkLst>
        </pc:spChg>
        <pc:spChg chg="mod">
          <ac:chgData name="Valenzuela Alfaro Alvaro (Codelco-Casa Matriz)" userId="S::avale036@codelco.cl::beebaec1-f16e-436d-a3cd-8566efe3ac18" providerId="AD" clId="Web-{4EEDD6E0-8788-D885-0076-E1DFAAABC99B}" dt="2021-02-10T15:09:09.305" v="7" actId="20577"/>
          <ac:spMkLst>
            <pc:docMk/>
            <pc:sldMk cId="2362642791" sldId="471"/>
            <ac:spMk id="3" creationId="{7C122560-A6F5-434C-A8D8-42B97DBD4134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88D8307D-2A0F-BE82-4188-51D07E59893B}"/>
    <pc:docChg chg="addSld delSld">
      <pc:chgData name="Allende Bustamante Jose (Codelco-Casa Matriz)" userId="S::jalle011@codelco.cl::54345eee-8770-43bf-b080-e3e333067d62" providerId="AD" clId="Web-{88D8307D-2A0F-BE82-4188-51D07E59893B}" dt="2021-01-14T14:35:11.741" v="1"/>
      <pc:docMkLst>
        <pc:docMk/>
      </pc:docMkLst>
      <pc:sldChg chg="del">
        <pc:chgData name="Allende Bustamante Jose (Codelco-Casa Matriz)" userId="S::jalle011@codelco.cl::54345eee-8770-43bf-b080-e3e333067d62" providerId="AD" clId="Web-{88D8307D-2A0F-BE82-4188-51D07E59893B}" dt="2021-01-14T14:35:11.741" v="1"/>
        <pc:sldMkLst>
          <pc:docMk/>
          <pc:sldMk cId="1552965294" sldId="439"/>
        </pc:sldMkLst>
      </pc:sldChg>
      <pc:sldChg chg="add">
        <pc:chgData name="Allende Bustamante Jose (Codelco-Casa Matriz)" userId="S::jalle011@codelco.cl::54345eee-8770-43bf-b080-e3e333067d62" providerId="AD" clId="Web-{88D8307D-2A0F-BE82-4188-51D07E59893B}" dt="2021-01-14T14:35:06.054" v="0"/>
        <pc:sldMkLst>
          <pc:docMk/>
          <pc:sldMk cId="1752870340" sldId="443"/>
        </pc:sldMkLst>
      </pc:sldChg>
    </pc:docChg>
  </pc:docChgLst>
  <pc:docChgLst>
    <pc:chgData name="Allende Bustamante Jose (Codelco-Casa Matriz)" userId="S::jalle011@codelco.cl::54345eee-8770-43bf-b080-e3e333067d62" providerId="AD" clId="Web-{40CDBF28-A7F7-B5E4-81EC-00AB9CF34E21}"/>
    <pc:docChg chg="addSld delSld modSld">
      <pc:chgData name="Allende Bustamante Jose (Codelco-Casa Matriz)" userId="S::jalle011@codelco.cl::54345eee-8770-43bf-b080-e3e333067d62" providerId="AD" clId="Web-{40CDBF28-A7F7-B5E4-81EC-00AB9CF34E21}" dt="2020-11-05T13:14:57.895" v="31" actId="1076"/>
      <pc:docMkLst>
        <pc:docMk/>
      </pc:docMkLst>
      <pc:sldChg chg="add">
        <pc:chgData name="Allende Bustamante Jose (Codelco-Casa Matriz)" userId="S::jalle011@codelco.cl::54345eee-8770-43bf-b080-e3e333067d62" providerId="AD" clId="Web-{40CDBF28-A7F7-B5E4-81EC-00AB9CF34E21}" dt="2020-11-05T13:10:15.809" v="4"/>
        <pc:sldMkLst>
          <pc:docMk/>
          <pc:sldMk cId="423569658" sldId="423"/>
        </pc:sldMkLst>
      </pc:sldChg>
      <pc:sldChg chg="del">
        <pc:chgData name="Allende Bustamante Jose (Codelco-Casa Matriz)" userId="S::jalle011@codelco.cl::54345eee-8770-43bf-b080-e3e333067d62" providerId="AD" clId="Web-{40CDBF28-A7F7-B5E4-81EC-00AB9CF34E21}" dt="2020-11-05T13:09:58.231" v="2"/>
        <pc:sldMkLst>
          <pc:docMk/>
          <pc:sldMk cId="3553445894" sldId="423"/>
        </pc:sldMkLst>
      </pc:sldChg>
      <pc:sldChg chg="add">
        <pc:chgData name="Allende Bustamante Jose (Codelco-Casa Matriz)" userId="S::jalle011@codelco.cl::54345eee-8770-43bf-b080-e3e333067d62" providerId="AD" clId="Web-{40CDBF28-A7F7-B5E4-81EC-00AB9CF34E21}" dt="2020-11-05T13:10:16.028" v="5"/>
        <pc:sldMkLst>
          <pc:docMk/>
          <pc:sldMk cId="3689142172" sldId="424"/>
        </pc:sldMkLst>
      </pc:sldChg>
      <pc:sldChg chg="del">
        <pc:chgData name="Allende Bustamante Jose (Codelco-Casa Matriz)" userId="S::jalle011@codelco.cl::54345eee-8770-43bf-b080-e3e333067d62" providerId="AD" clId="Web-{40CDBF28-A7F7-B5E4-81EC-00AB9CF34E21}" dt="2020-11-05T13:09:59.997" v="3"/>
        <pc:sldMkLst>
          <pc:docMk/>
          <pc:sldMk cId="3990388868" sldId="424"/>
        </pc:sldMkLst>
      </pc:sldChg>
      <pc:sldChg chg="addSp modSp add">
        <pc:chgData name="Allende Bustamante Jose (Codelco-Casa Matriz)" userId="S::jalle011@codelco.cl::54345eee-8770-43bf-b080-e3e333067d62" providerId="AD" clId="Web-{40CDBF28-A7F7-B5E4-81EC-00AB9CF34E21}" dt="2020-11-05T13:14:57.895" v="31" actId="1076"/>
        <pc:sldMkLst>
          <pc:docMk/>
          <pc:sldMk cId="3655129718" sldId="425"/>
        </pc:sldMkLst>
        <pc:spChg chg="add mod">
          <ac:chgData name="Allende Bustamante Jose (Codelco-Casa Matriz)" userId="S::jalle011@codelco.cl::54345eee-8770-43bf-b080-e3e333067d62" providerId="AD" clId="Web-{40CDBF28-A7F7-B5E4-81EC-00AB9CF34E21}" dt="2020-11-05T13:14:57.848" v="30" actId="1076"/>
          <ac:spMkLst>
            <pc:docMk/>
            <pc:sldMk cId="3655129718" sldId="425"/>
            <ac:spMk id="2" creationId="{66D7742F-090B-42F2-B6D4-1F9E4FC2CC06}"/>
          </ac:spMkLst>
        </pc:spChg>
        <pc:spChg chg="add mod">
          <ac:chgData name="Allende Bustamante Jose (Codelco-Casa Matriz)" userId="S::jalle011@codelco.cl::54345eee-8770-43bf-b080-e3e333067d62" providerId="AD" clId="Web-{40CDBF28-A7F7-B5E4-81EC-00AB9CF34E21}" dt="2020-11-05T13:14:57.895" v="31" actId="1076"/>
          <ac:spMkLst>
            <pc:docMk/>
            <pc:sldMk cId="3655129718" sldId="425"/>
            <ac:spMk id="4" creationId="{A7AF0BB6-5A14-42B3-BF94-D44FB5D0508B}"/>
          </ac:spMkLst>
        </pc:spChg>
      </pc:sldChg>
      <pc:sldChg chg="addSp modSp add">
        <pc:chgData name="Allende Bustamante Jose (Codelco-Casa Matriz)" userId="S::jalle011@codelco.cl::54345eee-8770-43bf-b080-e3e333067d62" providerId="AD" clId="Web-{40CDBF28-A7F7-B5E4-81EC-00AB9CF34E21}" dt="2020-11-05T13:13:45.846" v="27" actId="14100"/>
        <pc:sldMkLst>
          <pc:docMk/>
          <pc:sldMk cId="132534367" sldId="426"/>
        </pc:sldMkLst>
        <pc:spChg chg="add mod">
          <ac:chgData name="Allende Bustamante Jose (Codelco-Casa Matriz)" userId="S::jalle011@codelco.cl::54345eee-8770-43bf-b080-e3e333067d62" providerId="AD" clId="Web-{40CDBF28-A7F7-B5E4-81EC-00AB9CF34E21}" dt="2020-11-05T13:13:45.846" v="27" actId="14100"/>
          <ac:spMkLst>
            <pc:docMk/>
            <pc:sldMk cId="132534367" sldId="426"/>
            <ac:spMk id="7" creationId="{FCE61459-6236-4766-9209-5690901E5E21}"/>
          </ac:spMkLst>
        </pc:spChg>
        <pc:spChg chg="add mod">
          <ac:chgData name="Allende Bustamante Jose (Codelco-Casa Matriz)" userId="S::jalle011@codelco.cl::54345eee-8770-43bf-b080-e3e333067d62" providerId="AD" clId="Web-{40CDBF28-A7F7-B5E4-81EC-00AB9CF34E21}" dt="2020-11-05T13:12:12.891" v="9" actId="1076"/>
          <ac:spMkLst>
            <pc:docMk/>
            <pc:sldMk cId="132534367" sldId="426"/>
            <ac:spMk id="92" creationId="{5E5B81D2-ECCF-460D-81A0-0844DEEFC23E}"/>
          </ac:spMkLst>
        </pc:spChg>
      </pc:sldChg>
      <pc:sldChg chg="del">
        <pc:chgData name="Allende Bustamante Jose (Codelco-Casa Matriz)" userId="S::jalle011@codelco.cl::54345eee-8770-43bf-b080-e3e333067d62" providerId="AD" clId="Web-{40CDBF28-A7F7-B5E4-81EC-00AB9CF34E21}" dt="2020-11-05T13:09:49.184" v="1"/>
        <pc:sldMkLst>
          <pc:docMk/>
          <pc:sldMk cId="363938330" sldId="426"/>
        </pc:sldMkLst>
      </pc:sldChg>
      <pc:sldChg chg="del">
        <pc:chgData name="Allende Bustamante Jose (Codelco-Casa Matriz)" userId="S::jalle011@codelco.cl::54345eee-8770-43bf-b080-e3e333067d62" providerId="AD" clId="Web-{40CDBF28-A7F7-B5E4-81EC-00AB9CF34E21}" dt="2020-11-05T13:09:43.559" v="0"/>
        <pc:sldMkLst>
          <pc:docMk/>
          <pc:sldMk cId="2377927775" sldId="427"/>
        </pc:sldMkLst>
      </pc:sldChg>
    </pc:docChg>
  </pc:docChgLst>
  <pc:docChgLst>
    <pc:chgData name="Mery Carrasco Mauricio (Codelco-Casa Matriz)" userId="S::mmery004@codelco.cl::a0378191-74de-4d59-9b37-aa421303daba" providerId="AD" clId="Web-{691160B6-0E9F-1DD9-D332-10EA91C6F8D8}"/>
    <pc:docChg chg="delSld modSld">
      <pc:chgData name="Mery Carrasco Mauricio (Codelco-Casa Matriz)" userId="S::mmery004@codelco.cl::a0378191-74de-4d59-9b37-aa421303daba" providerId="AD" clId="Web-{691160B6-0E9F-1DD9-D332-10EA91C6F8D8}" dt="2021-03-11T18:50:51.078" v="125" actId="20577"/>
      <pc:docMkLst>
        <pc:docMk/>
      </pc:docMkLst>
      <pc:sldChg chg="modSp">
        <pc:chgData name="Mery Carrasco Mauricio (Codelco-Casa Matriz)" userId="S::mmery004@codelco.cl::a0378191-74de-4d59-9b37-aa421303daba" providerId="AD" clId="Web-{691160B6-0E9F-1DD9-D332-10EA91C6F8D8}" dt="2021-03-11T18:13:35.111" v="3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691160B6-0E9F-1DD9-D332-10EA91C6F8D8}" dt="2021-03-11T18:13:27.439" v="1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13:35.111" v="3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delSp modSp">
        <pc:chgData name="Mery Carrasco Mauricio (Codelco-Casa Matriz)" userId="S::mmery004@codelco.cl::a0378191-74de-4d59-9b37-aa421303daba" providerId="AD" clId="Web-{691160B6-0E9F-1DD9-D332-10EA91C6F8D8}" dt="2021-03-11T18:38:42.486" v="79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691160B6-0E9F-1DD9-D332-10EA91C6F8D8}" dt="2021-03-11T18:38:38.329" v="78" actId="1076"/>
          <ac:spMkLst>
            <pc:docMk/>
            <pc:sldMk cId="772336465" sldId="346"/>
            <ac:spMk id="9" creationId="{792A0799-6567-4F07-9AC3-5B36D58CDF80}"/>
          </ac:spMkLst>
        </pc:spChg>
        <pc:inkChg chg="del">
          <ac:chgData name="Mery Carrasco Mauricio (Codelco-Casa Matriz)" userId="S::mmery004@codelco.cl::a0378191-74de-4d59-9b37-aa421303daba" providerId="AD" clId="Web-{691160B6-0E9F-1DD9-D332-10EA91C6F8D8}" dt="2021-03-11T18:38:42.486" v="79"/>
          <ac:inkMkLst>
            <pc:docMk/>
            <pc:sldMk cId="772336465" sldId="346"/>
            <ac:inkMk id="4" creationId="{413BD247-1589-405A-9488-C83B5428E8B0}"/>
          </ac:inkMkLst>
        </pc:inkChg>
      </pc:sldChg>
      <pc:sldChg chg="del">
        <pc:chgData name="Mery Carrasco Mauricio (Codelco-Casa Matriz)" userId="S::mmery004@codelco.cl::a0378191-74de-4d59-9b37-aa421303daba" providerId="AD" clId="Web-{691160B6-0E9F-1DD9-D332-10EA91C6F8D8}" dt="2021-03-11T18:35:24.997" v="6"/>
        <pc:sldMkLst>
          <pc:docMk/>
          <pc:sldMk cId="1259302253" sldId="353"/>
        </pc:sldMkLst>
      </pc:sldChg>
      <pc:sldChg chg="delSp modSp">
        <pc:chgData name="Mery Carrasco Mauricio (Codelco-Casa Matriz)" userId="S::mmery004@codelco.cl::a0378191-74de-4d59-9b37-aa421303daba" providerId="AD" clId="Web-{691160B6-0E9F-1DD9-D332-10EA91C6F8D8}" dt="2021-03-11T18:50:51.078" v="125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691160B6-0E9F-1DD9-D332-10EA91C6F8D8}" dt="2021-03-11T18:36:10.701" v="34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701" v="35" actId="1076"/>
          <ac:spMkLst>
            <pc:docMk/>
            <pc:sldMk cId="2155997825" sldId="37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30.608" v="45" actId="1076"/>
          <ac:spMkLst>
            <pc:docMk/>
            <pc:sldMk cId="2155997825" sldId="375"/>
            <ac:spMk id="6" creationId="{6DCCCF95-5623-4999-AC3A-24EE68D3554A}"/>
          </ac:spMkLst>
        </pc:spChg>
        <pc:spChg chg="del mod">
          <ac:chgData name="Mery Carrasco Mauricio (Codelco-Casa Matriz)" userId="S::mmery004@codelco.cl::a0378191-74de-4d59-9b37-aa421303daba" providerId="AD" clId="Web-{691160B6-0E9F-1DD9-D332-10EA91C6F8D8}" dt="2021-03-11T18:35:49.091" v="9"/>
          <ac:spMkLst>
            <pc:docMk/>
            <pc:sldMk cId="2155997825" sldId="375"/>
            <ac:spMk id="17" creationId="{92D7D665-E910-49F2-B784-B5B031CE0DE9}"/>
          </ac:spMkLst>
        </pc:spChg>
        <pc:spChg chg="del">
          <ac:chgData name="Mery Carrasco Mauricio (Codelco-Casa Matriz)" userId="S::mmery004@codelco.cl::a0378191-74de-4d59-9b37-aa421303daba" providerId="AD" clId="Web-{691160B6-0E9F-1DD9-D332-10EA91C6F8D8}" dt="2021-03-11T18:35:48.982" v="8"/>
          <ac:spMkLst>
            <pc:docMk/>
            <pc:sldMk cId="2155997825" sldId="375"/>
            <ac:spMk id="18" creationId="{B682D45E-A165-4DDC-8609-A871608E67E5}"/>
          </ac:spMkLst>
        </pc:spChg>
        <pc:spChg chg="del mod">
          <ac:chgData name="Mery Carrasco Mauricio (Codelco-Casa Matriz)" userId="S::mmery004@codelco.cl::a0378191-74de-4d59-9b37-aa421303daba" providerId="AD" clId="Web-{691160B6-0E9F-1DD9-D332-10EA91C6F8D8}" dt="2021-03-11T18:35:55.185" v="12"/>
          <ac:spMkLst>
            <pc:docMk/>
            <pc:sldMk cId="2155997825" sldId="375"/>
            <ac:spMk id="20" creationId="{0ED3F883-AD2E-4F7C-8552-B535D7C7A485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49:32.796" v="98" actId="20577"/>
          <ac:spMkLst>
            <pc:docMk/>
            <pc:sldMk cId="2155997825" sldId="375"/>
            <ac:spMk id="21" creationId="{AB531814-A1EE-4345-86B5-5358ABD26794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50:51.078" v="125" actId="20577"/>
          <ac:spMkLst>
            <pc:docMk/>
            <pc:sldMk cId="2155997825" sldId="375"/>
            <ac:spMk id="22" creationId="{7851A235-ED5E-4137-AD50-6F10AD12B65E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50:01.874" v="101" actId="20577"/>
          <ac:spMkLst>
            <pc:docMk/>
            <pc:sldMk cId="2155997825" sldId="375"/>
            <ac:spMk id="23" creationId="{C67C1FCA-F15F-4CBB-B08F-595DE9432149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50:44.141" v="124" actId="20577"/>
          <ac:spMkLst>
            <pc:docMk/>
            <pc:sldMk cId="2155997825" sldId="375"/>
            <ac:spMk id="24" creationId="{9D3B6B4F-AFE9-4C98-A264-E4735FFD431C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779" v="42" actId="1076"/>
          <ac:spMkLst>
            <pc:docMk/>
            <pc:sldMk cId="2155997825" sldId="375"/>
            <ac:spMk id="25" creationId="{E7D85969-2F2F-4CBD-9130-FD5ADAA7E0BE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50:36.172" v="120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639" v="29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30.592" v="43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654" v="30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670" v="31" actId="1076"/>
          <ac:spMkLst>
            <pc:docMk/>
            <pc:sldMk cId="2155997825" sldId="37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30.608" v="44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670" v="32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686" v="33" actId="1076"/>
          <ac:spMkLst>
            <pc:docMk/>
            <pc:sldMk cId="2155997825" sldId="37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49:26.561" v="95" actId="20577"/>
          <ac:spMkLst>
            <pc:docMk/>
            <pc:sldMk cId="2155997825" sldId="37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691160B6-0E9F-1DD9-D332-10EA91C6F8D8}" dt="2021-03-11T18:36:10.733" v="37" actId="1076"/>
          <ac:spMkLst>
            <pc:docMk/>
            <pc:sldMk cId="2155997825" sldId="375"/>
            <ac:spMk id="51" creationId="{F913A60D-2783-4406-9452-4739CB932FC8}"/>
          </ac:spMkLst>
        </pc:spChg>
      </pc:sldChg>
      <pc:sldChg chg="modSp">
        <pc:chgData name="Mery Carrasco Mauricio (Codelco-Casa Matriz)" userId="S::mmery004@codelco.cl::a0378191-74de-4d59-9b37-aa421303daba" providerId="AD" clId="Web-{691160B6-0E9F-1DD9-D332-10EA91C6F8D8}" dt="2021-03-11T18:38:12.344" v="67" actId="2057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691160B6-0E9F-1DD9-D332-10EA91C6F8D8}" dt="2021-03-11T18:38:12.344" v="67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Mery Carrasco Mauricio (Codelco-Casa Matriz)" userId="S::mmery004@codelco.cl::a0378191-74de-4d59-9b37-aa421303daba" providerId="AD" clId="Web-{691160B6-0E9F-1DD9-D332-10EA91C6F8D8}" dt="2021-03-11T18:35:15.560" v="5"/>
        <pc:sldMkLst>
          <pc:docMk/>
          <pc:sldMk cId="1797116895" sldId="444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5:11.278" v="4"/>
        <pc:sldMkLst>
          <pc:docMk/>
          <pc:sldMk cId="1289861142" sldId="445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6:54.202" v="46"/>
        <pc:sldMkLst>
          <pc:docMk/>
          <pc:sldMk cId="2362642791" sldId="471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7:06.374" v="49"/>
        <pc:sldMkLst>
          <pc:docMk/>
          <pc:sldMk cId="1357916913" sldId="474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6:56.983" v="47"/>
        <pc:sldMkLst>
          <pc:docMk/>
          <pc:sldMk cId="3645109419" sldId="475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7:03.280" v="48"/>
        <pc:sldMkLst>
          <pc:docMk/>
          <pc:sldMk cId="1240417353" sldId="476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7:10.999" v="51"/>
        <pc:sldMkLst>
          <pc:docMk/>
          <pc:sldMk cId="3196759263" sldId="477"/>
        </pc:sldMkLst>
      </pc:sldChg>
      <pc:sldChg chg="del">
        <pc:chgData name="Mery Carrasco Mauricio (Codelco-Casa Matriz)" userId="S::mmery004@codelco.cl::a0378191-74de-4d59-9b37-aa421303daba" providerId="AD" clId="Web-{691160B6-0E9F-1DD9-D332-10EA91C6F8D8}" dt="2021-03-11T18:37:06.484" v="50"/>
        <pc:sldMkLst>
          <pc:docMk/>
          <pc:sldMk cId="3410586279" sldId="478"/>
        </pc:sldMkLst>
      </pc:sldChg>
    </pc:docChg>
  </pc:docChgLst>
  <pc:docChgLst>
    <pc:chgData name="Herrera Bustamante Cristian (Codelco-Casa Matriz)" userId="S::cherr058@codelco.cl::2c6d9cd6-c296-4612-8f6b-c05dbcd0c76b" providerId="AD" clId="Web-{622DDDFC-C766-D3C1-F7EE-CFC6ECDC3695}"/>
    <pc:docChg chg="modSld">
      <pc:chgData name="Herrera Bustamante Cristian (Codelco-Casa Matriz)" userId="S::cherr058@codelco.cl::2c6d9cd6-c296-4612-8f6b-c05dbcd0c76b" providerId="AD" clId="Web-{622DDDFC-C766-D3C1-F7EE-CFC6ECDC3695}" dt="2021-10-12T04:36:53.582" v="1" actId="20577"/>
      <pc:docMkLst>
        <pc:docMk/>
      </pc:docMkLst>
      <pc:sldChg chg="modSp">
        <pc:chgData name="Herrera Bustamante Cristian (Codelco-Casa Matriz)" userId="S::cherr058@codelco.cl::2c6d9cd6-c296-4612-8f6b-c05dbcd0c76b" providerId="AD" clId="Web-{622DDDFC-C766-D3C1-F7EE-CFC6ECDC3695}" dt="2021-10-12T04:36:32.394" v="0" actId="20577"/>
        <pc:sldMkLst>
          <pc:docMk/>
          <pc:sldMk cId="642344154" sldId="569"/>
        </pc:sldMkLst>
        <pc:spChg chg="mod">
          <ac:chgData name="Herrera Bustamante Cristian (Codelco-Casa Matriz)" userId="S::cherr058@codelco.cl::2c6d9cd6-c296-4612-8f6b-c05dbcd0c76b" providerId="AD" clId="Web-{622DDDFC-C766-D3C1-F7EE-CFC6ECDC3695}" dt="2021-10-12T04:36:32.394" v="0" actId="20577"/>
          <ac:spMkLst>
            <pc:docMk/>
            <pc:sldMk cId="642344154" sldId="569"/>
            <ac:spMk id="16" creationId="{C362A9E2-540B-4ECF-B6C5-C1DF31564628}"/>
          </ac:spMkLst>
        </pc:spChg>
      </pc:sldChg>
      <pc:sldChg chg="modSp">
        <pc:chgData name="Herrera Bustamante Cristian (Codelco-Casa Matriz)" userId="S::cherr058@codelco.cl::2c6d9cd6-c296-4612-8f6b-c05dbcd0c76b" providerId="AD" clId="Web-{622DDDFC-C766-D3C1-F7EE-CFC6ECDC3695}" dt="2021-10-12T04:36:53.582" v="1" actId="20577"/>
        <pc:sldMkLst>
          <pc:docMk/>
          <pc:sldMk cId="629380034" sldId="617"/>
        </pc:sldMkLst>
        <pc:spChg chg="mod">
          <ac:chgData name="Herrera Bustamante Cristian (Codelco-Casa Matriz)" userId="S::cherr058@codelco.cl::2c6d9cd6-c296-4612-8f6b-c05dbcd0c76b" providerId="AD" clId="Web-{622DDDFC-C766-D3C1-F7EE-CFC6ECDC3695}" dt="2021-10-12T04:36:53.582" v="1" actId="20577"/>
          <ac:spMkLst>
            <pc:docMk/>
            <pc:sldMk cId="629380034" sldId="617"/>
            <ac:spMk id="32" creationId="{00000000-0000-0000-0000-000000000000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467080C1-63C3-7F35-4AAA-32D9C4C55D12}"/>
    <pc:docChg chg="modSld">
      <pc:chgData name="Paillacar Oyarzo Paulo Ignacio (Codelco-Casa Matriz)" userId="S::ppail001@codelco.cl::3f9c4ec0-dfff-4bc5-ba03-192dd672e537" providerId="AD" clId="Web-{467080C1-63C3-7F35-4AAA-32D9C4C55D12}" dt="2021-01-14T15:03:31.906" v="74" actId="20577"/>
      <pc:docMkLst>
        <pc:docMk/>
      </pc:docMkLst>
      <pc:sldChg chg="modSp">
        <pc:chgData name="Paillacar Oyarzo Paulo Ignacio (Codelco-Casa Matriz)" userId="S::ppail001@codelco.cl::3f9c4ec0-dfff-4bc5-ba03-192dd672e537" providerId="AD" clId="Web-{467080C1-63C3-7F35-4AAA-32D9C4C55D12}" dt="2021-01-14T15:03:31.906" v="74" actId="20577"/>
        <pc:sldMkLst>
          <pc:docMk/>
          <pc:sldMk cId="1439892650" sldId="446"/>
        </pc:sldMkLst>
        <pc:spChg chg="mod">
          <ac:chgData name="Paillacar Oyarzo Paulo Ignacio (Codelco-Casa Matriz)" userId="S::ppail001@codelco.cl::3f9c4ec0-dfff-4bc5-ba03-192dd672e537" providerId="AD" clId="Web-{467080C1-63C3-7F35-4AAA-32D9C4C55D12}" dt="2021-01-14T15:02:21.513" v="21" actId="20577"/>
          <ac:spMkLst>
            <pc:docMk/>
            <pc:sldMk cId="1439892650" sldId="446"/>
            <ac:spMk id="3" creationId="{2D196C08-B501-49D4-B281-BA6D9574ABE9}"/>
          </ac:spMkLst>
        </pc:spChg>
        <pc:spChg chg="mod">
          <ac:chgData name="Paillacar Oyarzo Paulo Ignacio (Codelco-Casa Matriz)" userId="S::ppail001@codelco.cl::3f9c4ec0-dfff-4bc5-ba03-192dd672e537" providerId="AD" clId="Web-{467080C1-63C3-7F35-4AAA-32D9C4C55D12}" dt="2021-01-14T15:03:31.906" v="74" actId="20577"/>
          <ac:spMkLst>
            <pc:docMk/>
            <pc:sldMk cId="1439892650" sldId="446"/>
            <ac:spMk id="7" creationId="{748911FB-67EE-4B7C-B285-E95096B7B8EB}"/>
          </ac:spMkLst>
        </pc:spChg>
        <pc:picChg chg="mod">
          <ac:chgData name="Paillacar Oyarzo Paulo Ignacio (Codelco-Casa Matriz)" userId="S::ppail001@codelco.cl::3f9c4ec0-dfff-4bc5-ba03-192dd672e537" providerId="AD" clId="Web-{467080C1-63C3-7F35-4AAA-32D9C4C55D12}" dt="2021-01-14T15:02:31.217" v="26" actId="1076"/>
          <ac:picMkLst>
            <pc:docMk/>
            <pc:sldMk cId="1439892650" sldId="446"/>
            <ac:picMk id="5" creationId="{8861FE34-207C-4BB5-8860-3115822179B3}"/>
          </ac:picMkLst>
        </pc:picChg>
      </pc:sldChg>
    </pc:docChg>
  </pc:docChgLst>
  <pc:docChgLst>
    <pc:chgData name="Cecilia De Brun" userId="S::cecilia_de_brun_mckinsey.com#ext#@codelcochile.onmicrosoft.com::9cf74694-5392-472f-a1fc-6533900a07f4" providerId="AD" clId="Web-{ADFDC29F-60A1-0000-C22D-9492013F5A14}"/>
    <pc:docChg chg="addSld modSld sldOrd addMainMaster modMainMaster">
      <pc:chgData name="Cecilia De Brun" userId="S::cecilia_de_brun_mckinsey.com#ext#@codelcochile.onmicrosoft.com::9cf74694-5392-472f-a1fc-6533900a07f4" providerId="AD" clId="Web-{ADFDC29F-60A1-0000-C22D-9492013F5A14}" dt="2021-04-29T13:37:47.111" v="41"/>
      <pc:docMkLst>
        <pc:docMk/>
      </pc:docMkLst>
      <pc:sldChg chg="modSp">
        <pc:chgData name="Cecilia De Brun" userId="S::cecilia_de_brun_mckinsey.com#ext#@codelcochile.onmicrosoft.com::9cf74694-5392-472f-a1fc-6533900a07f4" providerId="AD" clId="Web-{ADFDC29F-60A1-0000-C22D-9492013F5A14}" dt="2021-04-29T13:34:01.873" v="15"/>
        <pc:sldMkLst>
          <pc:docMk/>
          <pc:sldMk cId="1352864007" sldId="462"/>
        </pc:sldMkLst>
        <pc:spChg chg="mod">
          <ac:chgData name="Cecilia De Brun" userId="S::cecilia_de_brun_mckinsey.com#ext#@codelcochile.onmicrosoft.com::9cf74694-5392-472f-a1fc-6533900a07f4" providerId="AD" clId="Web-{ADFDC29F-60A1-0000-C22D-9492013F5A14}" dt="2021-04-29T13:34:01.873" v="15"/>
          <ac:spMkLst>
            <pc:docMk/>
            <pc:sldMk cId="1352864007" sldId="462"/>
            <ac:spMk id="50" creationId="{CAB885FA-46E1-44EF-8D19-C807FC349CC4}"/>
          </ac:spMkLst>
        </pc:spChg>
      </pc:sldChg>
      <pc:sldChg chg="modSp">
        <pc:chgData name="Cecilia De Brun" userId="S::cecilia_de_brun_mckinsey.com#ext#@codelcochile.onmicrosoft.com::9cf74694-5392-472f-a1fc-6533900a07f4" providerId="AD" clId="Web-{ADFDC29F-60A1-0000-C22D-9492013F5A14}" dt="2021-04-29T13:34:11.748" v="16" actId="20577"/>
        <pc:sldMkLst>
          <pc:docMk/>
          <pc:sldMk cId="1975661586" sldId="463"/>
        </pc:sldMkLst>
        <pc:spChg chg="mod">
          <ac:chgData name="Cecilia De Brun" userId="S::cecilia_de_brun_mckinsey.com#ext#@codelcochile.onmicrosoft.com::9cf74694-5392-472f-a1fc-6533900a07f4" providerId="AD" clId="Web-{ADFDC29F-60A1-0000-C22D-9492013F5A14}" dt="2021-04-29T13:34:11.748" v="16" actId="20577"/>
          <ac:spMkLst>
            <pc:docMk/>
            <pc:sldMk cId="1975661586" sldId="463"/>
            <ac:spMk id="50" creationId="{CAB885FA-46E1-44EF-8D19-C807FC349CC4}"/>
          </ac:spMkLst>
        </pc:spChg>
      </pc:sldChg>
      <pc:sldChg chg="addSp delSp modSp">
        <pc:chgData name="Cecilia De Brun" userId="S::cecilia_de_brun_mckinsey.com#ext#@codelcochile.onmicrosoft.com::9cf74694-5392-472f-a1fc-6533900a07f4" providerId="AD" clId="Web-{ADFDC29F-60A1-0000-C22D-9492013F5A14}" dt="2021-04-29T13:34:38.171" v="20" actId="20577"/>
        <pc:sldMkLst>
          <pc:docMk/>
          <pc:sldMk cId="2828386828" sldId="490"/>
        </pc:sldMkLst>
        <pc:spChg chg="add del mod">
          <ac:chgData name="Cecilia De Brun" userId="S::cecilia_de_brun_mckinsey.com#ext#@codelcochile.onmicrosoft.com::9cf74694-5392-472f-a1fc-6533900a07f4" providerId="AD" clId="Web-{ADFDC29F-60A1-0000-C22D-9492013F5A14}" dt="2021-04-29T13:30:54.980" v="3"/>
          <ac:spMkLst>
            <pc:docMk/>
            <pc:sldMk cId="2828386828" sldId="490"/>
            <ac:spMk id="6" creationId="{A918DAA2-7B18-43B8-87F5-22B3C830D1E3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4:38.171" v="20" actId="20577"/>
          <ac:spMkLst>
            <pc:docMk/>
            <pc:sldMk cId="2828386828" sldId="490"/>
            <ac:spMk id="50" creationId="{CAB885FA-46E1-44EF-8D19-C807FC349CC4}"/>
          </ac:spMkLst>
        </pc:spChg>
      </pc:sldChg>
      <pc:sldChg chg="add ord">
        <pc:chgData name="Cecilia De Brun" userId="S::cecilia_de_brun_mckinsey.com#ext#@codelcochile.onmicrosoft.com::9cf74694-5392-472f-a1fc-6533900a07f4" providerId="AD" clId="Web-{ADFDC29F-60A1-0000-C22D-9492013F5A14}" dt="2021-04-29T13:31:24.668" v="5"/>
        <pc:sldMkLst>
          <pc:docMk/>
          <pc:sldMk cId="2756603616" sldId="495"/>
        </pc:sldMkLst>
      </pc:sldChg>
      <pc:sldChg chg="modSp add ord replId">
        <pc:chgData name="Cecilia De Brun" userId="S::cecilia_de_brun_mckinsey.com#ext#@codelcochile.onmicrosoft.com::9cf74694-5392-472f-a1fc-6533900a07f4" providerId="AD" clId="Web-{ADFDC29F-60A1-0000-C22D-9492013F5A14}" dt="2021-04-29T13:34:31.155" v="19" actId="20577"/>
        <pc:sldMkLst>
          <pc:docMk/>
          <pc:sldMk cId="4245515824" sldId="496"/>
        </pc:sldMkLst>
        <pc:spChg chg="mod">
          <ac:chgData name="Cecilia De Brun" userId="S::cecilia_de_brun_mckinsey.com#ext#@codelcochile.onmicrosoft.com::9cf74694-5392-472f-a1fc-6533900a07f4" providerId="AD" clId="Web-{ADFDC29F-60A1-0000-C22D-9492013F5A14}" dt="2021-04-29T13:32:24.387" v="10"/>
          <ac:spMkLst>
            <pc:docMk/>
            <pc:sldMk cId="4245515824" sldId="496"/>
            <ac:spMk id="42" creationId="{EC348201-1069-4CB5-90C7-D138998005CF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2:29.059" v="11"/>
          <ac:spMkLst>
            <pc:docMk/>
            <pc:sldMk cId="4245515824" sldId="496"/>
            <ac:spMk id="43" creationId="{D3E50C62-A68A-4CB0-A20F-755A1D68CAD2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2:20.434" v="9"/>
          <ac:spMkLst>
            <pc:docMk/>
            <pc:sldMk cId="4245515824" sldId="496"/>
            <ac:spMk id="47" creationId="{8AFED1E8-722F-4F9D-8B1C-DD0D8C1C324E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2:05.418" v="8"/>
          <ac:spMkLst>
            <pc:docMk/>
            <pc:sldMk cId="4245515824" sldId="496"/>
            <ac:spMk id="48" creationId="{62444E91-07F2-4258-A080-F0F76AFF8F81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4:31.155" v="19" actId="20577"/>
          <ac:spMkLst>
            <pc:docMk/>
            <pc:sldMk cId="4245515824" sldId="496"/>
            <ac:spMk id="50" creationId="{CAB885FA-46E1-44EF-8D19-C807FC349CC4}"/>
          </ac:spMkLst>
        </pc:spChg>
      </pc:sldChg>
      <pc:sldChg chg="modSp add replId">
        <pc:chgData name="Cecilia De Brun" userId="S::cecilia_de_brun_mckinsey.com#ext#@codelcochile.onmicrosoft.com::9cf74694-5392-472f-a1fc-6533900a07f4" providerId="AD" clId="Web-{ADFDC29F-60A1-0000-C22D-9492013F5A14}" dt="2021-04-29T13:35:08.343" v="24"/>
        <pc:sldMkLst>
          <pc:docMk/>
          <pc:sldMk cId="2076073396" sldId="497"/>
        </pc:sldMkLst>
        <pc:spChg chg="mod">
          <ac:chgData name="Cecilia De Brun" userId="S::cecilia_de_brun_mckinsey.com#ext#@codelcochile.onmicrosoft.com::9cf74694-5392-472f-a1fc-6533900a07f4" providerId="AD" clId="Web-{ADFDC29F-60A1-0000-C22D-9492013F5A14}" dt="2021-04-29T13:35:03.484" v="23"/>
          <ac:spMkLst>
            <pc:docMk/>
            <pc:sldMk cId="2076073396" sldId="497"/>
            <ac:spMk id="42" creationId="{EC348201-1069-4CB5-90C7-D138998005CF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5:08.343" v="24"/>
          <ac:spMkLst>
            <pc:docMk/>
            <pc:sldMk cId="2076073396" sldId="497"/>
            <ac:spMk id="43" creationId="{D3E50C62-A68A-4CB0-A20F-755A1D68CAD2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5:00.109" v="22"/>
          <ac:spMkLst>
            <pc:docMk/>
            <pc:sldMk cId="2076073396" sldId="497"/>
            <ac:spMk id="50" creationId="{CAB885FA-46E1-44EF-8D19-C807FC349CC4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4:56.124" v="21"/>
          <ac:spMkLst>
            <pc:docMk/>
            <pc:sldMk cId="2076073396" sldId="497"/>
            <ac:spMk id="51" creationId="{F913A60D-2783-4406-9452-4739CB932FC8}"/>
          </ac:spMkLst>
        </pc:spChg>
      </pc:sldChg>
      <pc:sldChg chg="modSp add ord replId">
        <pc:chgData name="Cecilia De Brun" userId="S::cecilia_de_brun_mckinsey.com#ext#@codelcochile.onmicrosoft.com::9cf74694-5392-472f-a1fc-6533900a07f4" providerId="AD" clId="Web-{ADFDC29F-60A1-0000-C22D-9492013F5A14}" dt="2021-04-29T13:35:57.422" v="30"/>
        <pc:sldMkLst>
          <pc:docMk/>
          <pc:sldMk cId="2011057260" sldId="498"/>
        </pc:sldMkLst>
        <pc:spChg chg="mod">
          <ac:chgData name="Cecilia De Brun" userId="S::cecilia_de_brun_mckinsey.com#ext#@codelcochile.onmicrosoft.com::9cf74694-5392-472f-a1fc-6533900a07f4" providerId="AD" clId="Web-{ADFDC29F-60A1-0000-C22D-9492013F5A14}" dt="2021-04-29T13:35:47.297" v="28"/>
          <ac:spMkLst>
            <pc:docMk/>
            <pc:sldMk cId="2011057260" sldId="498"/>
            <ac:spMk id="19" creationId="{DCBCEB20-8377-429A-B182-F1F2770545F5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5:39.016" v="26"/>
          <ac:spMkLst>
            <pc:docMk/>
            <pc:sldMk cId="2011057260" sldId="498"/>
            <ac:spMk id="20" creationId="{147F67F4-8295-4335-A9A3-880D29F245E0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5:52.500" v="29"/>
          <ac:spMkLst>
            <pc:docMk/>
            <pc:sldMk cId="2011057260" sldId="498"/>
            <ac:spMk id="50" creationId="{CAB885FA-46E1-44EF-8D19-C807FC349CC4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5:57.422" v="30"/>
          <ac:spMkLst>
            <pc:docMk/>
            <pc:sldMk cId="2011057260" sldId="498"/>
            <ac:spMk id="51" creationId="{F913A60D-2783-4406-9452-4739CB932FC8}"/>
          </ac:spMkLst>
        </pc:spChg>
      </pc:sldChg>
      <pc:sldChg chg="modSp add ord replId">
        <pc:chgData name="Cecilia De Brun" userId="S::cecilia_de_brun_mckinsey.com#ext#@codelcochile.onmicrosoft.com::9cf74694-5392-472f-a1fc-6533900a07f4" providerId="AD" clId="Web-{ADFDC29F-60A1-0000-C22D-9492013F5A14}" dt="2021-04-29T13:36:52.079" v="37"/>
        <pc:sldMkLst>
          <pc:docMk/>
          <pc:sldMk cId="148514629" sldId="499"/>
        </pc:sldMkLst>
        <pc:spChg chg="mod">
          <ac:chgData name="Cecilia De Brun" userId="S::cecilia_de_brun_mckinsey.com#ext#@codelcochile.onmicrosoft.com::9cf74694-5392-472f-a1fc-6533900a07f4" providerId="AD" clId="Web-{ADFDC29F-60A1-0000-C22D-9492013F5A14}" dt="2021-04-29T13:36:36.876" v="35"/>
          <ac:spMkLst>
            <pc:docMk/>
            <pc:sldMk cId="148514629" sldId="499"/>
            <ac:spMk id="17" creationId="{552090A5-F322-40DD-8355-465D65FAB046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6:25.329" v="33"/>
          <ac:spMkLst>
            <pc:docMk/>
            <pc:sldMk cId="148514629" sldId="499"/>
            <ac:spMk id="18" creationId="{71192C79-FAE5-4BB2-8C6D-43A9BC271C91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6:52.079" v="37"/>
          <ac:spMkLst>
            <pc:docMk/>
            <pc:sldMk cId="148514629" sldId="499"/>
            <ac:spMk id="19" creationId="{DCBCEB20-8377-429A-B182-F1F2770545F5}"/>
          </ac:spMkLst>
        </pc:spChg>
        <pc:spChg chg="mod">
          <ac:chgData name="Cecilia De Brun" userId="S::cecilia_de_brun_mckinsey.com#ext#@codelcochile.onmicrosoft.com::9cf74694-5392-472f-a1fc-6533900a07f4" providerId="AD" clId="Web-{ADFDC29F-60A1-0000-C22D-9492013F5A14}" dt="2021-04-29T13:36:33.345" v="34"/>
          <ac:spMkLst>
            <pc:docMk/>
            <pc:sldMk cId="148514629" sldId="499"/>
            <ac:spMk id="20" creationId="{147F67F4-8295-4335-A9A3-880D29F245E0}"/>
          </ac:spMkLst>
        </pc:spChg>
      </pc:sldChg>
      <pc:sldChg chg="ord">
        <pc:chgData name="Cecilia De Brun" userId="S::cecilia_de_brun_mckinsey.com#ext#@codelcochile.onmicrosoft.com::9cf74694-5392-472f-a1fc-6533900a07f4" providerId="AD" clId="Web-{ADFDC29F-60A1-0000-C22D-9492013F5A14}" dt="2021-04-29T13:37:16.736" v="39"/>
        <pc:sldMkLst>
          <pc:docMk/>
          <pc:sldMk cId="1418399147" sldId="500"/>
        </pc:sldMkLst>
      </pc:sldChg>
      <pc:sldChg chg="add ord replId">
        <pc:chgData name="Cecilia De Brun" userId="S::cecilia_de_brun_mckinsey.com#ext#@codelcochile.onmicrosoft.com::9cf74694-5392-472f-a1fc-6533900a07f4" providerId="AD" clId="Web-{ADFDC29F-60A1-0000-C22D-9492013F5A14}" dt="2021-04-29T13:37:47.111" v="41"/>
        <pc:sldMkLst>
          <pc:docMk/>
          <pc:sldMk cId="954267347" sldId="501"/>
        </pc:sldMkLst>
      </pc:sldChg>
      <pc:sldMasterChg chg="modSldLayout">
        <pc:chgData name="Cecilia De Brun" userId="S::cecilia_de_brun_mckinsey.com#ext#@codelcochile.onmicrosoft.com::9cf74694-5392-472f-a1fc-6533900a07f4" providerId="AD" clId="Web-{ADFDC29F-60A1-0000-C22D-9492013F5A14}" dt="2021-04-29T13:31:16.449" v="4"/>
        <pc:sldMasterMkLst>
          <pc:docMk/>
          <pc:sldMasterMk cId="2969229741" sldId="2147484382"/>
        </pc:sldMasterMkLst>
        <pc:sldLayoutChg chg="replI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2969229741" sldId="2147484382"/>
            <pc:sldLayoutMk cId="1746498062" sldId="2147484412"/>
          </pc:sldLayoutMkLst>
        </pc:sldLayoutChg>
      </pc:sldMasterChg>
      <pc:sldMasterChg chg="add addSldLayout">
        <pc:chgData name="Cecilia De Brun" userId="S::cecilia_de_brun_mckinsey.com#ext#@codelcochile.onmicrosoft.com::9cf74694-5392-472f-a1fc-6533900a07f4" providerId="AD" clId="Web-{ADFDC29F-60A1-0000-C22D-9492013F5A14}" dt="2021-04-29T13:31:16.449" v="4"/>
        <pc:sldMasterMkLst>
          <pc:docMk/>
          <pc:sldMasterMk cId="1483736372" sldId="2147484406"/>
        </pc:sldMasterMkLst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2875749326" sldId="2147484407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1246577849" sldId="2147484408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1892425772" sldId="2147484409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3429055014" sldId="2147484410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3462345350" sldId="2147484411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2664754821" sldId="2147484413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757950045" sldId="2147484414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3338812451" sldId="2147484415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1566510803" sldId="2147484416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1771080821" sldId="2147484417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3879504276" sldId="2147484418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604462793" sldId="2147484419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1031026366" sldId="2147484420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1807483272" sldId="2147484421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831975692" sldId="2147484422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ADFDC29F-60A1-0000-C22D-9492013F5A14}" dt="2021-04-29T13:31:16.449" v="4"/>
          <pc:sldLayoutMkLst>
            <pc:docMk/>
            <pc:sldMasterMk cId="1483736372" sldId="2147484406"/>
            <pc:sldLayoutMk cId="3834324367" sldId="2147484550"/>
          </pc:sldLayoutMkLst>
        </pc:sldLayoutChg>
      </pc:sldMasterChg>
    </pc:docChg>
  </pc:docChgLst>
  <pc:docChgLst>
    <pc:chgData name="López Peñafiel Cristian (Codelco-Casa Matriz)" userId="S::clope043@codelco.cl::381c3bc6-4449-46be-b8ff-f88ef887b85f" providerId="AD" clId="Web-{F38D3930-A4F1-4142-DBB3-F8D8216F0E50}"/>
    <pc:docChg chg="modSld">
      <pc:chgData name="López Peñafiel Cristian (Codelco-Casa Matriz)" userId="S::clope043@codelco.cl::381c3bc6-4449-46be-b8ff-f88ef887b85f" providerId="AD" clId="Web-{F38D3930-A4F1-4142-DBB3-F8D8216F0E50}" dt="2020-10-08T13:48:58.039" v="27" actId="14100"/>
      <pc:docMkLst>
        <pc:docMk/>
      </pc:docMkLst>
      <pc:sldChg chg="modSp">
        <pc:chgData name="López Peñafiel Cristian (Codelco-Casa Matriz)" userId="S::clope043@codelco.cl::381c3bc6-4449-46be-b8ff-f88ef887b85f" providerId="AD" clId="Web-{F38D3930-A4F1-4142-DBB3-F8D8216F0E50}" dt="2020-10-08T13:44:40.632" v="5" actId="14100"/>
        <pc:sldMkLst>
          <pc:docMk/>
          <pc:sldMk cId="3112561217" sldId="400"/>
        </pc:sldMkLst>
        <pc:spChg chg="mod">
          <ac:chgData name="López Peñafiel Cristian (Codelco-Casa Matriz)" userId="S::clope043@codelco.cl::381c3bc6-4449-46be-b8ff-f88ef887b85f" providerId="AD" clId="Web-{F38D3930-A4F1-4142-DBB3-F8D8216F0E50}" dt="2020-10-08T13:44:40.632" v="5" actId="14100"/>
          <ac:spMkLst>
            <pc:docMk/>
            <pc:sldMk cId="3112561217" sldId="400"/>
            <ac:spMk id="28" creationId="{FFEBC623-67A9-4BA3-9DD3-32F8D7ED1BAB}"/>
          </ac:spMkLst>
        </pc:spChg>
      </pc:sldChg>
      <pc:sldChg chg="modSp">
        <pc:chgData name="López Peñafiel Cristian (Codelco-Casa Matriz)" userId="S::clope043@codelco.cl::381c3bc6-4449-46be-b8ff-f88ef887b85f" providerId="AD" clId="Web-{F38D3930-A4F1-4142-DBB3-F8D8216F0E50}" dt="2020-10-08T13:44:49.117" v="6" actId="20577"/>
        <pc:sldMkLst>
          <pc:docMk/>
          <pc:sldMk cId="131058556" sldId="410"/>
        </pc:sldMkLst>
        <pc:spChg chg="mod">
          <ac:chgData name="López Peñafiel Cristian (Codelco-Casa Matriz)" userId="S::clope043@codelco.cl::381c3bc6-4449-46be-b8ff-f88ef887b85f" providerId="AD" clId="Web-{F38D3930-A4F1-4142-DBB3-F8D8216F0E50}" dt="2020-10-08T13:44:49.117" v="6" actId="20577"/>
          <ac:spMkLst>
            <pc:docMk/>
            <pc:sldMk cId="131058556" sldId="410"/>
            <ac:spMk id="71" creationId="{0AB91C27-965B-4E92-81CC-031614C3752E}"/>
          </ac:spMkLst>
        </pc:spChg>
      </pc:sldChg>
      <pc:sldChg chg="modSp">
        <pc:chgData name="López Peñafiel Cristian (Codelco-Casa Matriz)" userId="S::clope043@codelco.cl::381c3bc6-4449-46be-b8ff-f88ef887b85f" providerId="AD" clId="Web-{F38D3930-A4F1-4142-DBB3-F8D8216F0E50}" dt="2020-10-08T13:48:58.039" v="27" actId="14100"/>
        <pc:sldMkLst>
          <pc:docMk/>
          <pc:sldMk cId="1766117240" sldId="412"/>
        </pc:sldMkLst>
        <pc:spChg chg="mod">
          <ac:chgData name="López Peñafiel Cristian (Codelco-Casa Matriz)" userId="S::clope043@codelco.cl::381c3bc6-4449-46be-b8ff-f88ef887b85f" providerId="AD" clId="Web-{F38D3930-A4F1-4142-DBB3-F8D8216F0E50}" dt="2020-10-08T13:48:58.039" v="27" actId="14100"/>
          <ac:spMkLst>
            <pc:docMk/>
            <pc:sldMk cId="1766117240" sldId="412"/>
            <ac:spMk id="94" creationId="{683194F2-7D22-4A13-B981-F50482FCA0F3}"/>
          </ac:spMkLst>
        </pc:spChg>
        <pc:spChg chg="mod">
          <ac:chgData name="López Peñafiel Cristian (Codelco-Casa Matriz)" userId="S::clope043@codelco.cl::381c3bc6-4449-46be-b8ff-f88ef887b85f" providerId="AD" clId="Web-{F38D3930-A4F1-4142-DBB3-F8D8216F0E50}" dt="2020-10-08T13:45:13.351" v="7" actId="14100"/>
          <ac:spMkLst>
            <pc:docMk/>
            <pc:sldMk cId="1766117240" sldId="412"/>
            <ac:spMk id="172049" creationId="{00000000-0000-0000-0000-000000000000}"/>
          </ac:spMkLst>
        </pc:spChg>
      </pc:sldChg>
    </pc:docChg>
  </pc:docChgLst>
  <pc:docChgLst>
    <pc:chgData name="Huidobro Matamala Juan (Codelco-Chuquicamata)" userId="S::jhuid001@codelco.cl::afdd00f7-4d72-4a9e-8227-cd11f72dd823" providerId="AD" clId="Web-{DCA7B0E9-661B-C70E-7068-76C1A451D07D}"/>
    <pc:docChg chg="modSld">
      <pc:chgData name="Huidobro Matamala Juan (Codelco-Chuquicamata)" userId="S::jhuid001@codelco.cl::afdd00f7-4d72-4a9e-8227-cd11f72dd823" providerId="AD" clId="Web-{DCA7B0E9-661B-C70E-7068-76C1A451D07D}" dt="2020-10-22T13:56:05.281" v="11"/>
      <pc:docMkLst>
        <pc:docMk/>
      </pc:docMkLst>
      <pc:sldChg chg="addSp">
        <pc:chgData name="Huidobro Matamala Juan (Codelco-Chuquicamata)" userId="S::jhuid001@codelco.cl::afdd00f7-4d72-4a9e-8227-cd11f72dd823" providerId="AD" clId="Web-{DCA7B0E9-661B-C70E-7068-76C1A451D07D}" dt="2020-10-22T13:56:05.281" v="11"/>
        <pc:sldMkLst>
          <pc:docMk/>
          <pc:sldMk cId="1259302253" sldId="353"/>
        </pc:sldMkLst>
        <pc:inkChg chg="add">
          <ac:chgData name="Huidobro Matamala Juan (Codelco-Chuquicamata)" userId="S::jhuid001@codelco.cl::afdd00f7-4d72-4a9e-8227-cd11f72dd823" providerId="AD" clId="Web-{DCA7B0E9-661B-C70E-7068-76C1A451D07D}" dt="2020-10-22T13:55:17.530" v="9"/>
          <ac:inkMkLst>
            <pc:docMk/>
            <pc:sldMk cId="1259302253" sldId="353"/>
            <ac:inkMk id="3" creationId="{8B33EF73-B996-4186-A817-CA0C0BEE31DB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3:04.715" v="7"/>
          <ac:inkMkLst>
            <pc:docMk/>
            <pc:sldMk cId="1259302253" sldId="353"/>
            <ac:inkMk id="3" creationId="{A42A582C-8943-4135-AD1F-64576D0C5F4E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6:05.281" v="11"/>
          <ac:inkMkLst>
            <pc:docMk/>
            <pc:sldMk cId="1259302253" sldId="353"/>
            <ac:inkMk id="3" creationId="{F5047BC7-4044-445C-AE34-89943910C19A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48:52.726" v="0"/>
          <ac:inkMkLst>
            <pc:docMk/>
            <pc:sldMk cId="1259302253" sldId="353"/>
            <ac:inkMk id="3" creationId="{FE4E1D26-3909-4D6B-8B45-EFDF6FE28AF2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49:15.023" v="1"/>
          <ac:inkMkLst>
            <pc:docMk/>
            <pc:sldMk cId="1259302253" sldId="353"/>
            <ac:inkMk id="4" creationId="{2392189D-8B2D-49E1-BE19-EBFF66370633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3:26.731" v="8"/>
          <ac:inkMkLst>
            <pc:docMk/>
            <pc:sldMk cId="1259302253" sldId="353"/>
            <ac:inkMk id="4" creationId="{2B297F4D-DACF-44C1-BA28-21C96CA223BB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5:40.187" v="10"/>
          <ac:inkMkLst>
            <pc:docMk/>
            <pc:sldMk cId="1259302253" sldId="353"/>
            <ac:inkMk id="5" creationId="{0D9BF7C3-7DED-4AED-9659-819CBEB1BC86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49:38.867" v="2"/>
          <ac:inkMkLst>
            <pc:docMk/>
            <pc:sldMk cId="1259302253" sldId="353"/>
            <ac:inkMk id="5" creationId="{30E57AD0-2435-4DC2-9CC1-7583511D695B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0:23.962" v="3"/>
          <ac:inkMkLst>
            <pc:docMk/>
            <pc:sldMk cId="1259302253" sldId="353"/>
            <ac:inkMk id="6" creationId="{30A510BB-69E3-4598-A9F3-5862A0D0AFB2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0:49.947" v="4"/>
          <ac:inkMkLst>
            <pc:docMk/>
            <pc:sldMk cId="1259302253" sldId="353"/>
            <ac:inkMk id="6" creationId="{4B249DC9-FE8D-420A-AF4D-D1C73236D17B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1:11.978" v="5"/>
          <ac:inkMkLst>
            <pc:docMk/>
            <pc:sldMk cId="1259302253" sldId="353"/>
            <ac:inkMk id="7" creationId="{9E5B621C-4140-41DB-B2DE-0DBFE69536EB}"/>
          </ac:inkMkLst>
        </pc:inkChg>
        <pc:inkChg chg="add">
          <ac:chgData name="Huidobro Matamala Juan (Codelco-Chuquicamata)" userId="S::jhuid001@codelco.cl::afdd00f7-4d72-4a9e-8227-cd11f72dd823" providerId="AD" clId="Web-{DCA7B0E9-661B-C70E-7068-76C1A451D07D}" dt="2020-10-22T13:51:38.651" v="6"/>
          <ac:inkMkLst>
            <pc:docMk/>
            <pc:sldMk cId="1259302253" sldId="353"/>
            <ac:inkMk id="9" creationId="{B754742A-F601-4733-AE8A-CEE0AA08E502}"/>
          </ac:inkMkLst>
        </pc:inkChg>
      </pc:sldChg>
    </pc:docChg>
  </pc:docChgLst>
  <pc:docChgLst>
    <pc:chgData name="Ribbeck Baraibar Magdalena (Codelco-Casa Matriz)" userId="S::mribb001@codelco.cl::7bb6843e-b693-4544-85cb-a362c987f4a4" providerId="AD" clId="Web-{A7FEC29F-2054-0000-C3D8-78BEBB44AAC5}"/>
    <pc:docChg chg="addSld modSld">
      <pc:chgData name="Ribbeck Baraibar Magdalena (Codelco-Casa Matriz)" userId="S::mribb001@codelco.cl::7bb6843e-b693-4544-85cb-a362c987f4a4" providerId="AD" clId="Web-{A7FEC29F-2054-0000-C3D8-78BEBB44AAC5}" dt="2021-04-29T13:16:27.949" v="40" actId="14100"/>
      <pc:docMkLst>
        <pc:docMk/>
      </pc:docMkLst>
      <pc:sldChg chg="addSp delSp modSp new">
        <pc:chgData name="Ribbeck Baraibar Magdalena (Codelco-Casa Matriz)" userId="S::mribb001@codelco.cl::7bb6843e-b693-4544-85cb-a362c987f4a4" providerId="AD" clId="Web-{A7FEC29F-2054-0000-C3D8-78BEBB44AAC5}" dt="2021-04-29T13:16:27.949" v="40" actId="14100"/>
        <pc:sldMkLst>
          <pc:docMk/>
          <pc:sldMk cId="78691940" sldId="493"/>
        </pc:sldMkLst>
        <pc:spChg chg="del">
          <ac:chgData name="Ribbeck Baraibar Magdalena (Codelco-Casa Matriz)" userId="S::mribb001@codelco.cl::7bb6843e-b693-4544-85cb-a362c987f4a4" providerId="AD" clId="Web-{A7FEC29F-2054-0000-C3D8-78BEBB44AAC5}" dt="2021-04-29T13:10:08.567" v="1"/>
          <ac:spMkLst>
            <pc:docMk/>
            <pc:sldMk cId="78691940" sldId="493"/>
            <ac:spMk id="2" creationId="{F9D4A423-2530-4570-81DE-531A1B3F0B92}"/>
          </ac:spMkLst>
        </pc:spChg>
        <pc:picChg chg="add del mod">
          <ac:chgData name="Ribbeck Baraibar Magdalena (Codelco-Casa Matriz)" userId="S::mribb001@codelco.cl::7bb6843e-b693-4544-85cb-a362c987f4a4" providerId="AD" clId="Web-{A7FEC29F-2054-0000-C3D8-78BEBB44AAC5}" dt="2021-04-29T13:10:15.176" v="3"/>
          <ac:picMkLst>
            <pc:docMk/>
            <pc:sldMk cId="78691940" sldId="493"/>
            <ac:picMk id="4" creationId="{AAC6AD4A-B30E-4943-AED2-E9C7D7CD89F2}"/>
          </ac:picMkLst>
        </pc:picChg>
        <pc:picChg chg="add del mod">
          <ac:chgData name="Ribbeck Baraibar Magdalena (Codelco-Casa Matriz)" userId="S::mribb001@codelco.cl::7bb6843e-b693-4544-85cb-a362c987f4a4" providerId="AD" clId="Web-{A7FEC29F-2054-0000-C3D8-78BEBB44AAC5}" dt="2021-04-29T13:11:49.397" v="13"/>
          <ac:picMkLst>
            <pc:docMk/>
            <pc:sldMk cId="78691940" sldId="493"/>
            <ac:picMk id="5" creationId="{84125196-4DF4-41FF-AA5F-D004A75CAAC4}"/>
          </ac:picMkLst>
        </pc:picChg>
        <pc:picChg chg="add del mod">
          <ac:chgData name="Ribbeck Baraibar Magdalena (Codelco-Casa Matriz)" userId="S::mribb001@codelco.cl::7bb6843e-b693-4544-85cb-a362c987f4a4" providerId="AD" clId="Web-{A7FEC29F-2054-0000-C3D8-78BEBB44AAC5}" dt="2021-04-29T13:11:17.928" v="12"/>
          <ac:picMkLst>
            <pc:docMk/>
            <pc:sldMk cId="78691940" sldId="493"/>
            <ac:picMk id="6" creationId="{ADF1108B-A2BD-4BA6-A199-A67F5BEC12D9}"/>
          </ac:picMkLst>
        </pc:picChg>
        <pc:picChg chg="add del mod">
          <ac:chgData name="Ribbeck Baraibar Magdalena (Codelco-Casa Matriz)" userId="S::mribb001@codelco.cl::7bb6843e-b693-4544-85cb-a362c987f4a4" providerId="AD" clId="Web-{A7FEC29F-2054-0000-C3D8-78BEBB44AAC5}" dt="2021-04-29T13:12:02.210" v="18"/>
          <ac:picMkLst>
            <pc:docMk/>
            <pc:sldMk cId="78691940" sldId="493"/>
            <ac:picMk id="7" creationId="{9E3CEAB7-0F4F-4B98-8C7C-DB791523B300}"/>
          </ac:picMkLst>
        </pc:picChg>
        <pc:picChg chg="add del mod">
          <ac:chgData name="Ribbeck Baraibar Magdalena (Codelco-Casa Matriz)" userId="S::mribb001@codelco.cl::7bb6843e-b693-4544-85cb-a362c987f4a4" providerId="AD" clId="Web-{A7FEC29F-2054-0000-C3D8-78BEBB44AAC5}" dt="2021-04-29T13:15:53.917" v="35"/>
          <ac:picMkLst>
            <pc:docMk/>
            <pc:sldMk cId="78691940" sldId="493"/>
            <ac:picMk id="8" creationId="{3C7DF22F-0753-4822-902A-4405DD68862A}"/>
          </ac:picMkLst>
        </pc:picChg>
        <pc:picChg chg="add mod">
          <ac:chgData name="Ribbeck Baraibar Magdalena (Codelco-Casa Matriz)" userId="S::mribb001@codelco.cl::7bb6843e-b693-4544-85cb-a362c987f4a4" providerId="AD" clId="Web-{A7FEC29F-2054-0000-C3D8-78BEBB44AAC5}" dt="2021-04-29T13:16:27.949" v="40" actId="14100"/>
          <ac:picMkLst>
            <pc:docMk/>
            <pc:sldMk cId="78691940" sldId="493"/>
            <ac:picMk id="9" creationId="{D44FB458-216C-4057-945B-BBEFCB0ED542}"/>
          </ac:picMkLst>
        </pc:picChg>
      </pc:sldChg>
      <pc:sldChg chg="addSp delSp modSp new mod setBg">
        <pc:chgData name="Ribbeck Baraibar Magdalena (Codelco-Casa Matriz)" userId="S::mribb001@codelco.cl::7bb6843e-b693-4544-85cb-a362c987f4a4" providerId="AD" clId="Web-{A7FEC29F-2054-0000-C3D8-78BEBB44AAC5}" dt="2021-04-29T13:15:50.277" v="34" actId="1076"/>
        <pc:sldMkLst>
          <pc:docMk/>
          <pc:sldMk cId="1716051782" sldId="494"/>
        </pc:sldMkLst>
        <pc:spChg chg="del">
          <ac:chgData name="Ribbeck Baraibar Magdalena (Codelco-Casa Matriz)" userId="S::mribb001@codelco.cl::7bb6843e-b693-4544-85cb-a362c987f4a4" providerId="AD" clId="Web-{A7FEC29F-2054-0000-C3D8-78BEBB44AAC5}" dt="2021-04-29T13:14:41.103" v="25"/>
          <ac:spMkLst>
            <pc:docMk/>
            <pc:sldMk cId="1716051782" sldId="494"/>
            <ac:spMk id="2" creationId="{3B84563A-9F24-43F4-B8E1-89DA5306E9BE}"/>
          </ac:spMkLst>
        </pc:spChg>
        <pc:spChg chg="del">
          <ac:chgData name="Ribbeck Baraibar Magdalena (Codelco-Casa Matriz)" userId="S::mribb001@codelco.cl::7bb6843e-b693-4544-85cb-a362c987f4a4" providerId="AD" clId="Web-{A7FEC29F-2054-0000-C3D8-78BEBB44AAC5}" dt="2021-04-29T13:14:41.103" v="25"/>
          <ac:spMkLst>
            <pc:docMk/>
            <pc:sldMk cId="1716051782" sldId="494"/>
            <ac:spMk id="3" creationId="{7B934A3D-201A-46DD-BCF9-92BFAB52BAD2}"/>
          </ac:spMkLst>
        </pc:spChg>
        <pc:spChg chg="add del">
          <ac:chgData name="Ribbeck Baraibar Magdalena (Codelco-Casa Matriz)" userId="S::mribb001@codelco.cl::7bb6843e-b693-4544-85cb-a362c987f4a4" providerId="AD" clId="Web-{A7FEC29F-2054-0000-C3D8-78BEBB44AAC5}" dt="2021-04-29T13:15:37.964" v="31"/>
          <ac:spMkLst>
            <pc:docMk/>
            <pc:sldMk cId="1716051782" sldId="494"/>
            <ac:spMk id="10" creationId="{42A4FC2C-047E-45A5-965D-8E1E3BF09BC6}"/>
          </ac:spMkLst>
        </pc:spChg>
        <pc:picChg chg="add del mod">
          <ac:chgData name="Ribbeck Baraibar Magdalena (Codelco-Casa Matriz)" userId="S::mribb001@codelco.cl::7bb6843e-b693-4544-85cb-a362c987f4a4" providerId="AD" clId="Web-{A7FEC29F-2054-0000-C3D8-78BEBB44AAC5}" dt="2021-04-29T13:15:13.714" v="26"/>
          <ac:picMkLst>
            <pc:docMk/>
            <pc:sldMk cId="1716051782" sldId="494"/>
            <ac:picMk id="4" creationId="{058C986E-4A32-4585-8A64-A82F425FB634}"/>
          </ac:picMkLst>
        </pc:picChg>
        <pc:picChg chg="add mod">
          <ac:chgData name="Ribbeck Baraibar Magdalena (Codelco-Casa Matriz)" userId="S::mribb001@codelco.cl::7bb6843e-b693-4544-85cb-a362c987f4a4" providerId="AD" clId="Web-{A7FEC29F-2054-0000-C3D8-78BEBB44AAC5}" dt="2021-04-29T13:15:50.277" v="34" actId="1076"/>
          <ac:picMkLst>
            <pc:docMk/>
            <pc:sldMk cId="1716051782" sldId="494"/>
            <ac:picMk id="5" creationId="{E0EFF7D6-B506-44C7-9564-CCBDCCBC0ABA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CCD20048-4536-E224-ADEE-3C5CB46F56B3}"/>
    <pc:docChg chg="modSld sldOrd">
      <pc:chgData name="Carrillo Rojas Daniela (Codelco-Chuquicamata)" userId="S::dcarr014@codelco.cl::b6c6fc0c-fc39-4bf0-8e9d-fb82d681f847" providerId="AD" clId="Web-{CCD20048-4536-E224-ADEE-3C5CB46F56B3}" dt="2021-06-30T19:59:45.566" v="1442" actId="20577"/>
      <pc:docMkLst>
        <pc:docMk/>
      </pc:docMkLst>
      <pc:sldChg chg="addSp delSp modSp ord delCm">
        <pc:chgData name="Carrillo Rojas Daniela (Codelco-Chuquicamata)" userId="S::dcarr014@codelco.cl::b6c6fc0c-fc39-4bf0-8e9d-fb82d681f847" providerId="AD" clId="Web-{CCD20048-4536-E224-ADEE-3C5CB46F56B3}" dt="2021-06-30T19:11:24.715" v="1401"/>
        <pc:sldMkLst>
          <pc:docMk/>
          <pc:sldMk cId="3703057871" sldId="548"/>
        </pc:sldMkLst>
        <pc:spChg chg="mod">
          <ac:chgData name="Carrillo Rojas Daniela (Codelco-Chuquicamata)" userId="S::dcarr014@codelco.cl::b6c6fc0c-fc39-4bf0-8e9d-fb82d681f847" providerId="AD" clId="Web-{CCD20048-4536-E224-ADEE-3C5CB46F56B3}" dt="2021-06-30T18:39:08.883" v="1038" actId="1076"/>
          <ac:spMkLst>
            <pc:docMk/>
            <pc:sldMk cId="3703057871" sldId="548"/>
            <ac:spMk id="2" creationId="{C603D3FA-2B71-40FE-81E3-B6FD2C3DA7C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072" v="1041" actId="1076"/>
          <ac:spMkLst>
            <pc:docMk/>
            <pc:sldMk cId="3703057871" sldId="548"/>
            <ac:spMk id="6" creationId="{27FDF2F2-B70E-4308-BF47-293308FFF851}"/>
          </ac:spMkLst>
        </pc:spChg>
        <pc:spChg chg="del mod">
          <ac:chgData name="Carrillo Rojas Daniela (Codelco-Chuquicamata)" userId="S::dcarr014@codelco.cl::b6c6fc0c-fc39-4bf0-8e9d-fb82d681f847" providerId="AD" clId="Web-{CCD20048-4536-E224-ADEE-3C5CB46F56B3}" dt="2021-06-30T18:03:53.055" v="319"/>
          <ac:spMkLst>
            <pc:docMk/>
            <pc:sldMk cId="3703057871" sldId="548"/>
            <ac:spMk id="11" creationId="{ADD5A473-9D7E-46CC-B74D-6A16EE836DEB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103" v="1042" actId="1076"/>
          <ac:spMkLst>
            <pc:docMk/>
            <pc:sldMk cId="3703057871" sldId="548"/>
            <ac:spMk id="14" creationId="{BC7F0B9E-191E-4FC5-A59E-2E3973815ED1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166" v="1044" actId="1076"/>
          <ac:spMkLst>
            <pc:docMk/>
            <pc:sldMk cId="3703057871" sldId="548"/>
            <ac:spMk id="15" creationId="{BC0B5C5F-26AE-4D8E-A3A2-6CCF1935A58A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212" v="1045" actId="1076"/>
          <ac:spMkLst>
            <pc:docMk/>
            <pc:sldMk cId="3703057871" sldId="548"/>
            <ac:spMk id="16" creationId="{A2B1B4F0-4DDC-41E2-B5F9-46C5CF585295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244" v="1046" actId="1076"/>
          <ac:spMkLst>
            <pc:docMk/>
            <pc:sldMk cId="3703057871" sldId="548"/>
            <ac:spMk id="17" creationId="{AAE093AC-7122-4B4A-A05D-4CFF045DB392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11.700" v="85"/>
          <ac:spMkLst>
            <pc:docMk/>
            <pc:sldMk cId="3703057871" sldId="548"/>
            <ac:spMk id="19" creationId="{81531A15-90B4-4A05-A1B9-70964F8E346A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306" v="1048" actId="1076"/>
          <ac:spMkLst>
            <pc:docMk/>
            <pc:sldMk cId="3703057871" sldId="548"/>
            <ac:spMk id="20" creationId="{50885605-0271-4F9D-A606-E049DB9D77EE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275" v="1047" actId="1076"/>
          <ac:spMkLst>
            <pc:docMk/>
            <pc:sldMk cId="3703057871" sldId="548"/>
            <ac:spMk id="33" creationId="{2CE69DAF-733C-41A9-A0F9-9E2F4E8FB3A2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38.213" v="1086" actId="14100"/>
          <ac:spMkLst>
            <pc:docMk/>
            <pc:sldMk cId="3703057871" sldId="548"/>
            <ac:spMk id="48" creationId="{4ECA42F0-2D41-453E-A1BC-21D3B65DFE25}"/>
          </ac:spMkLst>
        </pc:spChg>
        <pc:spChg chg="del mod">
          <ac:chgData name="Carrillo Rojas Daniela (Codelco-Chuquicamata)" userId="S::dcarr014@codelco.cl::b6c6fc0c-fc39-4bf0-8e9d-fb82d681f847" providerId="AD" clId="Web-{CCD20048-4536-E224-ADEE-3C5CB46F56B3}" dt="2021-06-30T18:05:52.719" v="334"/>
          <ac:spMkLst>
            <pc:docMk/>
            <pc:sldMk cId="3703057871" sldId="548"/>
            <ac:spMk id="52" creationId="{F03B5053-2DC5-42AC-AB44-56267CAD844C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02.309" v="83"/>
          <ac:spMkLst>
            <pc:docMk/>
            <pc:sldMk cId="3703057871" sldId="548"/>
            <ac:spMk id="53" creationId="{3804990B-40B9-4509-9E99-C2EDBDE5C5DF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39:16.149" v="1039"/>
          <ac:spMkLst>
            <pc:docMk/>
            <pc:sldMk cId="3703057871" sldId="548"/>
            <ac:spMk id="83" creationId="{EC47BE09-5226-48F2-83EC-61C062A55951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02.309" v="82"/>
          <ac:spMkLst>
            <pc:docMk/>
            <pc:sldMk cId="3703057871" sldId="548"/>
            <ac:spMk id="84" creationId="{73C798A1-BEA2-45B4-9454-2EE2E90944F2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447" v="1052" actId="1076"/>
          <ac:spMkLst>
            <pc:docMk/>
            <pc:sldMk cId="3703057871" sldId="548"/>
            <ac:spMk id="90" creationId="{19B4DA49-9721-40CA-9E13-05D3593738F8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509" v="1054" actId="1076"/>
          <ac:spMkLst>
            <pc:docMk/>
            <pc:sldMk cId="3703057871" sldId="548"/>
            <ac:spMk id="92" creationId="{3E82AD14-F21D-4C21-9659-6CB93BA79554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587" v="1056" actId="1076"/>
          <ac:spMkLst>
            <pc:docMk/>
            <pc:sldMk cId="3703057871" sldId="548"/>
            <ac:spMk id="94" creationId="{E14BA7F9-5422-465E-87CD-25422A36CEEC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619" v="1057" actId="1076"/>
          <ac:spMkLst>
            <pc:docMk/>
            <pc:sldMk cId="3703057871" sldId="548"/>
            <ac:spMk id="95" creationId="{3052DD6C-E028-4966-9E2C-2364442F7570}"/>
          </ac:spMkLst>
        </pc:spChg>
        <pc:spChg chg="del mod">
          <ac:chgData name="Carrillo Rojas Daniela (Codelco-Chuquicamata)" userId="S::dcarr014@codelco.cl::b6c6fc0c-fc39-4bf0-8e9d-fb82d681f847" providerId="AD" clId="Web-{CCD20048-4536-E224-ADEE-3C5CB46F56B3}" dt="2021-06-30T18:04:18.587" v="322"/>
          <ac:spMkLst>
            <pc:docMk/>
            <pc:sldMk cId="3703057871" sldId="548"/>
            <ac:spMk id="96" creationId="{24A8742A-C0AC-4FE3-AA5A-FA3B7F4181E5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666" v="1058" actId="1076"/>
          <ac:spMkLst>
            <pc:docMk/>
            <pc:sldMk cId="3703057871" sldId="548"/>
            <ac:spMk id="97" creationId="{9C81F133-DA88-4E9C-B1CF-BAA1198960C8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697" v="1059" actId="1076"/>
          <ac:spMkLst>
            <pc:docMk/>
            <pc:sldMk cId="3703057871" sldId="548"/>
            <ac:spMk id="98" creationId="{ED32ABD3-3296-4092-9324-474FDBB00B59}"/>
          </ac:spMkLst>
        </pc:spChg>
        <pc:spChg chg="del mod">
          <ac:chgData name="Carrillo Rojas Daniela (Codelco-Chuquicamata)" userId="S::dcarr014@codelco.cl::b6c6fc0c-fc39-4bf0-8e9d-fb82d681f847" providerId="AD" clId="Web-{CCD20048-4536-E224-ADEE-3C5CB46F56B3}" dt="2021-06-30T17:55:22.661" v="59"/>
          <ac:spMkLst>
            <pc:docMk/>
            <pc:sldMk cId="3703057871" sldId="548"/>
            <ac:spMk id="99" creationId="{45EF6604-630D-48AF-9B6B-C9DA214C2A7A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8:08:01.368" v="366"/>
          <ac:spMkLst>
            <pc:docMk/>
            <pc:sldMk cId="3703057871" sldId="548"/>
            <ac:spMk id="100" creationId="{17D0B158-A2D5-4A7E-8A89-C87F0ED69D1A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02.309" v="81"/>
          <ac:spMkLst>
            <pc:docMk/>
            <pc:sldMk cId="3703057871" sldId="548"/>
            <ac:spMk id="101" creationId="{50CEFE46-7B85-47D0-BC02-FA0152E9000D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02.309" v="80"/>
          <ac:spMkLst>
            <pc:docMk/>
            <pc:sldMk cId="3703057871" sldId="548"/>
            <ac:spMk id="102" creationId="{276162A0-F10E-4154-88E1-5D6308341BB6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02.309" v="79"/>
          <ac:spMkLst>
            <pc:docMk/>
            <pc:sldMk cId="3703057871" sldId="548"/>
            <ac:spMk id="103" creationId="{AC6D8014-3D9F-4169-8F8D-94C85BBF0152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06.246" v="84"/>
          <ac:spMkLst>
            <pc:docMk/>
            <pc:sldMk cId="3703057871" sldId="548"/>
            <ac:spMk id="104" creationId="{39B16641-BF96-43C6-9971-B11F5E7B0FCD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728" v="1060" actId="1076"/>
          <ac:spMkLst>
            <pc:docMk/>
            <pc:sldMk cId="3703057871" sldId="548"/>
            <ac:spMk id="105" creationId="{75AAA4B4-CC8D-4936-9E65-F2AA03BB0BB0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8.962" v="1066" actId="1076"/>
          <ac:spMkLst>
            <pc:docMk/>
            <pc:sldMk cId="3703057871" sldId="548"/>
            <ac:spMk id="106" creationId="{BFC58A87-45FB-4813-B5A9-6824D37F39E3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8.994" v="1067" actId="1076"/>
          <ac:spMkLst>
            <pc:docMk/>
            <pc:sldMk cId="3703057871" sldId="548"/>
            <ac:spMk id="107" creationId="{6B988540-838E-4784-980F-B98B7FE1A0BA}"/>
          </ac:spMkLst>
        </pc:spChg>
        <pc:spChg chg="del mod">
          <ac:chgData name="Carrillo Rojas Daniela (Codelco-Chuquicamata)" userId="S::dcarr014@codelco.cl::b6c6fc0c-fc39-4bf0-8e9d-fb82d681f847" providerId="AD" clId="Web-{CCD20048-4536-E224-ADEE-3C5CB46F56B3}" dt="2021-06-30T18:06:43.925" v="349"/>
          <ac:spMkLst>
            <pc:docMk/>
            <pc:sldMk cId="3703057871" sldId="548"/>
            <ac:spMk id="108" creationId="{D4BDA878-99F3-4E8A-821E-6390B95361AF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6:44.019" v="350"/>
          <ac:spMkLst>
            <pc:docMk/>
            <pc:sldMk cId="3703057871" sldId="548"/>
            <ac:spMk id="111" creationId="{5E4DAFEA-EE88-4539-B588-785D12A72BC8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072" v="1069" actId="1076"/>
          <ac:spMkLst>
            <pc:docMk/>
            <pc:sldMk cId="3703057871" sldId="548"/>
            <ac:spMk id="113" creationId="{0AD65A0B-2DDF-4BB7-85F0-5BE9A8A81CE1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6:44.410" v="351"/>
          <ac:spMkLst>
            <pc:docMk/>
            <pc:sldMk cId="3703057871" sldId="548"/>
            <ac:spMk id="114" creationId="{DF166EC4-AD46-4279-93E1-265C0729B6B6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37" v="382"/>
          <ac:spMkLst>
            <pc:docMk/>
            <pc:sldMk cId="3703057871" sldId="548"/>
            <ac:spMk id="115" creationId="{F49DADB2-ADB1-461A-A6D4-8BB860E8A464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8:39:29.119" v="1070" actId="1076"/>
          <ac:spMkLst>
            <pc:docMk/>
            <pc:sldMk cId="3703057871" sldId="548"/>
            <ac:spMk id="116" creationId="{BCB86F1A-08DA-4E01-91BA-C090B1913EA4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166" v="1071" actId="1076"/>
          <ac:spMkLst>
            <pc:docMk/>
            <pc:sldMk cId="3703057871" sldId="548"/>
            <ac:spMk id="127" creationId="{4DA2FCB1-FC05-4BB5-B3D1-09F6176BE684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197" v="1072" actId="1076"/>
          <ac:spMkLst>
            <pc:docMk/>
            <pc:sldMk cId="3703057871" sldId="548"/>
            <ac:spMk id="128" creationId="{B881174D-85F0-44B8-A700-3DDC0C8031CF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8:17:21.389" v="553"/>
          <ac:spMkLst>
            <pc:docMk/>
            <pc:sldMk cId="3703057871" sldId="548"/>
            <ac:spMk id="129" creationId="{D2111D92-CFDD-49C0-AF36-3209C4E04D95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4.462" v="367"/>
          <ac:spMkLst>
            <pc:docMk/>
            <pc:sldMk cId="3703057871" sldId="548"/>
            <ac:spMk id="130" creationId="{B8E4051F-4559-45E4-8C3D-96DFFE1E74C3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37" v="381"/>
          <ac:spMkLst>
            <pc:docMk/>
            <pc:sldMk cId="3703057871" sldId="548"/>
            <ac:spMk id="131" creationId="{289779EC-AB90-4969-A85B-44C06351A7ED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321" v="368"/>
          <ac:spMkLst>
            <pc:docMk/>
            <pc:sldMk cId="3703057871" sldId="548"/>
            <ac:spMk id="135" creationId="{0F28AADC-5F9B-4BCF-AFBF-BFF62CB21F53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37" v="379"/>
          <ac:spMkLst>
            <pc:docMk/>
            <pc:sldMk cId="3703057871" sldId="548"/>
            <ac:spMk id="136" creationId="{A4079F5E-506B-4F86-BBA4-76CF801D9289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400" v="369"/>
          <ac:spMkLst>
            <pc:docMk/>
            <pc:sldMk cId="3703057871" sldId="548"/>
            <ac:spMk id="140" creationId="{49BEE39C-6094-4231-B229-EB090F16A6AA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37" v="377"/>
          <ac:spMkLst>
            <pc:docMk/>
            <pc:sldMk cId="3703057871" sldId="548"/>
            <ac:spMk id="141" creationId="{87AA3D66-972B-4234-9DE1-14A23C202D06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696" v="370"/>
          <ac:spMkLst>
            <pc:docMk/>
            <pc:sldMk cId="3703057871" sldId="548"/>
            <ac:spMk id="145" creationId="{DF37346B-95EA-4EE6-A258-124E77C84E45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21" v="375"/>
          <ac:spMkLst>
            <pc:docMk/>
            <pc:sldMk cId="3703057871" sldId="548"/>
            <ac:spMk id="146" creationId="{67DB7439-F6AD-4054-A7BC-5B92F666C4E0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759" v="371"/>
          <ac:spMkLst>
            <pc:docMk/>
            <pc:sldMk cId="3703057871" sldId="548"/>
            <ac:spMk id="150" creationId="{E42F7A33-3CD7-4669-AC31-12D2B477595B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9"/>
          <ac:spMkLst>
            <pc:docMk/>
            <pc:sldMk cId="3703057871" sldId="548"/>
            <ac:spMk id="151" creationId="{4D72EE2F-ABEA-4634-A749-CB59BE4FA076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259" v="1073" actId="1076"/>
          <ac:spMkLst>
            <pc:docMk/>
            <pc:sldMk cId="3703057871" sldId="548"/>
            <ac:spMk id="152" creationId="{E8436DA9-2890-4DB8-9329-F2A53B7E7644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291" v="1074" actId="1076"/>
          <ac:spMkLst>
            <pc:docMk/>
            <pc:sldMk cId="3703057871" sldId="548"/>
            <ac:spMk id="153" creationId="{60660FCB-3F59-438D-B3AE-CC7524F78F8F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322" v="1075" actId="1076"/>
          <ac:spMkLst>
            <pc:docMk/>
            <pc:sldMk cId="3703057871" sldId="548"/>
            <ac:spMk id="154" creationId="{E2D2CBA5-4FF9-43EC-927F-28EB57FABE1B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21" v="374"/>
          <ac:spMkLst>
            <pc:docMk/>
            <pc:sldMk cId="3703057871" sldId="548"/>
            <ac:spMk id="155" creationId="{C3EC694F-360B-48BF-B3A2-42612D405E07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21" v="373"/>
          <ac:spMkLst>
            <pc:docMk/>
            <pc:sldMk cId="3703057871" sldId="548"/>
            <ac:spMk id="156" creationId="{538FCFE3-6C3D-4310-88C8-CD8C3416ABBD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8:07.821" v="372"/>
          <ac:spMkLst>
            <pc:docMk/>
            <pc:sldMk cId="3703057871" sldId="548"/>
            <ac:spMk id="157" creationId="{F958F3E5-B1E1-497A-B5EC-BCA29EDEA1C2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6:53.801" v="354"/>
          <ac:spMkLst>
            <pc:docMk/>
            <pc:sldMk cId="3703057871" sldId="548"/>
            <ac:spMk id="158" creationId="{1AAD8A6A-4C27-4178-BA07-E01B49346A3E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06:50.004" v="353"/>
          <ac:spMkLst>
            <pc:docMk/>
            <pc:sldMk cId="3703057871" sldId="548"/>
            <ac:spMk id="159" creationId="{27713006-9FA3-4C60-9DCE-87FC3874EC71}"/>
          </ac:spMkLst>
        </pc:spChg>
        <pc:spChg chg="del mod">
          <ac:chgData name="Carrillo Rojas Daniela (Codelco-Chuquicamata)" userId="S::dcarr014@codelco.cl::b6c6fc0c-fc39-4bf0-8e9d-fb82d681f847" providerId="AD" clId="Web-{CCD20048-4536-E224-ADEE-3C5CB46F56B3}" dt="2021-06-30T18:26:15.112" v="645"/>
          <ac:spMkLst>
            <pc:docMk/>
            <pc:sldMk cId="3703057871" sldId="548"/>
            <ac:spMk id="160" creationId="{C1418140-1CCA-4AA2-A0F7-251A3E4F3835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11.737" v="644"/>
          <ac:spMkLst>
            <pc:docMk/>
            <pc:sldMk cId="3703057871" sldId="548"/>
            <ac:spMk id="161" creationId="{0F508DB9-25B8-4F5A-A5F6-88DC2ACDF2B5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15.722" v="646"/>
          <ac:spMkLst>
            <pc:docMk/>
            <pc:sldMk cId="3703057871" sldId="548"/>
            <ac:spMk id="162" creationId="{E118ADEC-CB35-4AB4-90AF-A2FC45925954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15.800" v="647"/>
          <ac:spMkLst>
            <pc:docMk/>
            <pc:sldMk cId="3703057871" sldId="548"/>
            <ac:spMk id="163" creationId="{5D6F38DE-1199-4D7F-9CE1-61F733A62E72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8"/>
          <ac:spMkLst>
            <pc:docMk/>
            <pc:sldMk cId="3703057871" sldId="548"/>
            <ac:spMk id="164" creationId="{B5F0DF48-E780-4B99-BC53-4D0CA33C4A41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7"/>
          <ac:spMkLst>
            <pc:docMk/>
            <pc:sldMk cId="3703057871" sldId="548"/>
            <ac:spMk id="165" creationId="{DF26BD02-6ACB-49CB-8F52-73805A89F9A6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6"/>
          <ac:spMkLst>
            <pc:docMk/>
            <pc:sldMk cId="3703057871" sldId="548"/>
            <ac:spMk id="166" creationId="{D27D3EDD-82B2-4357-8F06-767CED39914D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19.363" v="648"/>
          <ac:spMkLst>
            <pc:docMk/>
            <pc:sldMk cId="3703057871" sldId="548"/>
            <ac:spMk id="167" creationId="{D01F5F78-5045-4B19-AF4F-D6F45820CF0C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5"/>
          <ac:spMkLst>
            <pc:docMk/>
            <pc:sldMk cId="3703057871" sldId="548"/>
            <ac:spMk id="168" creationId="{4FB13C51-0E46-4AF1-9E7E-2305AC1E7047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4"/>
          <ac:spMkLst>
            <pc:docMk/>
            <pc:sldMk cId="3703057871" sldId="548"/>
            <ac:spMk id="169" creationId="{7FB83D96-3E92-487C-AB1F-BDE86E4CCB04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3"/>
          <ac:spMkLst>
            <pc:docMk/>
            <pc:sldMk cId="3703057871" sldId="548"/>
            <ac:spMk id="170" creationId="{235F978F-5EFC-442A-AF5E-EBEB250BC5B4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19.644" v="649"/>
          <ac:spMkLst>
            <pc:docMk/>
            <pc:sldMk cId="3703057871" sldId="548"/>
            <ac:spMk id="171" creationId="{F15CEDAE-B9DC-467C-A568-1842115386FC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369" v="1076" actId="1076"/>
          <ac:spMkLst>
            <pc:docMk/>
            <pc:sldMk cId="3703057871" sldId="548"/>
            <ac:spMk id="172" creationId="{7A57B580-12D9-4ADA-BFE4-55232ACCC890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416" v="1077" actId="1076"/>
          <ac:spMkLst>
            <pc:docMk/>
            <pc:sldMk cId="3703057871" sldId="548"/>
            <ac:spMk id="173" creationId="{3C532F72-A49C-4195-932F-66125D13748E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8:18:15.471" v="577"/>
          <ac:spMkLst>
            <pc:docMk/>
            <pc:sldMk cId="3703057871" sldId="548"/>
            <ac:spMk id="174" creationId="{059F6506-C5E7-4A2F-960A-09DD33A64D70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2"/>
          <ac:spMkLst>
            <pc:docMk/>
            <pc:sldMk cId="3703057871" sldId="548"/>
            <ac:spMk id="176" creationId="{6B1ED6D2-3D19-43AF-B70B-0AEEDB5DD50A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1"/>
          <ac:spMkLst>
            <pc:docMk/>
            <pc:sldMk cId="3703057871" sldId="548"/>
            <ac:spMk id="177" creationId="{2FD41CDB-9197-4E33-A32E-2717ABDFF8EB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8:26:20.503" v="650"/>
          <ac:spMkLst>
            <pc:docMk/>
            <pc:sldMk cId="3703057871" sldId="548"/>
            <ac:spMk id="178" creationId="{754FDFC0-6636-4F4A-B5E9-764A4C6C90E5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8:18:15.471" v="576"/>
          <ac:spMkLst>
            <pc:docMk/>
            <pc:sldMk cId="3703057871" sldId="548"/>
            <ac:spMk id="179" creationId="{CD19A7F4-5D3D-428A-B9C0-B395A214B9E8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8:18:15.471" v="575"/>
          <ac:spMkLst>
            <pc:docMk/>
            <pc:sldMk cId="3703057871" sldId="548"/>
            <ac:spMk id="180" creationId="{2F5E8E90-C29D-4B0E-AFB6-099A3C791C4D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8:18:22.034" v="583"/>
          <ac:spMkLst>
            <pc:docMk/>
            <pc:sldMk cId="3703057871" sldId="548"/>
            <ac:spMk id="181" creationId="{FCEC2F6C-F267-4B86-9492-F6926814AD32}"/>
          </ac:spMkLst>
        </pc:spChg>
        <pc:spChg chg="del">
          <ac:chgData name="Carrillo Rojas Daniela (Codelco-Chuquicamata)" userId="S::dcarr014@codelco.cl::b6c6fc0c-fc39-4bf0-8e9d-fb82d681f847" providerId="AD" clId="Web-{CCD20048-4536-E224-ADEE-3C5CB46F56B3}" dt="2021-06-30T17:57:19.950" v="87"/>
          <ac:spMkLst>
            <pc:docMk/>
            <pc:sldMk cId="3703057871" sldId="548"/>
            <ac:spMk id="182" creationId="{4E386B2F-8042-4CFC-920C-C4E3AF00D15B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8:18:22.034" v="582"/>
          <ac:spMkLst>
            <pc:docMk/>
            <pc:sldMk cId="3703057871" sldId="548"/>
            <ac:spMk id="183" creationId="{B787FF9D-1D09-42D9-BFFC-EFD6B7A12CE7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869" v="1064" actId="1076"/>
          <ac:spMkLst>
            <pc:docMk/>
            <pc:sldMk cId="3703057871" sldId="548"/>
            <ac:spMk id="184" creationId="{9338BBC2-E986-44CC-8663-09CBBC24F59A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8:18:22.034" v="581"/>
          <ac:spMkLst>
            <pc:docMk/>
            <pc:sldMk cId="3703057871" sldId="548"/>
            <ac:spMk id="185" creationId="{83B4F890-E080-4615-BA17-8BB1870A0D75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447" v="1078" actId="1076"/>
          <ac:spMkLst>
            <pc:docMk/>
            <pc:sldMk cId="3703057871" sldId="548"/>
            <ac:spMk id="186" creationId="{7AF8EF29-13F0-4D9A-81B0-9A193A35DE40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8:21:34.453" v="607"/>
          <ac:spMkLst>
            <pc:docMk/>
            <pc:sldMk cId="3703057871" sldId="548"/>
            <ac:spMk id="187" creationId="{02672010-00CA-40C6-A3C9-54364B59292E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494" v="1079" actId="1076"/>
          <ac:spMkLst>
            <pc:docMk/>
            <pc:sldMk cId="3703057871" sldId="548"/>
            <ac:spMk id="188" creationId="{14585DB4-B73C-4C1D-B1F2-8C0D4157916A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916" v="1065" actId="1076"/>
          <ac:spMkLst>
            <pc:docMk/>
            <pc:sldMk cId="3703057871" sldId="548"/>
            <ac:spMk id="189" creationId="{1E734D9E-D084-497B-B593-C4AFBF24C19A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39:29.541" v="1080" actId="1076"/>
          <ac:spMkLst>
            <pc:docMk/>
            <pc:sldMk cId="3703057871" sldId="548"/>
            <ac:spMk id="190" creationId="{FD8719CE-2872-41E4-9AB7-232C2348EDA7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9:02:10.819" v="1392"/>
          <ac:spMkLst>
            <pc:docMk/>
            <pc:sldMk cId="3703057871" sldId="548"/>
            <ac:spMk id="191" creationId="{81ECBF58-B5EA-47DB-9209-3E3DD85EE6B5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9:02:10.491" v="1391"/>
          <ac:spMkLst>
            <pc:docMk/>
            <pc:sldMk cId="3703057871" sldId="548"/>
            <ac:spMk id="192" creationId="{0C4CB447-F245-431D-A385-280D09111EBA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9:02:06.694" v="1390"/>
          <ac:spMkLst>
            <pc:docMk/>
            <pc:sldMk cId="3703057871" sldId="548"/>
            <ac:spMk id="193" creationId="{A2FAC42B-50E4-4CDF-928A-B05E8DA56DCB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4:53.774" v="1310" actId="20577"/>
          <ac:spMkLst>
            <pc:docMk/>
            <pc:sldMk cId="3703057871" sldId="548"/>
            <ac:spMk id="194" creationId="{1398BB64-FF06-4B95-8CD8-DCA08CFA08ED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8:39:28.025" v="1040" actId="1076"/>
          <ac:spMkLst>
            <pc:docMk/>
            <pc:sldMk cId="3703057871" sldId="548"/>
            <ac:spMk id="195" creationId="{158100AF-626B-4B06-AD34-52333BD7969C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5:09.854" v="1313" actId="20577"/>
          <ac:spMkLst>
            <pc:docMk/>
            <pc:sldMk cId="3703057871" sldId="548"/>
            <ac:spMk id="196" creationId="{523136FE-0665-4A0F-92C8-C06DC606C693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7:39.629" v="1333" actId="20577"/>
          <ac:spMkLst>
            <pc:docMk/>
            <pc:sldMk cId="3703057871" sldId="548"/>
            <ac:spMk id="197" creationId="{53BD4B57-D1B8-41BA-A617-A813329291EF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8:53.150" v="1348" actId="1076"/>
          <ac:spMkLst>
            <pc:docMk/>
            <pc:sldMk cId="3703057871" sldId="548"/>
            <ac:spMk id="198" creationId="{9ECF0B8A-2850-49EF-ACBA-5065394B61A5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8:43.071" v="1347" actId="1076"/>
          <ac:spMkLst>
            <pc:docMk/>
            <pc:sldMk cId="3703057871" sldId="548"/>
            <ac:spMk id="199" creationId="{4FA54807-0084-4845-B11E-95508D581C41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40:53.406" v="1103" actId="20577"/>
          <ac:spMkLst>
            <pc:docMk/>
            <pc:sldMk cId="3703057871" sldId="548"/>
            <ac:spMk id="200" creationId="{7F287BFB-646E-42CE-9207-ABD9E428113C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4:43.727" v="1308" actId="20577"/>
          <ac:spMkLst>
            <pc:docMk/>
            <pc:sldMk cId="3703057871" sldId="548"/>
            <ac:spMk id="202" creationId="{78A8503E-C19F-43D6-8BBF-57F694279857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4:30.914" v="1305" actId="20577"/>
          <ac:spMkLst>
            <pc:docMk/>
            <pc:sldMk cId="3703057871" sldId="548"/>
            <ac:spMk id="203" creationId="{F7F00524-BA95-49CF-8354-2C3F92245EB1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8:36.727" v="1346" actId="1076"/>
          <ac:spMkLst>
            <pc:docMk/>
            <pc:sldMk cId="3703057871" sldId="548"/>
            <ac:spMk id="204" creationId="{F258614B-1403-487D-986B-0ADAE8102C54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9:01:22.503" v="1380" actId="1076"/>
          <ac:spMkLst>
            <pc:docMk/>
            <pc:sldMk cId="3703057871" sldId="548"/>
            <ac:spMk id="205" creationId="{03ED58ED-08F4-4803-AB8D-B9CF0AEDBD1F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5:38.684" v="1318" actId="1076"/>
          <ac:spMkLst>
            <pc:docMk/>
            <pc:sldMk cId="3703057871" sldId="548"/>
            <ac:spMk id="206" creationId="{374ADD3A-E23D-4EC8-B6A0-CAC8DCEFFC2C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5:47.762" v="1320" actId="1076"/>
          <ac:spMkLst>
            <pc:docMk/>
            <pc:sldMk cId="3703057871" sldId="548"/>
            <ac:spMk id="207" creationId="{5B943842-EF3D-4700-8421-FEA54349C4D6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8:56:57.001" v="1323"/>
          <ac:spMkLst>
            <pc:docMk/>
            <pc:sldMk cId="3703057871" sldId="548"/>
            <ac:spMk id="208" creationId="{FDFCEE90-5108-46F7-AA3C-9CA389D7BA43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8:57:09.002" v="1326"/>
          <ac:spMkLst>
            <pc:docMk/>
            <pc:sldMk cId="3703057871" sldId="548"/>
            <ac:spMk id="209" creationId="{AF20B39E-40FA-4FEA-99AC-8A4F73B51BEB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9:07.307" v="1352" actId="20577"/>
          <ac:spMkLst>
            <pc:docMk/>
            <pc:sldMk cId="3703057871" sldId="548"/>
            <ac:spMk id="210" creationId="{FCA68392-57CD-484D-9C18-CC01D81B8AAE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9:19.995" v="1356" actId="1076"/>
          <ac:spMkLst>
            <pc:docMk/>
            <pc:sldMk cId="3703057871" sldId="548"/>
            <ac:spMk id="211" creationId="{192D7743-B56D-4134-8051-0DC33581AAE7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8:59:27.371" v="1357" actId="1076"/>
          <ac:spMkLst>
            <pc:docMk/>
            <pc:sldMk cId="3703057871" sldId="548"/>
            <ac:spMk id="212" creationId="{DD3CFEDB-019A-4187-90B6-AAD8A7BD7F22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9:00:30.531" v="1373" actId="20577"/>
          <ac:spMkLst>
            <pc:docMk/>
            <pc:sldMk cId="3703057871" sldId="548"/>
            <ac:spMk id="213" creationId="{D06C4689-9018-461E-92C9-85B1EF199A22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9:00:53.470" v="1375" actId="1076"/>
          <ac:spMkLst>
            <pc:docMk/>
            <pc:sldMk cId="3703057871" sldId="548"/>
            <ac:spMk id="214" creationId="{9FFE8617-DB91-4429-B593-A7318A4140F3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9:01:14.222" v="1379" actId="20577"/>
          <ac:spMkLst>
            <pc:docMk/>
            <pc:sldMk cId="3703057871" sldId="548"/>
            <ac:spMk id="215" creationId="{76343251-6334-41BD-8F94-6232A826918C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9:01:41.208" v="1386" actId="20577"/>
          <ac:spMkLst>
            <pc:docMk/>
            <pc:sldMk cId="3703057871" sldId="548"/>
            <ac:spMk id="216" creationId="{348E402A-41F9-4751-B740-C19F38F057D5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9:02:02.616" v="1389"/>
          <ac:spMkLst>
            <pc:docMk/>
            <pc:sldMk cId="3703057871" sldId="548"/>
            <ac:spMk id="217" creationId="{121B62DA-C5DE-4E49-A263-262ECF604147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9:02:17.742" v="1394"/>
          <ac:spMkLst>
            <pc:docMk/>
            <pc:sldMk cId="3703057871" sldId="548"/>
            <ac:spMk id="218" creationId="{B158BEEE-F498-4D35-9712-2BB1420FC09E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9:02:21.304" v="1396"/>
          <ac:spMkLst>
            <pc:docMk/>
            <pc:sldMk cId="3703057871" sldId="548"/>
            <ac:spMk id="219" creationId="{EBC2FCE3-09AD-4709-8301-E5BDC68474D0}"/>
          </ac:spMkLst>
        </pc:spChg>
        <pc:spChg chg="add del mod">
          <ac:chgData name="Carrillo Rojas Daniela (Codelco-Chuquicamata)" userId="S::dcarr014@codelco.cl::b6c6fc0c-fc39-4bf0-8e9d-fb82d681f847" providerId="AD" clId="Web-{CCD20048-4536-E224-ADEE-3C5CB46F56B3}" dt="2021-06-30T19:03:10.479" v="1399"/>
          <ac:spMkLst>
            <pc:docMk/>
            <pc:sldMk cId="3703057871" sldId="548"/>
            <ac:spMk id="220" creationId="{987788B6-E35E-45AB-9DB2-6492053C9F18}"/>
          </ac:spMkLst>
        </pc:spChg>
        <pc:grpChg chg="mod">
          <ac:chgData name="Carrillo Rojas Daniela (Codelco-Chuquicamata)" userId="S::dcarr014@codelco.cl::b6c6fc0c-fc39-4bf0-8e9d-fb82d681f847" providerId="AD" clId="Web-{CCD20048-4536-E224-ADEE-3C5CB46F56B3}" dt="2021-06-30T18:39:28.416" v="1051" actId="1076"/>
          <ac:grpSpMkLst>
            <pc:docMk/>
            <pc:sldMk cId="3703057871" sldId="548"/>
            <ac:grpSpMk id="87" creationId="{8E9FB258-A52D-44B9-AE29-C774568DC0DB}"/>
          </ac:grpSpMkLst>
        </pc:grpChg>
        <pc:grpChg chg="add mod">
          <ac:chgData name="Carrillo Rojas Daniela (Codelco-Chuquicamata)" userId="S::dcarr014@codelco.cl::b6c6fc0c-fc39-4bf0-8e9d-fb82d681f847" providerId="AD" clId="Web-{CCD20048-4536-E224-ADEE-3C5CB46F56B3}" dt="2021-06-30T18:39:29.041" v="1068" actId="1076"/>
          <ac:grpSpMkLst>
            <pc:docMk/>
            <pc:sldMk cId="3703057871" sldId="548"/>
            <ac:grpSpMk id="109" creationId="{D5BF0B91-DA91-4A17-96DD-A02B7F0C9A2D}"/>
          </ac:grpSpMkLst>
        </pc:grpChg>
        <pc:grpChg chg="del">
          <ac:chgData name="Carrillo Rojas Daniela (Codelco-Chuquicamata)" userId="S::dcarr014@codelco.cl::b6c6fc0c-fc39-4bf0-8e9d-fb82d681f847" providerId="AD" clId="Web-{CCD20048-4536-E224-ADEE-3C5CB46F56B3}" dt="2021-06-30T18:06:44.878" v="352"/>
          <ac:grpSpMkLst>
            <pc:docMk/>
            <pc:sldMk cId="3703057871" sldId="548"/>
            <ac:grpSpMk id="117" creationId="{52BA245E-7B1D-4D59-BC23-0DBE9E6AAD01}"/>
          </ac:grpSpMkLst>
        </pc:grpChg>
        <pc:grpChg chg="del">
          <ac:chgData name="Carrillo Rojas Daniela (Codelco-Chuquicamata)" userId="S::dcarr014@codelco.cl::b6c6fc0c-fc39-4bf0-8e9d-fb82d681f847" providerId="AD" clId="Web-{CCD20048-4536-E224-ADEE-3C5CB46F56B3}" dt="2021-06-30T18:06:43.456" v="345"/>
          <ac:grpSpMkLst>
            <pc:docMk/>
            <pc:sldMk cId="3703057871" sldId="548"/>
            <ac:grpSpMk id="120" creationId="{A3DFA587-0B3C-4E55-AB3E-B921D80FF6C6}"/>
          </ac:grpSpMkLst>
        </pc:grpChg>
        <pc:grpChg chg="del">
          <ac:chgData name="Carrillo Rojas Daniela (Codelco-Chuquicamata)" userId="S::dcarr014@codelco.cl::b6c6fc0c-fc39-4bf0-8e9d-fb82d681f847" providerId="AD" clId="Web-{CCD20048-4536-E224-ADEE-3C5CB46F56B3}" dt="2021-06-30T18:06:43.566" v="346"/>
          <ac:grpSpMkLst>
            <pc:docMk/>
            <pc:sldMk cId="3703057871" sldId="548"/>
            <ac:grpSpMk id="123" creationId="{1EA82645-5D16-4534-B51D-C4A16C0C155A}"/>
          </ac:grpSpMkLst>
        </pc:grpChg>
        <pc:grpChg chg="del">
          <ac:chgData name="Carrillo Rojas Daniela (Codelco-Chuquicamata)" userId="S::dcarr014@codelco.cl::b6c6fc0c-fc39-4bf0-8e9d-fb82d681f847" providerId="AD" clId="Web-{CCD20048-4536-E224-ADEE-3C5CB46F56B3}" dt="2021-06-30T18:08:07.837" v="380"/>
          <ac:grpSpMkLst>
            <pc:docMk/>
            <pc:sldMk cId="3703057871" sldId="548"/>
            <ac:grpSpMk id="132" creationId="{B3E13409-0D6C-49AD-9BF3-5FA0F915D1FA}"/>
          </ac:grpSpMkLst>
        </pc:grpChg>
        <pc:grpChg chg="del">
          <ac:chgData name="Carrillo Rojas Daniela (Codelco-Chuquicamata)" userId="S::dcarr014@codelco.cl::b6c6fc0c-fc39-4bf0-8e9d-fb82d681f847" providerId="AD" clId="Web-{CCD20048-4536-E224-ADEE-3C5CB46F56B3}" dt="2021-06-30T18:08:07.837" v="378"/>
          <ac:grpSpMkLst>
            <pc:docMk/>
            <pc:sldMk cId="3703057871" sldId="548"/>
            <ac:grpSpMk id="137" creationId="{DB185BCB-04A2-46E1-B270-036A3B181575}"/>
          </ac:grpSpMkLst>
        </pc:grpChg>
        <pc:grpChg chg="del">
          <ac:chgData name="Carrillo Rojas Daniela (Codelco-Chuquicamata)" userId="S::dcarr014@codelco.cl::b6c6fc0c-fc39-4bf0-8e9d-fb82d681f847" providerId="AD" clId="Web-{CCD20048-4536-E224-ADEE-3C5CB46F56B3}" dt="2021-06-30T18:08:07.837" v="376"/>
          <ac:grpSpMkLst>
            <pc:docMk/>
            <pc:sldMk cId="3703057871" sldId="548"/>
            <ac:grpSpMk id="142" creationId="{8E4E62C3-4FD4-4F57-94A1-87BD78CAA158}"/>
          </ac:grpSpMkLst>
        </pc:grpChg>
        <pc:grpChg chg="add del mod">
          <ac:chgData name="Carrillo Rojas Daniela (Codelco-Chuquicamata)" userId="S::dcarr014@codelco.cl::b6c6fc0c-fc39-4bf0-8e9d-fb82d681f847" providerId="AD" clId="Web-{CCD20048-4536-E224-ADEE-3C5CB46F56B3}" dt="2021-06-30T18:17:21.655" v="554"/>
          <ac:grpSpMkLst>
            <pc:docMk/>
            <pc:sldMk cId="3703057871" sldId="548"/>
            <ac:grpSpMk id="147" creationId="{9E82FE95-9D56-43F8-8A63-EAF3B085654D}"/>
          </ac:grpSpMkLst>
        </pc:grpChg>
        <pc:cxnChg chg="mod">
          <ac:chgData name="Carrillo Rojas Daniela (Codelco-Chuquicamata)" userId="S::dcarr014@codelco.cl::b6c6fc0c-fc39-4bf0-8e9d-fb82d681f847" providerId="AD" clId="Web-{CCD20048-4536-E224-ADEE-3C5CB46F56B3}" dt="2021-06-30T18:39:28.353" v="1049" actId="1076"/>
          <ac:cxnSpMkLst>
            <pc:docMk/>
            <pc:sldMk cId="3703057871" sldId="548"/>
            <ac:cxnSpMk id="77" creationId="{5BE94995-F7EE-43C9-B9FA-6F7E4D234535}"/>
          </ac:cxnSpMkLst>
        </pc:cxnChg>
        <pc:cxnChg chg="mod">
          <ac:chgData name="Carrillo Rojas Daniela (Codelco-Chuquicamata)" userId="S::dcarr014@codelco.cl::b6c6fc0c-fc39-4bf0-8e9d-fb82d681f847" providerId="AD" clId="Web-{CCD20048-4536-E224-ADEE-3C5CB46F56B3}" dt="2021-06-30T18:39:28.806" v="1062" actId="1076"/>
          <ac:cxnSpMkLst>
            <pc:docMk/>
            <pc:sldMk cId="3703057871" sldId="548"/>
            <ac:cxnSpMk id="78" creationId="{48289E03-511A-4EF6-B3CA-E6D68AD91AF3}"/>
          </ac:cxnSpMkLst>
        </pc:cxnChg>
        <pc:cxnChg chg="mod">
          <ac:chgData name="Carrillo Rojas Daniela (Codelco-Chuquicamata)" userId="S::dcarr014@codelco.cl::b6c6fc0c-fc39-4bf0-8e9d-fb82d681f847" providerId="AD" clId="Web-{CCD20048-4536-E224-ADEE-3C5CB46F56B3}" dt="2021-06-30T18:39:28.384" v="1050" actId="1076"/>
          <ac:cxnSpMkLst>
            <pc:docMk/>
            <pc:sldMk cId="3703057871" sldId="548"/>
            <ac:cxnSpMk id="81" creationId="{22176578-CD2B-44D9-BCC6-9E60A9621378}"/>
          </ac:cxnSpMkLst>
        </pc:cxnChg>
        <pc:cxnChg chg="mod">
          <ac:chgData name="Carrillo Rojas Daniela (Codelco-Chuquicamata)" userId="S::dcarr014@codelco.cl::b6c6fc0c-fc39-4bf0-8e9d-fb82d681f847" providerId="AD" clId="Web-{CCD20048-4536-E224-ADEE-3C5CB46F56B3}" dt="2021-06-30T18:39:28.478" v="1053" actId="1076"/>
          <ac:cxnSpMkLst>
            <pc:docMk/>
            <pc:sldMk cId="3703057871" sldId="548"/>
            <ac:cxnSpMk id="91" creationId="{FCBE45F7-A019-4CE4-BE2F-B6F6A03085F1}"/>
          </ac:cxnSpMkLst>
        </pc:cxnChg>
        <pc:cxnChg chg="mod">
          <ac:chgData name="Carrillo Rojas Daniela (Codelco-Chuquicamata)" userId="S::dcarr014@codelco.cl::b6c6fc0c-fc39-4bf0-8e9d-fb82d681f847" providerId="AD" clId="Web-{CCD20048-4536-E224-ADEE-3C5CB46F56B3}" dt="2021-06-30T18:39:28.556" v="1055" actId="1076"/>
          <ac:cxnSpMkLst>
            <pc:docMk/>
            <pc:sldMk cId="3703057871" sldId="548"/>
            <ac:cxnSpMk id="93" creationId="{0DE7B6B3-71E0-4227-ADF1-CB2B55B2DB1E}"/>
          </ac:cxnSpMkLst>
        </pc:cxnChg>
        <pc:cxnChg chg="mod">
          <ac:chgData name="Carrillo Rojas Daniela (Codelco-Chuquicamata)" userId="S::dcarr014@codelco.cl::b6c6fc0c-fc39-4bf0-8e9d-fb82d681f847" providerId="AD" clId="Web-{CCD20048-4536-E224-ADEE-3C5CB46F56B3}" dt="2021-06-30T18:39:28.775" v="1061" actId="1076"/>
          <ac:cxnSpMkLst>
            <pc:docMk/>
            <pc:sldMk cId="3703057871" sldId="548"/>
            <ac:cxnSpMk id="126" creationId="{33CA3E4B-7DED-4126-8106-71A05CFE34D9}"/>
          </ac:cxnSpMkLst>
        </pc:cxnChg>
        <pc:cxnChg chg="mod">
          <ac:chgData name="Carrillo Rojas Daniela (Codelco-Chuquicamata)" userId="S::dcarr014@codelco.cl::b6c6fc0c-fc39-4bf0-8e9d-fb82d681f847" providerId="AD" clId="Web-{CCD20048-4536-E224-ADEE-3C5CB46F56B3}" dt="2021-06-30T18:39:28.837" v="1063" actId="1076"/>
          <ac:cxnSpMkLst>
            <pc:docMk/>
            <pc:sldMk cId="3703057871" sldId="548"/>
            <ac:cxnSpMk id="175" creationId="{2DF4D85B-BE45-4B6D-B1D6-674E78D25CB1}"/>
          </ac:cxnSpMkLst>
        </pc:cxnChg>
        <pc:cxnChg chg="add mod">
          <ac:chgData name="Carrillo Rojas Daniela (Codelco-Chuquicamata)" userId="S::dcarr014@codelco.cl::b6c6fc0c-fc39-4bf0-8e9d-fb82d681f847" providerId="AD" clId="Web-{CCD20048-4536-E224-ADEE-3C5CB46F56B3}" dt="2021-06-30T18:49:38.706" v="1105" actId="1076"/>
          <ac:cxnSpMkLst>
            <pc:docMk/>
            <pc:sldMk cId="3703057871" sldId="548"/>
            <ac:cxnSpMk id="201" creationId="{02B7EBAB-303B-4551-B80D-D9E4DBB8ABE8}"/>
          </ac:cxnSpMkLst>
        </pc:cxnChg>
      </pc:sldChg>
      <pc:sldChg chg="modSp mod modShow">
        <pc:chgData name="Carrillo Rojas Daniela (Codelco-Chuquicamata)" userId="S::dcarr014@codelco.cl::b6c6fc0c-fc39-4bf0-8e9d-fb82d681f847" providerId="AD" clId="Web-{CCD20048-4536-E224-ADEE-3C5CB46F56B3}" dt="2021-06-30T19:55:09.746" v="1416" actId="1076"/>
        <pc:sldMkLst>
          <pc:docMk/>
          <pc:sldMk cId="3338979914" sldId="549"/>
        </pc:sldMkLst>
        <pc:spChg chg="mod">
          <ac:chgData name="Carrillo Rojas Daniela (Codelco-Chuquicamata)" userId="S::dcarr014@codelco.cl::b6c6fc0c-fc39-4bf0-8e9d-fb82d681f847" providerId="AD" clId="Web-{CCD20048-4536-E224-ADEE-3C5CB46F56B3}" dt="2021-06-30T19:55:09.746" v="1416" actId="1076"/>
          <ac:spMkLst>
            <pc:docMk/>
            <pc:sldMk cId="3338979914" sldId="549"/>
            <ac:spMk id="21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5:09.636" v="1415" actId="1076"/>
          <ac:spMkLst>
            <pc:docMk/>
            <pc:sldMk cId="3338979914" sldId="549"/>
            <ac:spMk id="29" creationId="{00000000-0000-0000-0000-000000000000}"/>
          </ac:spMkLst>
        </pc:spChg>
        <pc:graphicFrameChg chg="mod">
          <ac:chgData name="Carrillo Rojas Daniela (Codelco-Chuquicamata)" userId="S::dcarr014@codelco.cl::b6c6fc0c-fc39-4bf0-8e9d-fb82d681f847" providerId="AD" clId="Web-{CCD20048-4536-E224-ADEE-3C5CB46F56B3}" dt="2021-06-30T19:12:23.501" v="1411" actId="1076"/>
          <ac:graphicFrameMkLst>
            <pc:docMk/>
            <pc:sldMk cId="3338979914" sldId="549"/>
            <ac:graphicFrameMk id="22" creationId="{00000000-0000-0000-0000-000000000000}"/>
          </ac:graphicFrameMkLst>
        </pc:graphicFrameChg>
      </pc:sldChg>
      <pc:sldChg chg="addSp delSp modSp">
        <pc:chgData name="Carrillo Rojas Daniela (Codelco-Chuquicamata)" userId="S::dcarr014@codelco.cl::b6c6fc0c-fc39-4bf0-8e9d-fb82d681f847" providerId="AD" clId="Web-{CCD20048-4536-E224-ADEE-3C5CB46F56B3}" dt="2021-06-30T19:56:51.139" v="1440" actId="1076"/>
        <pc:sldMkLst>
          <pc:docMk/>
          <pc:sldMk cId="372377247" sldId="550"/>
        </pc:sldMkLst>
        <pc:spChg chg="mod">
          <ac:chgData name="Carrillo Rojas Daniela (Codelco-Chuquicamata)" userId="S::dcarr014@codelco.cl::b6c6fc0c-fc39-4bf0-8e9d-fb82d681f847" providerId="AD" clId="Web-{CCD20048-4536-E224-ADEE-3C5CB46F56B3}" dt="2021-06-30T17:48:36.181" v="1" actId="20577"/>
          <ac:spMkLst>
            <pc:docMk/>
            <pc:sldMk cId="372377247" sldId="550"/>
            <ac:spMk id="2" creationId="{CF922BC9-4CC6-4ABC-8B00-9C998719CA88}"/>
          </ac:spMkLst>
        </pc:spChg>
        <pc:spChg chg="add mod">
          <ac:chgData name="Carrillo Rojas Daniela (Codelco-Chuquicamata)" userId="S::dcarr014@codelco.cl::b6c6fc0c-fc39-4bf0-8e9d-fb82d681f847" providerId="AD" clId="Web-{CCD20048-4536-E224-ADEE-3C5CB46F56B3}" dt="2021-06-30T19:55:36.418" v="1417" actId="1076"/>
          <ac:spMkLst>
            <pc:docMk/>
            <pc:sldMk cId="372377247" sldId="550"/>
            <ac:spMk id="6" creationId="{BBCA609F-5B82-4D56-AFAD-045D09898859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7:51:09.410" v="35"/>
          <ac:spMkLst>
            <pc:docMk/>
            <pc:sldMk cId="372377247" sldId="550"/>
            <ac:spMk id="7" creationId="{C6CE4EEC-B586-4317-96F4-1462953DA97F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7:51:08.223" v="34"/>
          <ac:spMkLst>
            <pc:docMk/>
            <pc:sldMk cId="372377247" sldId="550"/>
            <ac:spMk id="9" creationId="{24A24E30-AF57-431F-89CE-2743F8607E4D}"/>
          </ac:spMkLst>
        </pc:spChg>
        <pc:spChg chg="add del">
          <ac:chgData name="Carrillo Rojas Daniela (Codelco-Chuquicamata)" userId="S::dcarr014@codelco.cl::b6c6fc0c-fc39-4bf0-8e9d-fb82d681f847" providerId="AD" clId="Web-{CCD20048-4536-E224-ADEE-3C5CB46F56B3}" dt="2021-06-30T17:51:08.160" v="33"/>
          <ac:spMkLst>
            <pc:docMk/>
            <pc:sldMk cId="372377247" sldId="550"/>
            <ac:spMk id="10" creationId="{DEFF2165-1A1B-4D96-A257-01BC5C555AE3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32.889" v="1438"/>
          <ac:spMkLst>
            <pc:docMk/>
            <pc:sldMk cId="372377247" sldId="550"/>
            <ac:spMk id="104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32.779" v="1437"/>
          <ac:spMkLst>
            <pc:docMk/>
            <pc:sldMk cId="372377247" sldId="550"/>
            <ac:spMk id="105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32.670" v="1436"/>
          <ac:spMkLst>
            <pc:docMk/>
            <pc:sldMk cId="372377247" sldId="550"/>
            <ac:spMk id="106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32.576" v="1435"/>
          <ac:spMkLst>
            <pc:docMk/>
            <pc:sldMk cId="372377247" sldId="550"/>
            <ac:spMk id="108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32.467" v="1434"/>
          <ac:spMkLst>
            <pc:docMk/>
            <pc:sldMk cId="372377247" sldId="550"/>
            <ac:spMk id="109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45.045" v="1439" actId="1076"/>
          <ac:spMkLst>
            <pc:docMk/>
            <pc:sldMk cId="372377247" sldId="550"/>
            <ac:spMk id="110" creationId="{00000000-0000-0000-0000-000000000000}"/>
          </ac:spMkLst>
        </pc:spChg>
        <pc:spChg chg="mod">
          <ac:chgData name="Carrillo Rojas Daniela (Codelco-Chuquicamata)" userId="S::dcarr014@codelco.cl::b6c6fc0c-fc39-4bf0-8e9d-fb82d681f847" providerId="AD" clId="Web-{CCD20048-4536-E224-ADEE-3C5CB46F56B3}" dt="2021-06-30T19:56:51.139" v="1440" actId="1076"/>
          <ac:spMkLst>
            <pc:docMk/>
            <pc:sldMk cId="372377247" sldId="550"/>
            <ac:spMk id="111" creationId="{00000000-0000-0000-0000-000000000000}"/>
          </ac:spMkLst>
        </pc:spChg>
        <pc:picChg chg="add del mod">
          <ac:chgData name="Carrillo Rojas Daniela (Codelco-Chuquicamata)" userId="S::dcarr014@codelco.cl::b6c6fc0c-fc39-4bf0-8e9d-fb82d681f847" providerId="AD" clId="Web-{CCD20048-4536-E224-ADEE-3C5CB46F56B3}" dt="2021-06-30T17:51:04.316" v="32"/>
          <ac:picMkLst>
            <pc:docMk/>
            <pc:sldMk cId="372377247" sldId="550"/>
            <ac:picMk id="5" creationId="{01D4FB54-94B0-48CD-B1D6-4DF922C0ACBD}"/>
          </ac:picMkLst>
        </pc:picChg>
      </pc:sldChg>
      <pc:sldChg chg="modSp">
        <pc:chgData name="Carrillo Rojas Daniela (Codelco-Chuquicamata)" userId="S::dcarr014@codelco.cl::b6c6fc0c-fc39-4bf0-8e9d-fb82d681f847" providerId="AD" clId="Web-{CCD20048-4536-E224-ADEE-3C5CB46F56B3}" dt="2021-06-30T19:59:45.566" v="1442" actId="20577"/>
        <pc:sldMkLst>
          <pc:docMk/>
          <pc:sldMk cId="2244277401" sldId="552"/>
        </pc:sldMkLst>
        <pc:spChg chg="mod">
          <ac:chgData name="Carrillo Rojas Daniela (Codelco-Chuquicamata)" userId="S::dcarr014@codelco.cl::b6c6fc0c-fc39-4bf0-8e9d-fb82d681f847" providerId="AD" clId="Web-{CCD20048-4536-E224-ADEE-3C5CB46F56B3}" dt="2021-06-30T19:59:45.566" v="1442" actId="20577"/>
          <ac:spMkLst>
            <pc:docMk/>
            <pc:sldMk cId="2244277401" sldId="552"/>
            <ac:spMk id="81" creationId="{8D3FD4C3-15BB-4013-8435-5068E3C9C4EA}"/>
          </ac:spMkLst>
        </pc:spChg>
      </pc:sldChg>
    </pc:docChg>
  </pc:docChgLst>
  <pc:docChgLst>
    <pc:chgData name="Delpino Corrales Esteban (Codelco-Casa Matriz)" userId="S::edelp001@codelco.cl::ff2471f2-e58a-4f56-9381-412d9482f71d" providerId="AD" clId="Web-{6CAF6D03-03A6-4C9A-BEFE-35CD4CBFBE2C}"/>
    <pc:docChg chg="modSld">
      <pc:chgData name="Delpino Corrales Esteban (Codelco-Casa Matriz)" userId="S::edelp001@codelco.cl::ff2471f2-e58a-4f56-9381-412d9482f71d" providerId="AD" clId="Web-{6CAF6D03-03A6-4C9A-BEFE-35CD4CBFBE2C}" dt="2021-10-07T14:39:24.607" v="38" actId="14100"/>
      <pc:docMkLst>
        <pc:docMk/>
      </pc:docMkLst>
      <pc:sldChg chg="addSp delSp modSp">
        <pc:chgData name="Delpino Corrales Esteban (Codelco-Casa Matriz)" userId="S::edelp001@codelco.cl::ff2471f2-e58a-4f56-9381-412d9482f71d" providerId="AD" clId="Web-{6CAF6D03-03A6-4C9A-BEFE-35CD4CBFBE2C}" dt="2021-10-07T14:39:24.607" v="38" actId="14100"/>
        <pc:sldMkLst>
          <pc:docMk/>
          <pc:sldMk cId="2159727526" sldId="603"/>
        </pc:sldMkLst>
        <pc:spChg chg="mod">
          <ac:chgData name="Delpino Corrales Esteban (Codelco-Casa Matriz)" userId="S::edelp001@codelco.cl::ff2471f2-e58a-4f56-9381-412d9482f71d" providerId="AD" clId="Web-{6CAF6D03-03A6-4C9A-BEFE-35CD4CBFBE2C}" dt="2021-10-07T14:38:47.447" v="35" actId="20577"/>
          <ac:spMkLst>
            <pc:docMk/>
            <pc:sldMk cId="2159727526" sldId="603"/>
            <ac:spMk id="18" creationId="{2A5488C6-E0CA-4984-B6A5-01CF1EDF92AD}"/>
          </ac:spMkLst>
        </pc:spChg>
        <pc:spChg chg="mod">
          <ac:chgData name="Delpino Corrales Esteban (Codelco-Casa Matriz)" userId="S::edelp001@codelco.cl::ff2471f2-e58a-4f56-9381-412d9482f71d" providerId="AD" clId="Web-{6CAF6D03-03A6-4C9A-BEFE-35CD4CBFBE2C}" dt="2021-10-07T14:39:24.607" v="38" actId="14100"/>
          <ac:spMkLst>
            <pc:docMk/>
            <pc:sldMk cId="2159727526" sldId="603"/>
            <ac:spMk id="26" creationId="{78739219-A9B5-4219-8179-85DF49CB5D30}"/>
          </ac:spMkLst>
        </pc:spChg>
        <pc:picChg chg="mod">
          <ac:chgData name="Delpino Corrales Esteban (Codelco-Casa Matriz)" userId="S::edelp001@codelco.cl::ff2471f2-e58a-4f56-9381-412d9482f71d" providerId="AD" clId="Web-{6CAF6D03-03A6-4C9A-BEFE-35CD4CBFBE2C}" dt="2021-10-07T14:33:59.770" v="8" actId="1076"/>
          <ac:picMkLst>
            <pc:docMk/>
            <pc:sldMk cId="2159727526" sldId="603"/>
            <ac:picMk id="3" creationId="{43B6E5A8-4EC2-464B-B27A-F653110A3495}"/>
          </ac:picMkLst>
        </pc:picChg>
        <pc:picChg chg="add del mod">
          <ac:chgData name="Delpino Corrales Esteban (Codelco-Casa Matriz)" userId="S::edelp001@codelco.cl::ff2471f2-e58a-4f56-9381-412d9482f71d" providerId="AD" clId="Web-{6CAF6D03-03A6-4C9A-BEFE-35CD4CBFBE2C}" dt="2021-10-07T14:33:53.723" v="6"/>
          <ac:picMkLst>
            <pc:docMk/>
            <pc:sldMk cId="2159727526" sldId="603"/>
            <ac:picMk id="5" creationId="{3D964785-7496-4B40-B2FC-3092532A87B1}"/>
          </ac:picMkLst>
        </pc:picChg>
      </pc:sldChg>
    </pc:docChg>
  </pc:docChgLst>
  <pc:docChgLst>
    <pc:chgData name="Sepulveda Masferrer Ivan (Codelco-Casa Matriz)" userId="S::isepu004@codelco.cl::f0567dff-420e-4d09-834c-804720bcdca6" providerId="AD" clId="Web-{E7518FA9-63B7-8A46-EC0D-B253556970EB}"/>
    <pc:docChg chg="addSld modSld">
      <pc:chgData name="Sepulveda Masferrer Ivan (Codelco-Casa Matriz)" userId="S::isepu004@codelco.cl::f0567dff-420e-4d09-834c-804720bcdca6" providerId="AD" clId="Web-{E7518FA9-63B7-8A46-EC0D-B253556970EB}" dt="2022-04-28T16:57:38.113" v="293" actId="20577"/>
      <pc:docMkLst>
        <pc:docMk/>
      </pc:docMkLst>
      <pc:sldChg chg="mod modShow">
        <pc:chgData name="Sepulveda Masferrer Ivan (Codelco-Casa Matriz)" userId="S::isepu004@codelco.cl::f0567dff-420e-4d09-834c-804720bcdca6" providerId="AD" clId="Web-{E7518FA9-63B7-8A46-EC0D-B253556970EB}" dt="2022-04-28T16:21:24.405" v="97"/>
        <pc:sldMkLst>
          <pc:docMk/>
          <pc:sldMk cId="417169339" sldId="658"/>
        </pc:sldMkLst>
      </pc:sldChg>
      <pc:sldChg chg="modSp mod modShow">
        <pc:chgData name="Sepulveda Masferrer Ivan (Codelco-Casa Matriz)" userId="S::isepu004@codelco.cl::f0567dff-420e-4d09-834c-804720bcdca6" providerId="AD" clId="Web-{E7518FA9-63B7-8A46-EC0D-B253556970EB}" dt="2022-04-28T16:40:55.645" v="195"/>
        <pc:sldMkLst>
          <pc:docMk/>
          <pc:sldMk cId="2742973127" sldId="662"/>
        </pc:sldMkLst>
        <pc:spChg chg="mod">
          <ac:chgData name="Sepulveda Masferrer Ivan (Codelco-Casa Matriz)" userId="S::isepu004@codelco.cl::f0567dff-420e-4d09-834c-804720bcdca6" providerId="AD" clId="Web-{E7518FA9-63B7-8A46-EC0D-B253556970EB}" dt="2022-04-28T16:38:28.625" v="193" actId="20577"/>
          <ac:spMkLst>
            <pc:docMk/>
            <pc:sldMk cId="2742973127" sldId="662"/>
            <ac:spMk id="5" creationId="{D57101E3-207B-4809-B335-D526084CEA70}"/>
          </ac:spMkLst>
        </pc:spChg>
      </pc:sldChg>
      <pc:sldChg chg="addSp delSp modSp add replId">
        <pc:chgData name="Sepulveda Masferrer Ivan (Codelco-Casa Matriz)" userId="S::isepu004@codelco.cl::f0567dff-420e-4d09-834c-804720bcdca6" providerId="AD" clId="Web-{E7518FA9-63B7-8A46-EC0D-B253556970EB}" dt="2022-04-28T16:44:45.292" v="205" actId="20577"/>
        <pc:sldMkLst>
          <pc:docMk/>
          <pc:sldMk cId="4218141041" sldId="668"/>
        </pc:sldMkLst>
        <pc:spChg chg="del">
          <ac:chgData name="Sepulveda Masferrer Ivan (Codelco-Casa Matriz)" userId="S::isepu004@codelco.cl::f0567dff-420e-4d09-834c-804720bcdca6" providerId="AD" clId="Web-{E7518FA9-63B7-8A46-EC0D-B253556970EB}" dt="2022-04-28T15:02:36.405" v="1"/>
          <ac:spMkLst>
            <pc:docMk/>
            <pc:sldMk cId="4218141041" sldId="668"/>
            <ac:spMk id="3" creationId="{00000000-0000-0000-0000-000000000000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5:20:06.150" v="57" actId="20577"/>
          <ac:spMkLst>
            <pc:docMk/>
            <pc:sldMk cId="4218141041" sldId="668"/>
            <ac:spMk id="4" creationId="{AAE50EFE-5206-603F-C285-558CF3452F7F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5:25:22.439" v="65" actId="1076"/>
          <ac:spMkLst>
            <pc:docMk/>
            <pc:sldMk cId="4218141041" sldId="668"/>
            <ac:spMk id="10" creationId="{C30BC3FB-3593-FE89-642F-D659D0A38C40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19:19.323" v="85" actId="20577"/>
          <ac:spMkLst>
            <pc:docMk/>
            <pc:sldMk cId="4218141041" sldId="668"/>
            <ac:spMk id="11" creationId="{AC75A754-095B-CA93-4B9F-DFE94091D0CE}"/>
          </ac:spMkLst>
        </pc:spChg>
        <pc:spChg chg="add del">
          <ac:chgData name="Sepulveda Masferrer Ivan (Codelco-Casa Matriz)" userId="S::isepu004@codelco.cl::f0567dff-420e-4d09-834c-804720bcdca6" providerId="AD" clId="Web-{E7518FA9-63B7-8A46-EC0D-B253556970EB}" dt="2022-04-28T15:25:58.315" v="67"/>
          <ac:spMkLst>
            <pc:docMk/>
            <pc:sldMk cId="4218141041" sldId="668"/>
            <ac:spMk id="11" creationId="{BA4AC981-836F-A816-1FB9-C52933D78F61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26:52.259" v="126" actId="1076"/>
          <ac:spMkLst>
            <pc:docMk/>
            <pc:sldMk cId="4218141041" sldId="668"/>
            <ac:spMk id="12" creationId="{72EF00BA-D969-B046-CF77-9731D64F4882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25:40.804" v="117" actId="20577"/>
          <ac:spMkLst>
            <pc:docMk/>
            <pc:sldMk cId="4218141041" sldId="668"/>
            <ac:spMk id="13" creationId="{B45625E4-B52A-6429-88FA-0BFF94078721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18:18.790" v="81" actId="1076"/>
          <ac:spMkLst>
            <pc:docMk/>
            <pc:sldMk cId="4218141041" sldId="668"/>
            <ac:spMk id="14" creationId="{493F0D3C-7283-D2DC-4213-43BC71B75C59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28:15.699" v="144" actId="20577"/>
          <ac:spMkLst>
            <pc:docMk/>
            <pc:sldMk cId="4218141041" sldId="668"/>
            <ac:spMk id="15" creationId="{9FD0007E-938A-BBA7-815E-528568CA692B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28:16.012" v="149" actId="20577"/>
          <ac:spMkLst>
            <pc:docMk/>
            <pc:sldMk cId="4218141041" sldId="668"/>
            <ac:spMk id="16" creationId="{3A2D122A-C5D6-6240-A192-E049BA228F3F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44:45.292" v="205" actId="20577"/>
          <ac:spMkLst>
            <pc:docMk/>
            <pc:sldMk cId="4218141041" sldId="668"/>
            <ac:spMk id="17" creationId="{83971715-5E30-22FA-E068-EEC375D63D21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34:08.570" v="169" actId="20577"/>
          <ac:spMkLst>
            <pc:docMk/>
            <pc:sldMk cId="4218141041" sldId="668"/>
            <ac:spMk id="18" creationId="{5141662D-9DF9-70AF-B692-8B92CC7A555F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37:47.998" v="187" actId="20577"/>
          <ac:spMkLst>
            <pc:docMk/>
            <pc:sldMk cId="4218141041" sldId="668"/>
            <ac:spMk id="19" creationId="{6C315924-4FF9-5EDC-0C4A-F7C6538B3E8D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38:06.093" v="192" actId="20577"/>
          <ac:spMkLst>
            <pc:docMk/>
            <pc:sldMk cId="4218141041" sldId="668"/>
            <ac:spMk id="20" creationId="{F2C43F83-89C6-76F9-F1F9-93408FBA7F04}"/>
          </ac:spMkLst>
        </pc:spChg>
        <pc:picChg chg="mod">
          <ac:chgData name="Sepulveda Masferrer Ivan (Codelco-Casa Matriz)" userId="S::isepu004@codelco.cl::f0567dff-420e-4d09-834c-804720bcdca6" providerId="AD" clId="Web-{E7518FA9-63B7-8A46-EC0D-B253556970EB}" dt="2022-04-28T15:17:16.989" v="39" actId="1076"/>
          <ac:picMkLst>
            <pc:docMk/>
            <pc:sldMk cId="4218141041" sldId="668"/>
            <ac:picMk id="6" creationId="{D329EE78-6BB3-8110-0F2A-CC3F8F09DB51}"/>
          </ac:picMkLst>
        </pc:picChg>
      </pc:sldChg>
      <pc:sldChg chg="addSp delSp modSp add replId">
        <pc:chgData name="Sepulveda Masferrer Ivan (Codelco-Casa Matriz)" userId="S::isepu004@codelco.cl::f0567dff-420e-4d09-834c-804720bcdca6" providerId="AD" clId="Web-{E7518FA9-63B7-8A46-EC0D-B253556970EB}" dt="2022-04-28T16:57:38.113" v="293" actId="20577"/>
        <pc:sldMkLst>
          <pc:docMk/>
          <pc:sldMk cId="3569222143" sldId="669"/>
        </pc:sldMkLst>
        <pc:spChg chg="mod">
          <ac:chgData name="Sepulveda Masferrer Ivan (Codelco-Casa Matriz)" userId="S::isepu004@codelco.cl::f0567dff-420e-4d09-834c-804720bcdca6" providerId="AD" clId="Web-{E7518FA9-63B7-8A46-EC0D-B253556970EB}" dt="2022-04-28T16:50:38.553" v="261" actId="1076"/>
          <ac:spMkLst>
            <pc:docMk/>
            <pc:sldMk cId="3569222143" sldId="669"/>
            <ac:spMk id="4" creationId="{00000000-0000-0000-0000-000000000000}"/>
          </ac:spMkLst>
        </pc:spChg>
        <pc:spChg chg="del">
          <ac:chgData name="Sepulveda Masferrer Ivan (Codelco-Casa Matriz)" userId="S::isepu004@codelco.cl::f0567dff-420e-4d09-834c-804720bcdca6" providerId="AD" clId="Web-{E7518FA9-63B7-8A46-EC0D-B253556970EB}" dt="2022-04-28T16:49:34.739" v="250"/>
          <ac:spMkLst>
            <pc:docMk/>
            <pc:sldMk cId="3569222143" sldId="669"/>
            <ac:spMk id="5" creationId="{D57101E3-207B-4809-B335-D526084CEA70}"/>
          </ac:spMkLst>
        </pc:spChg>
        <pc:spChg chg="add del mod">
          <ac:chgData name="Sepulveda Masferrer Ivan (Codelco-Casa Matriz)" userId="S::isepu004@codelco.cl::f0567dff-420e-4d09-834c-804720bcdca6" providerId="AD" clId="Web-{E7518FA9-63B7-8A46-EC0D-B253556970EB}" dt="2022-04-28T16:50:01.334" v="255"/>
          <ac:spMkLst>
            <pc:docMk/>
            <pc:sldMk cId="3569222143" sldId="669"/>
            <ac:spMk id="6" creationId="{E883EDDF-54CD-D482-9A5C-9191E7F4FBDC}"/>
          </ac:spMkLst>
        </pc:spChg>
        <pc:spChg chg="add mod">
          <ac:chgData name="Sepulveda Masferrer Ivan (Codelco-Casa Matriz)" userId="S::isepu004@codelco.cl::f0567dff-420e-4d09-834c-804720bcdca6" providerId="AD" clId="Web-{E7518FA9-63B7-8A46-EC0D-B253556970EB}" dt="2022-04-28T16:57:38.113" v="293" actId="20577"/>
          <ac:spMkLst>
            <pc:docMk/>
            <pc:sldMk cId="3569222143" sldId="669"/>
            <ac:spMk id="10" creationId="{B2ECAF9D-6A95-AEA1-614F-DC9B1BB3D08B}"/>
          </ac:spMkLst>
        </pc:spChg>
        <pc:cxnChg chg="add mod">
          <ac:chgData name="Sepulveda Masferrer Ivan (Codelco-Casa Matriz)" userId="S::isepu004@codelco.cl::f0567dff-420e-4d09-834c-804720bcdca6" providerId="AD" clId="Web-{E7518FA9-63B7-8A46-EC0D-B253556970EB}" dt="2022-04-28T16:52:10.119" v="271"/>
          <ac:cxnSpMkLst>
            <pc:docMk/>
            <pc:sldMk cId="3569222143" sldId="669"/>
            <ac:cxnSpMk id="7" creationId="{4A7B674C-255A-E06D-31B6-DFD9373CB655}"/>
          </ac:cxnSpMkLst>
        </pc:cxnChg>
        <pc:cxnChg chg="add mod">
          <ac:chgData name="Sepulveda Masferrer Ivan (Codelco-Casa Matriz)" userId="S::isepu004@codelco.cl::f0567dff-420e-4d09-834c-804720bcdca6" providerId="AD" clId="Web-{E7518FA9-63B7-8A46-EC0D-B253556970EB}" dt="2022-04-28T16:53:36.387" v="277" actId="1076"/>
          <ac:cxnSpMkLst>
            <pc:docMk/>
            <pc:sldMk cId="3569222143" sldId="669"/>
            <ac:cxnSpMk id="11" creationId="{561D0E9C-9B3D-175D-67A0-0A163EC71535}"/>
          </ac:cxnSpMkLst>
        </pc:cxnChg>
      </pc:sldChg>
    </pc:docChg>
  </pc:docChgLst>
  <pc:docChgLst>
    <pc:chgData name="Allende Bustamante Jose (Codelco-Casa Matriz)" userId="S::jalle011@codelco.cl::54345eee-8770-43bf-b080-e3e333067d62" providerId="AD" clId="Web-{2B01B26A-0AFA-5871-E5D3-F1F34611DE64}"/>
    <pc:docChg chg="addSld modSld">
      <pc:chgData name="Allende Bustamante Jose (Codelco-Casa Matriz)" userId="S::jalle011@codelco.cl::54345eee-8770-43bf-b080-e3e333067d62" providerId="AD" clId="Web-{2B01B26A-0AFA-5871-E5D3-F1F34611DE64}" dt="2020-11-05T14:58:37.732" v="54"/>
      <pc:docMkLst>
        <pc:docMk/>
      </pc:docMkLst>
      <pc:sldChg chg="delSp">
        <pc:chgData name="Allende Bustamante Jose (Codelco-Casa Matriz)" userId="S::jalle011@codelco.cl::54345eee-8770-43bf-b080-e3e333067d62" providerId="AD" clId="Web-{2B01B26A-0AFA-5871-E5D3-F1F34611DE64}" dt="2020-11-05T14:58:37.732" v="54"/>
        <pc:sldMkLst>
          <pc:docMk/>
          <pc:sldMk cId="2155997825" sldId="375"/>
        </pc:sldMkLst>
        <pc:spChg chg="del">
          <ac:chgData name="Allende Bustamante Jose (Codelco-Casa Matriz)" userId="S::jalle011@codelco.cl::54345eee-8770-43bf-b080-e3e333067d62" providerId="AD" clId="Web-{2B01B26A-0AFA-5871-E5D3-F1F34611DE64}" dt="2020-11-05T14:58:12.325" v="48"/>
          <ac:spMkLst>
            <pc:docMk/>
            <pc:sldMk cId="2155997825" sldId="375"/>
            <ac:spMk id="6" creationId="{8C4B0708-45D5-4F41-A628-B7BFFF272939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8:21.872" v="50"/>
          <ac:spMkLst>
            <pc:docMk/>
            <pc:sldMk cId="2155997825" sldId="375"/>
            <ac:spMk id="28" creationId="{E2042697-7E43-402F-894F-C9A8D0920BAF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2:06.270" v="1"/>
          <ac:spMkLst>
            <pc:docMk/>
            <pc:sldMk cId="2155997825" sldId="375"/>
            <ac:spMk id="29" creationId="{6378B0BA-02AF-4C4C-8205-35E8E38D7583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2:02.519" v="0"/>
          <ac:spMkLst>
            <pc:docMk/>
            <pc:sldMk cId="2155997825" sldId="375"/>
            <ac:spMk id="30" creationId="{85CC7436-6643-4C62-8202-AABE7349CDC3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8:24.434" v="51"/>
          <ac:spMkLst>
            <pc:docMk/>
            <pc:sldMk cId="2155997825" sldId="375"/>
            <ac:spMk id="31" creationId="{3716D602-CC96-4272-8E93-D2BF24C4F84B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8:27.169" v="52"/>
          <ac:spMkLst>
            <pc:docMk/>
            <pc:sldMk cId="2155997825" sldId="375"/>
            <ac:spMk id="34" creationId="{B25577A0-7AF2-431C-AA6D-F69F7778ED51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8:37.732" v="54"/>
          <ac:spMkLst>
            <pc:docMk/>
            <pc:sldMk cId="2155997825" sldId="375"/>
            <ac:spMk id="35" creationId="{E952143E-7779-440B-BC57-C719B5AE7C1B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8:31.044" v="53"/>
          <ac:spMkLst>
            <pc:docMk/>
            <pc:sldMk cId="2155997825" sldId="375"/>
            <ac:spMk id="36" creationId="{D481C1E3-6175-4485-8C90-50FC01574FA5}"/>
          </ac:spMkLst>
        </pc:spChg>
        <pc:spChg chg="del">
          <ac:chgData name="Allende Bustamante Jose (Codelco-Casa Matriz)" userId="S::jalle011@codelco.cl::54345eee-8770-43bf-b080-e3e333067d62" providerId="AD" clId="Web-{2B01B26A-0AFA-5871-E5D3-F1F34611DE64}" dt="2020-11-05T14:58:19.559" v="49"/>
          <ac:spMkLst>
            <pc:docMk/>
            <pc:sldMk cId="2155997825" sldId="375"/>
            <ac:spMk id="39" creationId="{77B2E7F9-A18F-4050-95EC-D320E1FE90E3}"/>
          </ac:spMkLst>
        </pc:spChg>
      </pc:sldChg>
      <pc:sldChg chg="addSp delSp modSp">
        <pc:chgData name="Allende Bustamante Jose (Codelco-Casa Matriz)" userId="S::jalle011@codelco.cl::54345eee-8770-43bf-b080-e3e333067d62" providerId="AD" clId="Web-{2B01B26A-0AFA-5871-E5D3-F1F34611DE64}" dt="2020-11-05T14:54:56.680" v="4"/>
        <pc:sldMkLst>
          <pc:docMk/>
          <pc:sldMk cId="3618717358" sldId="408"/>
        </pc:sldMkLst>
        <pc:picChg chg="add del mod">
          <ac:chgData name="Allende Bustamante Jose (Codelco-Casa Matriz)" userId="S::jalle011@codelco.cl::54345eee-8770-43bf-b080-e3e333067d62" providerId="AD" clId="Web-{2B01B26A-0AFA-5871-E5D3-F1F34611DE64}" dt="2020-11-05T14:54:56.680" v="4"/>
          <ac:picMkLst>
            <pc:docMk/>
            <pc:sldMk cId="3618717358" sldId="408"/>
            <ac:picMk id="3" creationId="{5E0F5518-7A73-4A28-80F2-B9C5F61BA5AE}"/>
          </ac:picMkLst>
        </pc:picChg>
      </pc:sldChg>
      <pc:sldChg chg="addSp modSp add replId">
        <pc:chgData name="Allende Bustamante Jose (Codelco-Casa Matriz)" userId="S::jalle011@codelco.cl::54345eee-8770-43bf-b080-e3e333067d62" providerId="AD" clId="Web-{2B01B26A-0AFA-5871-E5D3-F1F34611DE64}" dt="2020-11-05T14:57:52.902" v="47"/>
        <pc:sldMkLst>
          <pc:docMk/>
          <pc:sldMk cId="1371275220" sldId="429"/>
        </pc:sldMkLst>
        <pc:spChg chg="mod">
          <ac:chgData name="Allende Bustamante Jose (Codelco-Casa Matriz)" userId="S::jalle011@codelco.cl::54345eee-8770-43bf-b080-e3e333067d62" providerId="AD" clId="Web-{2B01B26A-0AFA-5871-E5D3-F1F34611DE64}" dt="2020-11-05T14:55:13.696" v="28" actId="20577"/>
          <ac:spMkLst>
            <pc:docMk/>
            <pc:sldMk cId="1371275220" sldId="429"/>
            <ac:spMk id="2" creationId="{DFBE0F14-D6DD-4002-B438-B181B5E03381}"/>
          </ac:spMkLst>
        </pc:spChg>
        <pc:spChg chg="add mod">
          <ac:chgData name="Allende Bustamante Jose (Codelco-Casa Matriz)" userId="S::jalle011@codelco.cl::54345eee-8770-43bf-b080-e3e333067d62" providerId="AD" clId="Web-{2B01B26A-0AFA-5871-E5D3-F1F34611DE64}" dt="2020-11-05T14:57:52.902" v="47"/>
          <ac:spMkLst>
            <pc:docMk/>
            <pc:sldMk cId="1371275220" sldId="429"/>
            <ac:spMk id="4" creationId="{B0490157-1CD0-4AF1-B6B8-D00DBEDC5462}"/>
          </ac:spMkLst>
        </pc:spChg>
        <pc:picChg chg="mod modCrop">
          <ac:chgData name="Allende Bustamante Jose (Codelco-Casa Matriz)" userId="S::jalle011@codelco.cl::54345eee-8770-43bf-b080-e3e333067d62" providerId="AD" clId="Web-{2B01B26A-0AFA-5871-E5D3-F1F34611DE64}" dt="2020-11-05T14:56:30.947" v="36" actId="1076"/>
          <ac:picMkLst>
            <pc:docMk/>
            <pc:sldMk cId="1371275220" sldId="429"/>
            <ac:picMk id="3" creationId="{5E0F5518-7A73-4A28-80F2-B9C5F61BA5AE}"/>
          </ac:picMkLst>
        </pc:picChg>
      </pc:sldChg>
    </pc:docChg>
  </pc:docChgLst>
  <pc:docChgLst>
    <pc:chgData name="Ribbeck Baraibar Magdalena (Codelco-Casa Matriz)" userId="S::mribb001@codelco.cl::7bb6843e-b693-4544-85cb-a362c987f4a4" providerId="AD" clId="Web-{A8B06E0C-5F70-4151-8AE9-BBE24415AC27}"/>
    <pc:docChg chg="modSld">
      <pc:chgData name="Ribbeck Baraibar Magdalena (Codelco-Casa Matriz)" userId="S::mribb001@codelco.cl::7bb6843e-b693-4544-85cb-a362c987f4a4" providerId="AD" clId="Web-{A8B06E0C-5F70-4151-8AE9-BBE24415AC27}" dt="2021-06-30T18:24:06.317" v="122" actId="20577"/>
      <pc:docMkLst>
        <pc:docMk/>
      </pc:docMkLst>
      <pc:sldChg chg="modSp">
        <pc:chgData name="Ribbeck Baraibar Magdalena (Codelco-Casa Matriz)" userId="S::mribb001@codelco.cl::7bb6843e-b693-4544-85cb-a362c987f4a4" providerId="AD" clId="Web-{A8B06E0C-5F70-4151-8AE9-BBE24415AC27}" dt="2021-06-30T18:24:06.317" v="122" actId="20577"/>
        <pc:sldMkLst>
          <pc:docMk/>
          <pc:sldMk cId="2372349752" sldId="541"/>
        </pc:sldMkLst>
        <pc:spChg chg="mod">
          <ac:chgData name="Ribbeck Baraibar Magdalena (Codelco-Casa Matriz)" userId="S::mribb001@codelco.cl::7bb6843e-b693-4544-85cb-a362c987f4a4" providerId="AD" clId="Web-{A8B06E0C-5F70-4151-8AE9-BBE24415AC27}" dt="2021-06-30T18:24:06.317" v="122" actId="20577"/>
          <ac:spMkLst>
            <pc:docMk/>
            <pc:sldMk cId="2372349752" sldId="541"/>
            <ac:spMk id="11" creationId="{D2D0E0A0-DCE3-4F2F-882A-82CCCBD0F002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BF8174B8-846A-A934-C4CB-4186FCD3DDAC}"/>
    <pc:docChg chg="modSld">
      <pc:chgData name="Allende Bustamante Jose (Codelco-Casa Matriz)" userId="S::jalle011@codelco.cl::54345eee-8770-43bf-b080-e3e333067d62" providerId="AD" clId="Web-{BF8174B8-846A-A934-C4CB-4186FCD3DDAC}" dt="2021-01-14T15:21:06.248" v="0"/>
      <pc:docMkLst>
        <pc:docMk/>
      </pc:docMkLst>
      <pc:sldChg chg="mod modShow">
        <pc:chgData name="Allende Bustamante Jose (Codelco-Casa Matriz)" userId="S::jalle011@codelco.cl::54345eee-8770-43bf-b080-e3e333067d62" providerId="AD" clId="Web-{BF8174B8-846A-A934-C4CB-4186FCD3DDAC}" dt="2021-01-14T15:21:06.248" v="0"/>
        <pc:sldMkLst>
          <pc:docMk/>
          <pc:sldMk cId="1752870340" sldId="443"/>
        </pc:sldMkLst>
      </pc:sldChg>
    </pc:docChg>
  </pc:docChgLst>
  <pc:docChgLst>
    <pc:chgData name="Mery Carrasco Mauricio (Codelco-Casa Matriz)" userId="S::mmery004@codelco.cl::a0378191-74de-4d59-9b37-aa421303daba" providerId="AD" clId="Web-{66CAC99F-D098-0000-C3D8-705867E36878}"/>
    <pc:docChg chg="modSld">
      <pc:chgData name="Mery Carrasco Mauricio (Codelco-Casa Matriz)" userId="S::mmery004@codelco.cl::a0378191-74de-4d59-9b37-aa421303daba" providerId="AD" clId="Web-{66CAC99F-D098-0000-C3D8-705867E36878}" dt="2021-05-20T15:56:03.091" v="22" actId="20577"/>
      <pc:docMkLst>
        <pc:docMk/>
      </pc:docMkLst>
      <pc:sldChg chg="modSp">
        <pc:chgData name="Mery Carrasco Mauricio (Codelco-Casa Matriz)" userId="S::mmery004@codelco.cl::a0378191-74de-4d59-9b37-aa421303daba" providerId="AD" clId="Web-{66CAC99F-D098-0000-C3D8-705867E36878}" dt="2021-05-20T15:52:15.821" v="4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66CAC99F-D098-0000-C3D8-705867E36878}" dt="2021-05-20T15:52:15.789" v="2" actId="1076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66CAC99F-D098-0000-C3D8-705867E36878}" dt="2021-05-20T15:52:15.805" v="3" actId="1076"/>
          <ac:spMkLst>
            <pc:docMk/>
            <pc:sldMk cId="2155997825" sldId="37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66CAC99F-D098-0000-C3D8-705867E36878}" dt="2021-05-20T15:52:15.821" v="4" actId="1076"/>
          <ac:spMkLst>
            <pc:docMk/>
            <pc:sldMk cId="2155997825" sldId="375"/>
            <ac:spMk id="45" creationId="{5CF579C1-133B-4D95-88C4-B4F3C77226AF}"/>
          </ac:spMkLst>
        </pc:spChg>
      </pc:sldChg>
      <pc:sldChg chg="modSp">
        <pc:chgData name="Mery Carrasco Mauricio (Codelco-Casa Matriz)" userId="S::mmery004@codelco.cl::a0378191-74de-4d59-9b37-aa421303daba" providerId="AD" clId="Web-{66CAC99F-D098-0000-C3D8-705867E36878}" dt="2021-05-20T15:56:03.091" v="22" actId="20577"/>
        <pc:sldMkLst>
          <pc:docMk/>
          <pc:sldMk cId="1637169685" sldId="532"/>
        </pc:sldMkLst>
        <pc:spChg chg="mod">
          <ac:chgData name="Mery Carrasco Mauricio (Codelco-Casa Matriz)" userId="S::mmery004@codelco.cl::a0378191-74de-4d59-9b37-aa421303daba" providerId="AD" clId="Web-{66CAC99F-D098-0000-C3D8-705867E36878}" dt="2021-05-20T15:55:42.528" v="20" actId="1076"/>
          <ac:spMkLst>
            <pc:docMk/>
            <pc:sldMk cId="1637169685" sldId="532"/>
            <ac:spMk id="36" creationId="{03AB6464-BE3D-4F92-8E1D-E84406623404}"/>
          </ac:spMkLst>
        </pc:spChg>
        <pc:spChg chg="mod">
          <ac:chgData name="Mery Carrasco Mauricio (Codelco-Casa Matriz)" userId="S::mmery004@codelco.cl::a0378191-74de-4d59-9b37-aa421303daba" providerId="AD" clId="Web-{66CAC99F-D098-0000-C3D8-705867E36878}" dt="2021-05-20T15:55:26.997" v="18" actId="20577"/>
          <ac:spMkLst>
            <pc:docMk/>
            <pc:sldMk cId="1637169685" sldId="532"/>
            <ac:spMk id="145" creationId="{3F302836-4F68-4641-BD29-64B0A72CA38E}"/>
          </ac:spMkLst>
        </pc:spChg>
        <pc:spChg chg="mod">
          <ac:chgData name="Mery Carrasco Mauricio (Codelco-Casa Matriz)" userId="S::mmery004@codelco.cl::a0378191-74de-4d59-9b37-aa421303daba" providerId="AD" clId="Web-{66CAC99F-D098-0000-C3D8-705867E36878}" dt="2021-05-20T15:56:03.091" v="22" actId="20577"/>
          <ac:spMkLst>
            <pc:docMk/>
            <pc:sldMk cId="1637169685" sldId="532"/>
            <ac:spMk id="494601" creationId="{8D3FD4C3-15BB-4013-8435-5068E3C9C4EA}"/>
          </ac:spMkLst>
        </pc:spChg>
      </pc:sldChg>
      <pc:sldChg chg="modSp">
        <pc:chgData name="Mery Carrasco Mauricio (Codelco-Casa Matriz)" userId="S::mmery004@codelco.cl::a0378191-74de-4d59-9b37-aa421303daba" providerId="AD" clId="Web-{66CAC99F-D098-0000-C3D8-705867E36878}" dt="2021-05-20T15:55:11.465" v="14" actId="1076"/>
        <pc:sldMkLst>
          <pc:docMk/>
          <pc:sldMk cId="3057930123" sldId="533"/>
        </pc:sldMkLst>
        <pc:spChg chg="mod">
          <ac:chgData name="Mery Carrasco Mauricio (Codelco-Casa Matriz)" userId="S::mmery004@codelco.cl::a0378191-74de-4d59-9b37-aa421303daba" providerId="AD" clId="Web-{66CAC99F-D098-0000-C3D8-705867E36878}" dt="2021-05-20T15:55:11.402" v="13" actId="1076"/>
          <ac:spMkLst>
            <pc:docMk/>
            <pc:sldMk cId="3057930123" sldId="533"/>
            <ac:spMk id="80" creationId="{CB9BD1F3-5FC2-470E-A1DC-C86D0F2ED8AA}"/>
          </ac:spMkLst>
        </pc:spChg>
        <pc:spChg chg="mod">
          <ac:chgData name="Mery Carrasco Mauricio (Codelco-Casa Matriz)" userId="S::mmery004@codelco.cl::a0378191-74de-4d59-9b37-aa421303daba" providerId="AD" clId="Web-{66CAC99F-D098-0000-C3D8-705867E36878}" dt="2021-05-20T15:55:11.465" v="14" actId="1076"/>
          <ac:spMkLst>
            <pc:docMk/>
            <pc:sldMk cId="3057930123" sldId="533"/>
            <ac:spMk id="81" creationId="{8D3FD4C3-15BB-4013-8435-5068E3C9C4EA}"/>
          </ac:spMkLst>
        </pc:spChg>
        <pc:spChg chg="mod">
          <ac:chgData name="Mery Carrasco Mauricio (Codelco-Casa Matriz)" userId="S::mmery004@codelco.cl::a0378191-74de-4d59-9b37-aa421303daba" providerId="AD" clId="Web-{66CAC99F-D098-0000-C3D8-705867E36878}" dt="2021-05-20T15:54:50.933" v="12" actId="20577"/>
          <ac:spMkLst>
            <pc:docMk/>
            <pc:sldMk cId="3057930123" sldId="533"/>
            <ac:spMk id="145" creationId="{3F302836-4F68-4641-BD29-64B0A72CA38E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1DF37008-E50E-8131-5903-E61445FA04CE}"/>
    <pc:docChg chg="addSld delSld modSld">
      <pc:chgData name="Paillacar Oyarzo Paulo Ignacio (Codelco-Casa Matriz)" userId="S::ppail001@codelco.cl::3f9c4ec0-dfff-4bc5-ba03-192dd672e537" providerId="AD" clId="Web-{1DF37008-E50E-8131-5903-E61445FA04CE}" dt="2021-04-15T04:34:53.735" v="403"/>
      <pc:docMkLst>
        <pc:docMk/>
      </pc:docMkLst>
      <pc:sldChg chg="addSp delSp modSp new del">
        <pc:chgData name="Paillacar Oyarzo Paulo Ignacio (Codelco-Casa Matriz)" userId="S::ppail001@codelco.cl::3f9c4ec0-dfff-4bc5-ba03-192dd672e537" providerId="AD" clId="Web-{1DF37008-E50E-8131-5903-E61445FA04CE}" dt="2021-04-15T04:33:48.734" v="402"/>
        <pc:sldMkLst>
          <pc:docMk/>
          <pc:sldMk cId="4267727006" sldId="459"/>
        </pc:sldMkLst>
        <pc:spChg chg="mod">
          <ac:chgData name="Paillacar Oyarzo Paulo Ignacio (Codelco-Casa Matriz)" userId="S::ppail001@codelco.cl::3f9c4ec0-dfff-4bc5-ba03-192dd672e537" providerId="AD" clId="Web-{1DF37008-E50E-8131-5903-E61445FA04CE}" dt="2021-04-15T03:54:23.383" v="13" actId="20577"/>
          <ac:spMkLst>
            <pc:docMk/>
            <pc:sldMk cId="4267727006" sldId="459"/>
            <ac:spMk id="2" creationId="{E352F886-645C-49A4-9259-D5CB64E386E7}"/>
          </ac:spMkLst>
        </pc:spChg>
        <pc:picChg chg="add del mod">
          <ac:chgData name="Paillacar Oyarzo Paulo Ignacio (Codelco-Casa Matriz)" userId="S::ppail001@codelco.cl::3f9c4ec0-dfff-4bc5-ba03-192dd672e537" providerId="AD" clId="Web-{1DF37008-E50E-8131-5903-E61445FA04CE}" dt="2021-04-15T03:55:05.524" v="26"/>
          <ac:picMkLst>
            <pc:docMk/>
            <pc:sldMk cId="4267727006" sldId="459"/>
            <ac:picMk id="5" creationId="{068A8BFB-ED2E-4137-AA87-68B41FF9481F}"/>
          </ac:picMkLst>
        </pc:picChg>
      </pc:sldChg>
      <pc:sldChg chg="addSp delSp modSp add replId">
        <pc:chgData name="Paillacar Oyarzo Paulo Ignacio (Codelco-Casa Matriz)" userId="S::ppail001@codelco.cl::3f9c4ec0-dfff-4bc5-ba03-192dd672e537" providerId="AD" clId="Web-{1DF37008-E50E-8131-5903-E61445FA04CE}" dt="2021-04-15T04:33:37.515" v="401" actId="1076"/>
        <pc:sldMkLst>
          <pc:docMk/>
          <pc:sldMk cId="3704017336" sldId="460"/>
        </pc:sldMkLst>
        <pc:spChg chg="del mod">
          <ac:chgData name="Paillacar Oyarzo Paulo Ignacio (Codelco-Casa Matriz)" userId="S::ppail001@codelco.cl::3f9c4ec0-dfff-4bc5-ba03-192dd672e537" providerId="AD" clId="Web-{1DF37008-E50E-8131-5903-E61445FA04CE}" dt="2021-04-15T04:31:15.075" v="364"/>
          <ac:spMkLst>
            <pc:docMk/>
            <pc:sldMk cId="3704017336" sldId="460"/>
            <ac:spMk id="4" creationId="{00000000-0000-0000-0000-000000000000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21:32.551" v="233" actId="1076"/>
          <ac:spMkLst>
            <pc:docMk/>
            <pc:sldMk cId="3704017336" sldId="460"/>
            <ac:spMk id="9" creationId="{7C3B8ECC-0E88-4794-8EBF-528A4EB01996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59.071" v="25"/>
          <ac:spMkLst>
            <pc:docMk/>
            <pc:sldMk cId="3704017336" sldId="460"/>
            <ac:spMk id="10" creationId="{00000000-0000-0000-0000-000000000000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42.133" v="15"/>
          <ac:spMkLst>
            <pc:docMk/>
            <pc:sldMk cId="3704017336" sldId="460"/>
            <ac:spMk id="11" creationId="{00000000-0000-0000-0000-000000000000}"/>
          </ac:spMkLst>
        </pc:spChg>
        <pc:spChg chg="mod">
          <ac:chgData name="Paillacar Oyarzo Paulo Ignacio (Codelco-Casa Matriz)" userId="S::ppail001@codelco.cl::3f9c4ec0-dfff-4bc5-ba03-192dd672e537" providerId="AD" clId="Web-{1DF37008-E50E-8131-5903-E61445FA04CE}" dt="2021-04-15T04:04:08.221" v="79" actId="20577"/>
          <ac:spMkLst>
            <pc:docMk/>
            <pc:sldMk cId="3704017336" sldId="460"/>
            <ac:spMk id="13" creationId="{F8B1AB08-0CAE-4A49-A34E-DA1996B9EF15}"/>
          </ac:spMkLst>
        </pc:spChg>
        <pc:spChg chg="add del">
          <ac:chgData name="Paillacar Oyarzo Paulo Ignacio (Codelco-Casa Matriz)" userId="S::ppail001@codelco.cl::3f9c4ec0-dfff-4bc5-ba03-192dd672e537" providerId="AD" clId="Web-{1DF37008-E50E-8131-5903-E61445FA04CE}" dt="2021-04-15T04:09:14.726" v="112"/>
          <ac:spMkLst>
            <pc:docMk/>
            <pc:sldMk cId="3704017336" sldId="460"/>
            <ac:spMk id="16" creationId="{2A2881CD-8DEE-4D43-B015-8CC44BEC3181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12:15.370" v="145" actId="1076"/>
          <ac:spMkLst>
            <pc:docMk/>
            <pc:sldMk cId="3704017336" sldId="460"/>
            <ac:spMk id="17" creationId="{D2BE2032-9295-4098-93B7-0874C7A326DD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42.321" v="17"/>
          <ac:spMkLst>
            <pc:docMk/>
            <pc:sldMk cId="3704017336" sldId="460"/>
            <ac:spMk id="18" creationId="{F8B1AB08-0CAE-4A49-A34E-DA1996B9EF15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52.540" v="24"/>
          <ac:spMkLst>
            <pc:docMk/>
            <pc:sldMk cId="3704017336" sldId="460"/>
            <ac:spMk id="23" creationId="{00000000-0000-0000-0000-000000000000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45.368" v="23"/>
          <ac:spMkLst>
            <pc:docMk/>
            <pc:sldMk cId="3704017336" sldId="460"/>
            <ac:spMk id="24" creationId="{00000000-0000-0000-0000-000000000000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42.352" v="20"/>
          <ac:spMkLst>
            <pc:docMk/>
            <pc:sldMk cId="3704017336" sldId="460"/>
            <ac:spMk id="25" creationId="{00000000-0000-0000-0000-000000000000}"/>
          </ac:spMkLst>
        </pc:spChg>
        <pc:spChg chg="del">
          <ac:chgData name="Paillacar Oyarzo Paulo Ignacio (Codelco-Casa Matriz)" userId="S::ppail001@codelco.cl::3f9c4ec0-dfff-4bc5-ba03-192dd672e537" providerId="AD" clId="Web-{1DF37008-E50E-8131-5903-E61445FA04CE}" dt="2021-04-15T03:54:42.352" v="19"/>
          <ac:spMkLst>
            <pc:docMk/>
            <pc:sldMk cId="3704017336" sldId="460"/>
            <ac:spMk id="26" creationId="{00000000-0000-0000-0000-000000000000}"/>
          </ac:spMkLst>
        </pc:spChg>
        <pc:spChg chg="add del mod">
          <ac:chgData name="Paillacar Oyarzo Paulo Ignacio (Codelco-Casa Matriz)" userId="S::ppail001@codelco.cl::3f9c4ec0-dfff-4bc5-ba03-192dd672e537" providerId="AD" clId="Web-{1DF37008-E50E-8131-5903-E61445FA04CE}" dt="2021-04-15T04:12:26.964" v="151"/>
          <ac:spMkLst>
            <pc:docMk/>
            <pc:sldMk cId="3704017336" sldId="460"/>
            <ac:spMk id="27" creationId="{BEDFC818-BD0F-4F1B-A33B-56B9CD484643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12:35.620" v="152" actId="1076"/>
          <ac:spMkLst>
            <pc:docMk/>
            <pc:sldMk cId="3704017336" sldId="460"/>
            <ac:spMk id="29" creationId="{6238B00E-D8B9-4F11-B4CA-CA9E2E84CFEE}"/>
          </ac:spMkLst>
        </pc:spChg>
        <pc:spChg chg="add del">
          <ac:chgData name="Paillacar Oyarzo Paulo Ignacio (Codelco-Casa Matriz)" userId="S::ppail001@codelco.cl::3f9c4ec0-dfff-4bc5-ba03-192dd672e537" providerId="AD" clId="Web-{1DF37008-E50E-8131-5903-E61445FA04CE}" dt="2021-04-15T04:14:46.466" v="157"/>
          <ac:spMkLst>
            <pc:docMk/>
            <pc:sldMk cId="3704017336" sldId="460"/>
            <ac:spMk id="30" creationId="{8EE765E4-B86F-4AA7-A8C2-0A0EFDA44437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32:15.670" v="393" actId="20577"/>
          <ac:spMkLst>
            <pc:docMk/>
            <pc:sldMk cId="3704017336" sldId="460"/>
            <ac:spMk id="31" creationId="{9B9EB1A9-C7B4-42B1-B107-4340ED880392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16:49.359" v="183" actId="20577"/>
          <ac:spMkLst>
            <pc:docMk/>
            <pc:sldMk cId="3704017336" sldId="460"/>
            <ac:spMk id="32" creationId="{4B145EBE-AC84-4D3C-8AEF-5ECD98C3F771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19:02.236" v="211" actId="1076"/>
          <ac:spMkLst>
            <pc:docMk/>
            <pc:sldMk cId="3704017336" sldId="460"/>
            <ac:spMk id="34" creationId="{7FEA44BE-66F6-465F-9B1B-BC66C7256651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30:01.918" v="337" actId="1076"/>
          <ac:spMkLst>
            <pc:docMk/>
            <pc:sldMk cId="3704017336" sldId="460"/>
            <ac:spMk id="37" creationId="{07911B37-304E-4639-9CDB-D188D316767F}"/>
          </ac:spMkLst>
        </pc:spChg>
        <pc:spChg chg="add mod">
          <ac:chgData name="Paillacar Oyarzo Paulo Ignacio (Codelco-Casa Matriz)" userId="S::ppail001@codelco.cl::3f9c4ec0-dfff-4bc5-ba03-192dd672e537" providerId="AD" clId="Web-{1DF37008-E50E-8131-5903-E61445FA04CE}" dt="2021-04-15T04:31:59.654" v="391" actId="20577"/>
          <ac:spMkLst>
            <pc:docMk/>
            <pc:sldMk cId="3704017336" sldId="460"/>
            <ac:spMk id="40" creationId="{B7042432-EF4B-4EF8-855B-0D5314158510}"/>
          </ac:spMkLst>
        </pc:spChg>
        <pc:spChg chg="mod">
          <ac:chgData name="Paillacar Oyarzo Paulo Ignacio (Codelco-Casa Matriz)" userId="S::ppail001@codelco.cl::3f9c4ec0-dfff-4bc5-ba03-192dd672e537" providerId="AD" clId="Web-{1DF37008-E50E-8131-5903-E61445FA04CE}" dt="2021-04-15T04:28:31.010" v="306" actId="20577"/>
          <ac:spMkLst>
            <pc:docMk/>
            <pc:sldMk cId="3704017336" sldId="460"/>
            <ac:spMk id="145" creationId="{3F302836-4F68-4641-BD29-64B0A72CA38E}"/>
          </ac:spMkLst>
        </pc:spChg>
        <pc:graphicFrameChg chg="del">
          <ac:chgData name="Paillacar Oyarzo Paulo Ignacio (Codelco-Casa Matriz)" userId="S::ppail001@codelco.cl::3f9c4ec0-dfff-4bc5-ba03-192dd672e537" providerId="AD" clId="Web-{1DF37008-E50E-8131-5903-E61445FA04CE}" dt="2021-04-15T03:54:42.321" v="18"/>
          <ac:graphicFrameMkLst>
            <pc:docMk/>
            <pc:sldMk cId="3704017336" sldId="460"/>
            <ac:graphicFrameMk id="2" creationId="{00000000-0000-0000-0000-000000000000}"/>
          </ac:graphicFrameMkLst>
        </pc:graphicFrameChg>
        <pc:graphicFrameChg chg="del">
          <ac:chgData name="Paillacar Oyarzo Paulo Ignacio (Codelco-Casa Matriz)" userId="S::ppail001@codelco.cl::3f9c4ec0-dfff-4bc5-ba03-192dd672e537" providerId="AD" clId="Web-{1DF37008-E50E-8131-5903-E61445FA04CE}" dt="2021-04-15T03:54:42.352" v="21"/>
          <ac:graphicFrameMkLst>
            <pc:docMk/>
            <pc:sldMk cId="3704017336" sldId="460"/>
            <ac:graphicFrameMk id="3" creationId="{00000000-0000-0000-0000-000000000000}"/>
          </ac:graphicFrameMkLst>
        </pc:graphicFrameChg>
        <pc:picChg chg="add del mod">
          <ac:chgData name="Paillacar Oyarzo Paulo Ignacio (Codelco-Casa Matriz)" userId="S::ppail001@codelco.cl::3f9c4ec0-dfff-4bc5-ba03-192dd672e537" providerId="AD" clId="Web-{1DF37008-E50E-8131-5903-E61445FA04CE}" dt="2021-04-15T04:12:25.511" v="146" actId="1076"/>
          <ac:picMkLst>
            <pc:docMk/>
            <pc:sldMk cId="3704017336" sldId="460"/>
            <ac:picMk id="6" creationId="{E0CFD4C2-06D4-48FE-8C4C-167CB8AA3BFB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20:41.706" v="219" actId="1076"/>
          <ac:picMkLst>
            <pc:docMk/>
            <pc:sldMk cId="3704017336" sldId="460"/>
            <ac:picMk id="8" creationId="{20C1285F-A5E6-4EEE-8E37-39BBD23FCEA0}"/>
          </ac:picMkLst>
        </pc:picChg>
        <pc:picChg chg="del">
          <ac:chgData name="Paillacar Oyarzo Paulo Ignacio (Codelco-Casa Matriz)" userId="S::ppail001@codelco.cl::3f9c4ec0-dfff-4bc5-ba03-192dd672e537" providerId="AD" clId="Web-{1DF37008-E50E-8131-5903-E61445FA04CE}" dt="2021-04-15T03:54:42.289" v="16"/>
          <ac:picMkLst>
            <pc:docMk/>
            <pc:sldMk cId="3704017336" sldId="460"/>
            <ac:picMk id="12" creationId="{00000000-0000-0000-0000-000000000000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12:25.526" v="147" actId="1076"/>
          <ac:picMkLst>
            <pc:docMk/>
            <pc:sldMk cId="3704017336" sldId="460"/>
            <ac:picMk id="14" creationId="{19D82C41-1391-44E6-A842-3FD727201FBB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24:53.351" v="260" actId="1076"/>
          <ac:picMkLst>
            <pc:docMk/>
            <pc:sldMk cId="3704017336" sldId="460"/>
            <ac:picMk id="15" creationId="{4E07BA17-8918-4428-8942-6BD2A1259027}"/>
          </ac:picMkLst>
        </pc:picChg>
        <pc:picChg chg="del">
          <ac:chgData name="Paillacar Oyarzo Paulo Ignacio (Codelco-Casa Matriz)" userId="S::ppail001@codelco.cl::3f9c4ec0-dfff-4bc5-ba03-192dd672e537" providerId="AD" clId="Web-{1DF37008-E50E-8131-5903-E61445FA04CE}" dt="2021-04-15T03:54:44.649" v="22"/>
          <ac:picMkLst>
            <pc:docMk/>
            <pc:sldMk cId="3704017336" sldId="460"/>
            <ac:picMk id="19" creationId="{00000000-0000-0000-0000-000000000000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33:37.515" v="401" actId="1076"/>
          <ac:picMkLst>
            <pc:docMk/>
            <pc:sldMk cId="3704017336" sldId="460"/>
            <ac:picMk id="21" creationId="{6184E48C-A723-4822-885E-0C363D8E831D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20:38.612" v="218" actId="1076"/>
          <ac:picMkLst>
            <pc:docMk/>
            <pc:sldMk cId="3704017336" sldId="460"/>
            <ac:picMk id="22" creationId="{1B97CE30-523D-4FC8-902A-F07236BBF44D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25:24.867" v="263" actId="1076"/>
          <ac:picMkLst>
            <pc:docMk/>
            <pc:sldMk cId="3704017336" sldId="460"/>
            <ac:picMk id="33" creationId="{A095EA1C-B112-48EF-8D57-111360F368B2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24:53.335" v="258" actId="1076"/>
          <ac:picMkLst>
            <pc:docMk/>
            <pc:sldMk cId="3704017336" sldId="460"/>
            <ac:picMk id="36" creationId="{CE44D5E3-3C0B-4526-93E7-5536A7908724}"/>
          </ac:picMkLst>
        </pc:picChg>
        <pc:picChg chg="add mod">
          <ac:chgData name="Paillacar Oyarzo Paulo Ignacio (Codelco-Casa Matriz)" userId="S::ppail001@codelco.cl::3f9c4ec0-dfff-4bc5-ba03-192dd672e537" providerId="AD" clId="Web-{1DF37008-E50E-8131-5903-E61445FA04CE}" dt="2021-04-15T04:32:59.421" v="399" actId="1076"/>
          <ac:picMkLst>
            <pc:docMk/>
            <pc:sldMk cId="3704017336" sldId="460"/>
            <ac:picMk id="38" creationId="{D191E298-6091-4025-9B70-6FEC84E3BC6A}"/>
          </ac:picMkLst>
        </pc:picChg>
        <pc:cxnChg chg="add mod">
          <ac:chgData name="Paillacar Oyarzo Paulo Ignacio (Codelco-Casa Matriz)" userId="S::ppail001@codelco.cl::3f9c4ec0-dfff-4bc5-ba03-192dd672e537" providerId="AD" clId="Web-{1DF37008-E50E-8131-5903-E61445FA04CE}" dt="2021-04-15T04:12:25.526" v="148" actId="1076"/>
          <ac:cxnSpMkLst>
            <pc:docMk/>
            <pc:sldMk cId="3704017336" sldId="460"/>
            <ac:cxnSpMk id="20" creationId="{70AF8F9A-4E84-4D02-86BD-7AF6570A6A28}"/>
          </ac:cxnSpMkLst>
        </pc:cxnChg>
        <pc:cxnChg chg="add mod">
          <ac:chgData name="Paillacar Oyarzo Paulo Ignacio (Codelco-Casa Matriz)" userId="S::ppail001@codelco.cl::3f9c4ec0-dfff-4bc5-ba03-192dd672e537" providerId="AD" clId="Web-{1DF37008-E50E-8131-5903-E61445FA04CE}" dt="2021-04-15T04:12:25.526" v="149" actId="1076"/>
          <ac:cxnSpMkLst>
            <pc:docMk/>
            <pc:sldMk cId="3704017336" sldId="460"/>
            <ac:cxnSpMk id="28" creationId="{143C6063-174E-4417-9FDA-A83E33DECE48}"/>
          </ac:cxnSpMkLst>
        </pc:cxnChg>
        <pc:cxnChg chg="add mod">
          <ac:chgData name="Paillacar Oyarzo Paulo Ignacio (Codelco-Casa Matriz)" userId="S::ppail001@codelco.cl::3f9c4ec0-dfff-4bc5-ba03-192dd672e537" providerId="AD" clId="Web-{1DF37008-E50E-8131-5903-E61445FA04CE}" dt="2021-04-15T04:25:46.117" v="267" actId="14100"/>
          <ac:cxnSpMkLst>
            <pc:docMk/>
            <pc:sldMk cId="3704017336" sldId="460"/>
            <ac:cxnSpMk id="35" creationId="{99769CC8-CEDD-4443-B5F1-B368091CE822}"/>
          </ac:cxnSpMkLst>
        </pc:cxnChg>
      </pc:sldChg>
      <pc:sldChg chg="add replId">
        <pc:chgData name="Paillacar Oyarzo Paulo Ignacio (Codelco-Casa Matriz)" userId="S::ppail001@codelco.cl::3f9c4ec0-dfff-4bc5-ba03-192dd672e537" providerId="AD" clId="Web-{1DF37008-E50E-8131-5903-E61445FA04CE}" dt="2021-04-15T04:34:53.735" v="403"/>
        <pc:sldMkLst>
          <pc:docMk/>
          <pc:sldMk cId="907356848" sldId="461"/>
        </pc:sldMkLst>
      </pc:sldChg>
    </pc:docChg>
  </pc:docChgLst>
  <pc:docChgLst>
    <pc:chgData name="Mery Carrasco Mauricio (Codelco-Casa Matriz)" userId="S::mmery004@codelco.cl::a0378191-74de-4d59-9b37-aa421303daba" providerId="AD" clId="Web-{FF403BF9-F66B-E7A6-86FF-41157BC16B55}"/>
    <pc:docChg chg="modSld">
      <pc:chgData name="Mery Carrasco Mauricio (Codelco-Casa Matriz)" userId="S::mmery004@codelco.cl::a0378191-74de-4d59-9b37-aa421303daba" providerId="AD" clId="Web-{FF403BF9-F66B-E7A6-86FF-41157BC16B55}" dt="2020-10-08T14:38:34.819" v="120" actId="1076"/>
      <pc:docMkLst>
        <pc:docMk/>
      </pc:docMkLst>
      <pc:sldChg chg="addSp modSp">
        <pc:chgData name="Mery Carrasco Mauricio (Codelco-Casa Matriz)" userId="S::mmery004@codelco.cl::a0378191-74de-4d59-9b37-aa421303daba" providerId="AD" clId="Web-{FF403BF9-F66B-E7A6-86FF-41157BC16B55}" dt="2020-10-08T13:42:35.652" v="1" actId="1076"/>
        <pc:sldMkLst>
          <pc:docMk/>
          <pc:sldMk cId="772336465" sldId="346"/>
        </pc:sldMkLst>
        <pc:picChg chg="add mod">
          <ac:chgData name="Mery Carrasco Mauricio (Codelco-Casa Matriz)" userId="S::mmery004@codelco.cl::a0378191-74de-4d59-9b37-aa421303daba" providerId="AD" clId="Web-{FF403BF9-F66B-E7A6-86FF-41157BC16B55}" dt="2020-10-08T13:42:35.652" v="1" actId="1076"/>
          <ac:picMkLst>
            <pc:docMk/>
            <pc:sldMk cId="772336465" sldId="346"/>
            <ac:picMk id="2" creationId="{E7DDD9D2-C80A-46E2-8279-276FA9DB258D}"/>
          </ac:picMkLst>
        </pc:picChg>
      </pc:sldChg>
      <pc:sldChg chg="delSp">
        <pc:chgData name="Mery Carrasco Mauricio (Codelco-Casa Matriz)" userId="S::mmery004@codelco.cl::a0378191-74de-4d59-9b37-aa421303daba" providerId="AD" clId="Web-{FF403BF9-F66B-E7A6-86FF-41157BC16B55}" dt="2020-10-08T13:42:50.246" v="2"/>
        <pc:sldMkLst>
          <pc:docMk/>
          <pc:sldMk cId="131058556" sldId="410"/>
        </pc:sldMkLst>
        <pc:spChg chg="del">
          <ac:chgData name="Mery Carrasco Mauricio (Codelco-Casa Matriz)" userId="S::mmery004@codelco.cl::a0378191-74de-4d59-9b37-aa421303daba" providerId="AD" clId="Web-{FF403BF9-F66B-E7A6-86FF-41157BC16B55}" dt="2020-10-08T13:42:50.246" v="2"/>
          <ac:spMkLst>
            <pc:docMk/>
            <pc:sldMk cId="131058556" sldId="410"/>
            <ac:spMk id="8" creationId="{98173731-433B-48F7-B4F3-34F7829CC809}"/>
          </ac:spMkLst>
        </pc:spChg>
      </pc:sldChg>
      <pc:sldChg chg="addSp delSp modSp">
        <pc:chgData name="Mery Carrasco Mauricio (Codelco-Casa Matriz)" userId="S::mmery004@codelco.cl::a0378191-74de-4d59-9b37-aa421303daba" providerId="AD" clId="Web-{FF403BF9-F66B-E7A6-86FF-41157BC16B55}" dt="2020-10-08T14:38:34.819" v="120" actId="1076"/>
        <pc:sldMkLst>
          <pc:docMk/>
          <pc:sldMk cId="922379868" sldId="417"/>
        </pc:sldMkLst>
        <pc:spChg chg="add mod">
          <ac:chgData name="Mery Carrasco Mauricio (Codelco-Casa Matriz)" userId="S::mmery004@codelco.cl::a0378191-74de-4d59-9b37-aa421303daba" providerId="AD" clId="Web-{FF403BF9-F66B-E7A6-86FF-41157BC16B55}" dt="2020-10-08T14:36:21.818" v="72" actId="1076"/>
          <ac:spMkLst>
            <pc:docMk/>
            <pc:sldMk cId="922379868" sldId="417"/>
            <ac:spMk id="10" creationId="{CF62EC98-B62E-4E20-83E9-B3AA6B226EAA}"/>
          </ac:spMkLst>
        </pc:spChg>
        <pc:spChg chg="add mod">
          <ac:chgData name="Mery Carrasco Mauricio (Codelco-Casa Matriz)" userId="S::mmery004@codelco.cl::a0378191-74de-4d59-9b37-aa421303daba" providerId="AD" clId="Web-{FF403BF9-F66B-E7A6-86FF-41157BC16B55}" dt="2020-10-08T14:36:57.834" v="88" actId="1076"/>
          <ac:spMkLst>
            <pc:docMk/>
            <pc:sldMk cId="922379868" sldId="417"/>
            <ac:spMk id="12" creationId="{23A8ECF8-679F-4784-9D7C-DC5C723395AC}"/>
          </ac:spMkLst>
        </pc:spChg>
        <pc:spChg chg="add mod">
          <ac:chgData name="Mery Carrasco Mauricio (Codelco-Casa Matriz)" userId="S::mmery004@codelco.cl::a0378191-74de-4d59-9b37-aa421303daba" providerId="AD" clId="Web-{FF403BF9-F66B-E7A6-86FF-41157BC16B55}" dt="2020-10-08T14:38:34.819" v="120" actId="1076"/>
          <ac:spMkLst>
            <pc:docMk/>
            <pc:sldMk cId="922379868" sldId="417"/>
            <ac:spMk id="13" creationId="{4FD24CCA-6F96-46C3-81F3-7DADB849CDFF}"/>
          </ac:spMkLst>
        </pc:spChg>
        <pc:spChg chg="add mod">
          <ac:chgData name="Mery Carrasco Mauricio (Codelco-Casa Matriz)" userId="S::mmery004@codelco.cl::a0378191-74de-4d59-9b37-aa421303daba" providerId="AD" clId="Web-{FF403BF9-F66B-E7A6-86FF-41157BC16B55}" dt="2020-10-08T14:38:13.241" v="112" actId="20577"/>
          <ac:spMkLst>
            <pc:docMk/>
            <pc:sldMk cId="922379868" sldId="417"/>
            <ac:spMk id="14" creationId="{CFEBDEEA-15A1-4051-A754-437F1CF02A05}"/>
          </ac:spMkLst>
        </pc:spChg>
        <pc:spChg chg="add mod">
          <ac:chgData name="Mery Carrasco Mauricio (Codelco-Casa Matriz)" userId="S::mmery004@codelco.cl::a0378191-74de-4d59-9b37-aa421303daba" providerId="AD" clId="Web-{FF403BF9-F66B-E7A6-86FF-41157BC16B55}" dt="2020-10-08T14:38:29.631" v="117" actId="20577"/>
          <ac:spMkLst>
            <pc:docMk/>
            <pc:sldMk cId="922379868" sldId="417"/>
            <ac:spMk id="15" creationId="{229B409C-4167-46DB-ABF7-26E6928B2AEF}"/>
          </ac:spMkLst>
        </pc:spChg>
        <pc:picChg chg="del">
          <ac:chgData name="Mery Carrasco Mauricio (Codelco-Casa Matriz)" userId="S::mmery004@codelco.cl::a0378191-74de-4d59-9b37-aa421303daba" providerId="AD" clId="Web-{FF403BF9-F66B-E7A6-86FF-41157BC16B55}" dt="2020-10-08T14:28:58.020" v="3"/>
          <ac:picMkLst>
            <pc:docMk/>
            <pc:sldMk cId="922379868" sldId="417"/>
            <ac:picMk id="3" creationId="{F4DBCE5C-CB5F-4363-BE62-6207E9670EE3}"/>
          </ac:picMkLst>
        </pc:picChg>
        <pc:picChg chg="del">
          <ac:chgData name="Mery Carrasco Mauricio (Codelco-Casa Matriz)" userId="S::mmery004@codelco.cl::a0378191-74de-4d59-9b37-aa421303daba" providerId="AD" clId="Web-{FF403BF9-F66B-E7A6-86FF-41157BC16B55}" dt="2020-10-08T14:30:42.645" v="10"/>
          <ac:picMkLst>
            <pc:docMk/>
            <pc:sldMk cId="922379868" sldId="417"/>
            <ac:picMk id="4" creationId="{E8AC9BF8-041F-4A72-88F5-E2EEE1D06986}"/>
          </ac:picMkLst>
        </pc:picChg>
        <pc:picChg chg="del">
          <ac:chgData name="Mery Carrasco Mauricio (Codelco-Casa Matriz)" userId="S::mmery004@codelco.cl::a0378191-74de-4d59-9b37-aa421303daba" providerId="AD" clId="Web-{FF403BF9-F66B-E7A6-86FF-41157BC16B55}" dt="2020-10-08T14:30:44.911" v="11"/>
          <ac:picMkLst>
            <pc:docMk/>
            <pc:sldMk cId="922379868" sldId="417"/>
            <ac:picMk id="5" creationId="{463931FB-F24E-4351-BF3A-3C3C52DB43C6}"/>
          </ac:picMkLst>
        </pc:picChg>
        <pc:picChg chg="add mod">
          <ac:chgData name="Mery Carrasco Mauricio (Codelco-Casa Matriz)" userId="S::mmery004@codelco.cl::a0378191-74de-4d59-9b37-aa421303daba" providerId="AD" clId="Web-{FF403BF9-F66B-E7A6-86FF-41157BC16B55}" dt="2020-10-08T14:35:07.896" v="60" actId="1076"/>
          <ac:picMkLst>
            <pc:docMk/>
            <pc:sldMk cId="922379868" sldId="417"/>
            <ac:picMk id="6" creationId="{1FE4A32F-4F08-4183-86C5-69DC5A41C36E}"/>
          </ac:picMkLst>
        </pc:picChg>
        <pc:picChg chg="add del mod">
          <ac:chgData name="Mery Carrasco Mauricio (Codelco-Casa Matriz)" userId="S::mmery004@codelco.cl::a0378191-74de-4d59-9b37-aa421303daba" providerId="AD" clId="Web-{FF403BF9-F66B-E7A6-86FF-41157BC16B55}" dt="2020-10-08T14:30:50.583" v="13"/>
          <ac:picMkLst>
            <pc:docMk/>
            <pc:sldMk cId="922379868" sldId="417"/>
            <ac:picMk id="7" creationId="{745D0F79-7BA7-4401-92B3-A8CB6FF8F3AA}"/>
          </ac:picMkLst>
        </pc:picChg>
        <pc:picChg chg="add mod">
          <ac:chgData name="Mery Carrasco Mauricio (Codelco-Casa Matriz)" userId="S::mmery004@codelco.cl::a0378191-74de-4d59-9b37-aa421303daba" providerId="AD" clId="Web-{FF403BF9-F66B-E7A6-86FF-41157BC16B55}" dt="2020-10-08T14:36:21.818" v="71" actId="1076"/>
          <ac:picMkLst>
            <pc:docMk/>
            <pc:sldMk cId="922379868" sldId="417"/>
            <ac:picMk id="8" creationId="{E1620D23-AD26-4A3E-9532-53CC9503C35B}"/>
          </ac:picMkLst>
        </pc:picChg>
        <pc:picChg chg="add mod">
          <ac:chgData name="Mery Carrasco Mauricio (Codelco-Casa Matriz)" userId="S::mmery004@codelco.cl::a0378191-74de-4d59-9b37-aa421303daba" providerId="AD" clId="Web-{FF403BF9-F66B-E7A6-86FF-41157BC16B55}" dt="2020-10-08T14:37:00.443" v="89" actId="1076"/>
          <ac:picMkLst>
            <pc:docMk/>
            <pc:sldMk cId="922379868" sldId="417"/>
            <ac:picMk id="11" creationId="{491DEC16-0AA7-4D06-9CCD-E55397347129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B28270F3-BF46-E2CC-70A9-292C8315ED41}"/>
    <pc:docChg chg="modSld">
      <pc:chgData name="Mery Carrasco Mauricio (Codelco-Casa Matriz)" userId="S::mmery004@codelco.cl::a0378191-74de-4d59-9b37-aa421303daba" providerId="AD" clId="Web-{B28270F3-BF46-E2CC-70A9-292C8315ED41}" dt="2020-11-03T12:50:46.905" v="129" actId="20577"/>
      <pc:docMkLst>
        <pc:docMk/>
      </pc:docMkLst>
      <pc:sldChg chg="modSp">
        <pc:chgData name="Mery Carrasco Mauricio (Codelco-Casa Matriz)" userId="S::mmery004@codelco.cl::a0378191-74de-4d59-9b37-aa421303daba" providerId="AD" clId="Web-{B28270F3-BF46-E2CC-70A9-292C8315ED41}" dt="2020-11-03T12:36:44.026" v="19" actId="1076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B28270F3-BF46-E2CC-70A9-292C8315ED41}" dt="2020-11-03T12:36:33.104" v="17" actId="1076"/>
          <ac:spMkLst>
            <pc:docMk/>
            <pc:sldMk cId="474715341" sldId="344"/>
            <ac:spMk id="14" creationId="{44B4F61D-2A3E-494F-96A3-1A6AF2B837AC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36:44.026" v="19" actId="1076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36:44.011" v="18" actId="1076"/>
          <ac:spMkLst>
            <pc:docMk/>
            <pc:sldMk cId="474715341" sldId="344"/>
            <ac:spMk id="16" creationId="{C362A9E2-540B-4ECF-B6C5-C1DF31564628}"/>
          </ac:spMkLst>
        </pc:spChg>
      </pc:sldChg>
      <pc:sldChg chg="addSp modSp">
        <pc:chgData name="Mery Carrasco Mauricio (Codelco-Casa Matriz)" userId="S::mmery004@codelco.cl::a0378191-74de-4d59-9b37-aa421303daba" providerId="AD" clId="Web-{B28270F3-BF46-E2CC-70A9-292C8315ED41}" dt="2020-11-03T12:50:44.593" v="127" actId="20577"/>
        <pc:sldMkLst>
          <pc:docMk/>
          <pc:sldMk cId="2155997825" sldId="375"/>
        </pc:sldMkLst>
        <pc:spChg chg="add mod">
          <ac:chgData name="Mery Carrasco Mauricio (Codelco-Casa Matriz)" userId="S::mmery004@codelco.cl::a0378191-74de-4d59-9b37-aa421303daba" providerId="AD" clId="Web-{B28270F3-BF46-E2CC-70A9-292C8315ED41}" dt="2020-11-03T12:46:44.578" v="78" actId="20577"/>
          <ac:spMkLst>
            <pc:docMk/>
            <pc:sldMk cId="2155997825" sldId="375"/>
            <ac:spMk id="6" creationId="{8C4B0708-45D5-4F41-A628-B7BFFF272939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39:51.678" v="37" actId="20577"/>
          <ac:spMkLst>
            <pc:docMk/>
            <pc:sldMk cId="2155997825" sldId="375"/>
            <ac:spMk id="24" creationId="{3AEE07E5-D518-4FC9-8E20-C4CFB2B91087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43:03.237" v="51" actId="20577"/>
          <ac:spMkLst>
            <pc:docMk/>
            <pc:sldMk cId="2155997825" sldId="375"/>
            <ac:spMk id="26" creationId="{F8467257-695B-40ED-A06B-C2A2DB0B6903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50:44.593" v="127" actId="20577"/>
          <ac:spMkLst>
            <pc:docMk/>
            <pc:sldMk cId="2155997825" sldId="375"/>
            <ac:spMk id="28" creationId="{E2042697-7E43-402F-894F-C9A8D0920BAF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47:08.611" v="84" actId="20577"/>
          <ac:spMkLst>
            <pc:docMk/>
            <pc:sldMk cId="2155997825" sldId="375"/>
            <ac:spMk id="29" creationId="{6378B0BA-02AF-4C4C-8205-35E8E38D7583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48:31.647" v="95" actId="20577"/>
          <ac:spMkLst>
            <pc:docMk/>
            <pc:sldMk cId="2155997825" sldId="375"/>
            <ac:spMk id="30" creationId="{85CC7436-6643-4C62-8202-AABE7349CDC3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49:04.430" v="112" actId="20577"/>
          <ac:spMkLst>
            <pc:docMk/>
            <pc:sldMk cId="2155997825" sldId="375"/>
            <ac:spMk id="31" creationId="{3716D602-CC96-4272-8E93-D2BF24C4F84B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49:34.948" v="116" actId="20577"/>
          <ac:spMkLst>
            <pc:docMk/>
            <pc:sldMk cId="2155997825" sldId="375"/>
            <ac:spMk id="34" creationId="{B25577A0-7AF2-431C-AA6D-F69F7778ED51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50:13.935" v="123" actId="1076"/>
          <ac:spMkLst>
            <pc:docMk/>
            <pc:sldMk cId="2155997825" sldId="375"/>
            <ac:spMk id="35" creationId="{E952143E-7779-440B-BC57-C719B5AE7C1B}"/>
          </ac:spMkLst>
        </pc:spChg>
        <pc:spChg chg="add mod">
          <ac:chgData name="Mery Carrasco Mauricio (Codelco-Casa Matriz)" userId="S::mmery004@codelco.cl::a0378191-74de-4d59-9b37-aa421303daba" providerId="AD" clId="Web-{B28270F3-BF46-E2CC-70A9-292C8315ED41}" dt="2020-11-03T12:50:19.826" v="124" actId="20577"/>
          <ac:spMkLst>
            <pc:docMk/>
            <pc:sldMk cId="2155997825" sldId="375"/>
            <ac:spMk id="36" creationId="{D481C1E3-6175-4485-8C90-50FC01574FA5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39:16.145" v="34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47:46.457" v="90" actId="20577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B28270F3-BF46-E2CC-70A9-292C8315ED41}" dt="2020-11-03T12:38:53.753" v="21" actId="20577"/>
          <ac:spMkLst>
            <pc:docMk/>
            <pc:sldMk cId="2155997825" sldId="375"/>
            <ac:spMk id="47" creationId="{8AFED1E8-722F-4F9D-8B1C-DD0D8C1C324E}"/>
          </ac:spMkLst>
        </pc:spChg>
      </pc:sldChg>
    </pc:docChg>
  </pc:docChgLst>
  <pc:docChgLst>
    <pc:chgData name="Ribbeck Baraibar Magdalena (Codelco-Casa Matriz)" userId="S::mribb001@codelco.cl::7bb6843e-b693-4544-85cb-a362c987f4a4" providerId="AD" clId="Web-{BA9228D7-2BB6-A18F-8CF5-2B3145D6A829}"/>
    <pc:docChg chg="modSld">
      <pc:chgData name="Ribbeck Baraibar Magdalena (Codelco-Casa Matriz)" userId="S::mribb001@codelco.cl::7bb6843e-b693-4544-85cb-a362c987f4a4" providerId="AD" clId="Web-{BA9228D7-2BB6-A18F-8CF5-2B3145D6A829}" dt="2021-06-30T19:55:42.908" v="80"/>
      <pc:docMkLst>
        <pc:docMk/>
      </pc:docMkLst>
      <pc:sldChg chg="addSp modSp">
        <pc:chgData name="Ribbeck Baraibar Magdalena (Codelco-Casa Matriz)" userId="S::mribb001@codelco.cl::7bb6843e-b693-4544-85cb-a362c987f4a4" providerId="AD" clId="Web-{BA9228D7-2BB6-A18F-8CF5-2B3145D6A829}" dt="2021-06-30T19:55:42.908" v="80"/>
        <pc:sldMkLst>
          <pc:docMk/>
          <pc:sldMk cId="2989328519" sldId="538"/>
        </pc:sldMkLst>
        <pc:graphicFrameChg chg="add mod modGraphic">
          <ac:chgData name="Ribbeck Baraibar Magdalena (Codelco-Casa Matriz)" userId="S::mribb001@codelco.cl::7bb6843e-b693-4544-85cb-a362c987f4a4" providerId="AD" clId="Web-{BA9228D7-2BB6-A18F-8CF5-2B3145D6A829}" dt="2021-06-30T19:55:42.908" v="80"/>
          <ac:graphicFrameMkLst>
            <pc:docMk/>
            <pc:sldMk cId="2989328519" sldId="538"/>
            <ac:graphicFrameMk id="7" creationId="{E2E62BE6-9D30-41FB-BD45-D217B6C99A25}"/>
          </ac:graphicFrameMkLst>
        </pc:graphicFrameChg>
      </pc:sldChg>
    </pc:docChg>
  </pc:docChgLst>
  <pc:docChgLst>
    <pc:chgData name="Mery Carrasco Mauricio (Codelco-Casa Matriz)" userId="S::mmery004@codelco.cl::a0378191-74de-4d59-9b37-aa421303daba" providerId="AD" clId="Web-{A9E13620-1396-C6B6-D3A2-63B7DF918547}"/>
    <pc:docChg chg="addSld sldOrd">
      <pc:chgData name="Mery Carrasco Mauricio (Codelco-Casa Matriz)" userId="S::mmery004@codelco.cl::a0378191-74de-4d59-9b37-aa421303daba" providerId="AD" clId="Web-{A9E13620-1396-C6B6-D3A2-63B7DF918547}" dt="2021-01-14T03:39:20.029" v="3"/>
      <pc:docMkLst>
        <pc:docMk/>
      </pc:docMkLst>
      <pc:sldChg chg="add ord">
        <pc:chgData name="Mery Carrasco Mauricio (Codelco-Casa Matriz)" userId="S::mmery004@codelco.cl::a0378191-74de-4d59-9b37-aa421303daba" providerId="AD" clId="Web-{A9E13620-1396-C6B6-D3A2-63B7DF918547}" dt="2021-01-14T03:35:21.950" v="1"/>
        <pc:sldMkLst>
          <pc:docMk/>
          <pc:sldMk cId="1575758348" sldId="431"/>
        </pc:sldMkLst>
      </pc:sldChg>
      <pc:sldChg chg="add">
        <pc:chgData name="Mery Carrasco Mauricio (Codelco-Casa Matriz)" userId="S::mmery004@codelco.cl::a0378191-74de-4d59-9b37-aa421303daba" providerId="AD" clId="Web-{A9E13620-1396-C6B6-D3A2-63B7DF918547}" dt="2021-01-14T03:38:00.008" v="2"/>
        <pc:sldMkLst>
          <pc:docMk/>
          <pc:sldMk cId="2259678299" sldId="432"/>
        </pc:sldMkLst>
      </pc:sldChg>
      <pc:sldChg chg="new">
        <pc:chgData name="Mery Carrasco Mauricio (Codelco-Casa Matriz)" userId="S::mmery004@codelco.cl::a0378191-74de-4d59-9b37-aa421303daba" providerId="AD" clId="Web-{A9E13620-1396-C6B6-D3A2-63B7DF918547}" dt="2021-01-14T03:39:20.029" v="3"/>
        <pc:sldMkLst>
          <pc:docMk/>
          <pc:sldMk cId="3013288184" sldId="433"/>
        </pc:sldMkLst>
      </pc:sldChg>
    </pc:docChg>
  </pc:docChgLst>
  <pc:docChgLst>
    <pc:chgData name="Allende Bustamante Jose (Codelco-Casa Matriz)" userId="S::jalle011@codelco.cl::54345eee-8770-43bf-b080-e3e333067d62" providerId="AD" clId="Web-{01D8682C-CCDE-A02F-A682-7247FAEFAAAF}"/>
    <pc:docChg chg="modSld">
      <pc:chgData name="Allende Bustamante Jose (Codelco-Casa Matriz)" userId="S::jalle011@codelco.cl::54345eee-8770-43bf-b080-e3e333067d62" providerId="AD" clId="Web-{01D8682C-CCDE-A02F-A682-7247FAEFAAAF}" dt="2020-10-22T13:58:33.996" v="0" actId="14100"/>
      <pc:docMkLst>
        <pc:docMk/>
      </pc:docMkLst>
      <pc:sldChg chg="modSp">
        <pc:chgData name="Allende Bustamante Jose (Codelco-Casa Matriz)" userId="S::jalle011@codelco.cl::54345eee-8770-43bf-b080-e3e333067d62" providerId="AD" clId="Web-{01D8682C-CCDE-A02F-A682-7247FAEFAAAF}" dt="2020-10-22T13:58:33.996" v="0" actId="14100"/>
        <pc:sldMkLst>
          <pc:docMk/>
          <pc:sldMk cId="3508652071" sldId="423"/>
        </pc:sldMkLst>
        <pc:grpChg chg="mod">
          <ac:chgData name="Allende Bustamante Jose (Codelco-Casa Matriz)" userId="S::jalle011@codelco.cl::54345eee-8770-43bf-b080-e3e333067d62" providerId="AD" clId="Web-{01D8682C-CCDE-A02F-A682-7247FAEFAAAF}" dt="2020-10-22T13:58:33.996" v="0" actId="14100"/>
          <ac:grpSpMkLst>
            <pc:docMk/>
            <pc:sldMk cId="3508652071" sldId="423"/>
            <ac:grpSpMk id="4" creationId="{651C81DE-5A32-485B-BE7B-692C50C40765}"/>
          </ac:grpSpMkLst>
        </pc:grpChg>
      </pc:sldChg>
    </pc:docChg>
  </pc:docChgLst>
  <pc:docChgLst>
    <pc:chgData name="Mery Carrasco Mauricio (Codelco-Casa Matriz)" userId="S::mmery004@codelco.cl::a0378191-74de-4d59-9b37-aa421303daba" providerId="AD" clId="Web-{D04941D2-9C13-A48B-2EBF-AABECE7A52C0}"/>
    <pc:docChg chg="delSld modSld">
      <pc:chgData name="Mery Carrasco Mauricio (Codelco-Casa Matriz)" userId="S::mmery004@codelco.cl::a0378191-74de-4d59-9b37-aa421303daba" providerId="AD" clId="Web-{D04941D2-9C13-A48B-2EBF-AABECE7A52C0}" dt="2021-01-27T21:20:30.436" v="24"/>
      <pc:docMkLst>
        <pc:docMk/>
      </pc:docMkLst>
      <pc:sldChg chg="modSp">
        <pc:chgData name="Mery Carrasco Mauricio (Codelco-Casa Matriz)" userId="S::mmery004@codelco.cl::a0378191-74de-4d59-9b37-aa421303daba" providerId="AD" clId="Web-{D04941D2-9C13-A48B-2EBF-AABECE7A52C0}" dt="2021-01-27T20:40:06.374" v="5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D04941D2-9C13-A48B-2EBF-AABECE7A52C0}" dt="2021-01-27T20:39:47.513" v="1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D04941D2-9C13-A48B-2EBF-AABECE7A52C0}" dt="2021-01-27T20:40:06.374" v="5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modSp">
        <pc:chgData name="Mery Carrasco Mauricio (Codelco-Casa Matriz)" userId="S::mmery004@codelco.cl::a0378191-74de-4d59-9b37-aa421303daba" providerId="AD" clId="Web-{D04941D2-9C13-A48B-2EBF-AABECE7A52C0}" dt="2021-01-27T20:40:52.923" v="18" actId="20577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D04941D2-9C13-A48B-2EBF-AABECE7A52C0}" dt="2021-01-27T20:40:52.923" v="18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modSp">
        <pc:chgData name="Mery Carrasco Mauricio (Codelco-Casa Matriz)" userId="S::mmery004@codelco.cl::a0378191-74de-4d59-9b37-aa421303daba" providerId="AD" clId="Web-{D04941D2-9C13-A48B-2EBF-AABECE7A52C0}" dt="2021-01-27T21:20:30.436" v="24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D04941D2-9C13-A48B-2EBF-AABECE7A52C0}" dt="2021-01-27T21:20:30.436" v="24"/>
          <ac:spMkLst>
            <pc:docMk/>
            <pc:sldMk cId="1544981574" sldId="409"/>
            <ac:spMk id="26" creationId="{B4C16604-F189-4BF6-8628-75D0774C0903}"/>
          </ac:spMkLst>
        </pc:spChg>
      </pc:sldChg>
      <pc:sldChg chg="del">
        <pc:chgData name="Mery Carrasco Mauricio (Codelco-Casa Matriz)" userId="S::mmery004@codelco.cl::a0378191-74de-4d59-9b37-aa421303daba" providerId="AD" clId="Web-{D04941D2-9C13-A48B-2EBF-AABECE7A52C0}" dt="2021-01-27T20:42:12.459" v="19"/>
        <pc:sldMkLst>
          <pc:docMk/>
          <pc:sldMk cId="1938484616" sldId="430"/>
        </pc:sldMkLst>
      </pc:sldChg>
    </pc:docChg>
  </pc:docChgLst>
  <pc:docChgLst>
    <pc:chgData name="Huidobro Matamala Juan (Codelco-Chuquicamata)" userId="S::jhuid001@codelco.cl::afdd00f7-4d72-4a9e-8227-cd11f72dd823" providerId="AD" clId="Web-{453E4FBA-5FEF-417E-6035-65E6B84224F7}"/>
    <pc:docChg chg="addSld modSld sldOrd">
      <pc:chgData name="Huidobro Matamala Juan (Codelco-Chuquicamata)" userId="S::jhuid001@codelco.cl::afdd00f7-4d72-4a9e-8227-cd11f72dd823" providerId="AD" clId="Web-{453E4FBA-5FEF-417E-6035-65E6B84224F7}" dt="2021-01-28T11:33:12.721" v="40"/>
      <pc:docMkLst>
        <pc:docMk/>
      </pc:docMkLst>
      <pc:sldChg chg="addSp delSp modSp add ord replId">
        <pc:chgData name="Huidobro Matamala Juan (Codelco-Chuquicamata)" userId="S::jhuid001@codelco.cl::afdd00f7-4d72-4a9e-8227-cd11f72dd823" providerId="AD" clId="Web-{453E4FBA-5FEF-417E-6035-65E6B84224F7}" dt="2021-01-28T11:33:12.721" v="40"/>
        <pc:sldMkLst>
          <pc:docMk/>
          <pc:sldMk cId="2488319862" sldId="452"/>
        </pc:sldMkLst>
        <pc:spChg chg="mod">
          <ac:chgData name="Huidobro Matamala Juan (Codelco-Chuquicamata)" userId="S::jhuid001@codelco.cl::afdd00f7-4d72-4a9e-8227-cd11f72dd823" providerId="AD" clId="Web-{453E4FBA-5FEF-417E-6035-65E6B84224F7}" dt="2021-01-28T11:17:01.835" v="35" actId="20577"/>
          <ac:spMkLst>
            <pc:docMk/>
            <pc:sldMk cId="2488319862" sldId="452"/>
            <ac:spMk id="2" creationId="{3B51CC00-6664-4925-9D0C-A6074A1416BC}"/>
          </ac:spMkLst>
        </pc:spChg>
        <pc:spChg chg="del mod">
          <ac:chgData name="Huidobro Matamala Juan (Codelco-Chuquicamata)" userId="S::jhuid001@codelco.cl::afdd00f7-4d72-4a9e-8227-cd11f72dd823" providerId="AD" clId="Web-{453E4FBA-5FEF-417E-6035-65E6B84224F7}" dt="2021-01-28T11:33:12.721" v="40"/>
          <ac:spMkLst>
            <pc:docMk/>
            <pc:sldMk cId="2488319862" sldId="452"/>
            <ac:spMk id="3" creationId="{BB30EF73-F526-42F0-BB6C-C4B55340143E}"/>
          </ac:spMkLst>
        </pc:spChg>
        <pc:spChg chg="add mod">
          <ac:chgData name="Huidobro Matamala Juan (Codelco-Chuquicamata)" userId="S::jhuid001@codelco.cl::afdd00f7-4d72-4a9e-8227-cd11f72dd823" providerId="AD" clId="Web-{453E4FBA-5FEF-417E-6035-65E6B84224F7}" dt="2021-01-28T11:33:12.721" v="40"/>
          <ac:spMkLst>
            <pc:docMk/>
            <pc:sldMk cId="2488319862" sldId="452"/>
            <ac:spMk id="6" creationId="{59DEF7A4-89B8-4DFC-BCE4-A1B79CFC1191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7A0D396C-E95B-4778-F87A-BE080DC45991}"/>
    <pc:docChg chg="addSld modSld sldOrd addMainMaster modMainMaster">
      <pc:chgData name="Allende Bustamante Jose (Codelco-Casa Matriz)" userId="S::jalle011@codelco.cl::54345eee-8770-43bf-b080-e3e333067d62" providerId="AD" clId="Web-{7A0D396C-E95B-4778-F87A-BE080DC45991}" dt="2020-10-22T14:53:21.241" v="110"/>
      <pc:docMkLst>
        <pc:docMk/>
      </pc:docMkLst>
      <pc:sldChg chg="delSp ord">
        <pc:chgData name="Allende Bustamante Jose (Codelco-Casa Matriz)" userId="S::jalle011@codelco.cl::54345eee-8770-43bf-b080-e3e333067d62" providerId="AD" clId="Web-{7A0D396C-E95B-4778-F87A-BE080DC45991}" dt="2020-10-22T14:53:21.241" v="110"/>
        <pc:sldMkLst>
          <pc:docMk/>
          <pc:sldMk cId="2155997825" sldId="375"/>
        </pc:sldMkLst>
        <pc:spChg chg="del">
          <ac:chgData name="Allende Bustamante Jose (Codelco-Casa Matriz)" userId="S::jalle011@codelco.cl::54345eee-8770-43bf-b080-e3e333067d62" providerId="AD" clId="Web-{7A0D396C-E95B-4778-F87A-BE080DC45991}" dt="2020-10-22T14:53:21.241" v="110"/>
          <ac:spMkLst>
            <pc:docMk/>
            <pc:sldMk cId="2155997825" sldId="375"/>
            <ac:spMk id="29" creationId="{86211927-2F83-4739-AF89-8E874D23A3B0}"/>
          </ac:spMkLst>
        </pc:spChg>
        <pc:spChg chg="del">
          <ac:chgData name="Allende Bustamante Jose (Codelco-Casa Matriz)" userId="S::jalle011@codelco.cl::54345eee-8770-43bf-b080-e3e333067d62" providerId="AD" clId="Web-{7A0D396C-E95B-4778-F87A-BE080DC45991}" dt="2020-10-22T14:53:19.335" v="109"/>
          <ac:spMkLst>
            <pc:docMk/>
            <pc:sldMk cId="2155997825" sldId="375"/>
            <ac:spMk id="30" creationId="{6612FF36-080A-41C2-9B36-CA83A14D4CC6}"/>
          </ac:spMkLst>
        </pc:spChg>
      </pc:sldChg>
      <pc:sldChg chg="ord">
        <pc:chgData name="Allende Bustamante Jose (Codelco-Casa Matriz)" userId="S::jalle011@codelco.cl::54345eee-8770-43bf-b080-e3e333067d62" providerId="AD" clId="Web-{7A0D396C-E95B-4778-F87A-BE080DC45991}" dt="2020-10-22T14:48:30.191" v="7"/>
        <pc:sldMkLst>
          <pc:docMk/>
          <pc:sldMk cId="1176872818" sldId="419"/>
        </pc:sldMkLst>
      </pc:sldChg>
      <pc:sldChg chg="ord">
        <pc:chgData name="Allende Bustamante Jose (Codelco-Casa Matriz)" userId="S::jalle011@codelco.cl::54345eee-8770-43bf-b080-e3e333067d62" providerId="AD" clId="Web-{7A0D396C-E95B-4778-F87A-BE080DC45991}" dt="2020-10-22T14:48:30.191" v="8"/>
        <pc:sldMkLst>
          <pc:docMk/>
          <pc:sldMk cId="1101719943" sldId="420"/>
        </pc:sldMkLst>
      </pc:sldChg>
      <pc:sldChg chg="ord">
        <pc:chgData name="Allende Bustamante Jose (Codelco-Casa Matriz)" userId="S::jalle011@codelco.cl::54345eee-8770-43bf-b080-e3e333067d62" providerId="AD" clId="Web-{7A0D396C-E95B-4778-F87A-BE080DC45991}" dt="2020-10-22T14:48:11.612" v="6"/>
        <pc:sldMkLst>
          <pc:docMk/>
          <pc:sldMk cId="3508652071" sldId="423"/>
        </pc:sldMkLst>
      </pc:sldChg>
      <pc:sldChg chg="modSp add ord">
        <pc:chgData name="Allende Bustamante Jose (Codelco-Casa Matriz)" userId="S::jalle011@codelco.cl::54345eee-8770-43bf-b080-e3e333067d62" providerId="AD" clId="Web-{7A0D396C-E95B-4778-F87A-BE080DC45991}" dt="2020-10-22T14:52:16.096" v="107" actId="20577"/>
        <pc:sldMkLst>
          <pc:docMk/>
          <pc:sldMk cId="4029176442" sldId="424"/>
        </pc:sldMkLst>
        <pc:spChg chg="mod">
          <ac:chgData name="Allende Bustamante Jose (Codelco-Casa Matriz)" userId="S::jalle011@codelco.cl::54345eee-8770-43bf-b080-e3e333067d62" providerId="AD" clId="Web-{7A0D396C-E95B-4778-F87A-BE080DC45991}" dt="2020-10-22T14:52:16.096" v="107" actId="20577"/>
          <ac:spMkLst>
            <pc:docMk/>
            <pc:sldMk cId="4029176442" sldId="424"/>
            <ac:spMk id="17" creationId="{45065457-F9E2-483A-8908-B45FDB160BA4}"/>
          </ac:spMkLst>
        </pc:spChg>
      </pc:sldChg>
      <pc:sldChg chg="delSp modSp add ord">
        <pc:chgData name="Allende Bustamante Jose (Codelco-Casa Matriz)" userId="S::jalle011@codelco.cl::54345eee-8770-43bf-b080-e3e333067d62" providerId="AD" clId="Web-{7A0D396C-E95B-4778-F87A-BE080DC45991}" dt="2020-10-22T14:52:07.408" v="105"/>
        <pc:sldMkLst>
          <pc:docMk/>
          <pc:sldMk cId="2361046826" sldId="425"/>
        </pc:sldMkLst>
        <pc:spChg chg="mod">
          <ac:chgData name="Allende Bustamante Jose (Codelco-Casa Matriz)" userId="S::jalle011@codelco.cl::54345eee-8770-43bf-b080-e3e333067d62" providerId="AD" clId="Web-{7A0D396C-E95B-4778-F87A-BE080DC45991}" dt="2020-10-22T14:52:07.408" v="105"/>
          <ac:spMkLst>
            <pc:docMk/>
            <pc:sldMk cId="2361046826" sldId="425"/>
            <ac:spMk id="2" creationId="{2A15222D-DFAF-4AF6-BE0A-7A8293C5E1E1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381" v="94"/>
          <ac:spMkLst>
            <pc:docMk/>
            <pc:sldMk cId="2361046826" sldId="425"/>
            <ac:spMk id="3" creationId="{B67CD63D-5FB5-4A48-8789-56457E12E111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787" v="70"/>
          <ac:spMkLst>
            <pc:docMk/>
            <pc:sldMk cId="2361046826" sldId="425"/>
            <ac:spMk id="13" creationId="{3AE072FD-A9B0-446D-AA56-0383D15978C3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818" v="71"/>
          <ac:spMkLst>
            <pc:docMk/>
            <pc:sldMk cId="2361046826" sldId="425"/>
            <ac:spMk id="14" creationId="{7507EB55-D8ED-43A0-ACDC-5098113D58C2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771" v="69"/>
          <ac:spMkLst>
            <pc:docMk/>
            <pc:sldMk cId="2361046826" sldId="425"/>
            <ac:spMk id="15" creationId="{516516C5-4AA3-41AC-B625-E593349A76A1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834" v="72"/>
          <ac:spMkLst>
            <pc:docMk/>
            <pc:sldMk cId="2361046826" sldId="425"/>
            <ac:spMk id="20" creationId="{6D6FD3BB-3A98-42FD-A535-DFF5DBBE33DA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865" v="73"/>
          <ac:spMkLst>
            <pc:docMk/>
            <pc:sldMk cId="2361046826" sldId="425"/>
            <ac:spMk id="21" creationId="{4C90C9D3-8587-4191-A72A-4716B4F5C08D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881" v="74"/>
          <ac:spMkLst>
            <pc:docMk/>
            <pc:sldMk cId="2361046826" sldId="425"/>
            <ac:spMk id="22" creationId="{5E1549F1-06E7-45A4-813E-16CB45F95719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51:35.844" v="102" actId="20577"/>
          <ac:spMkLst>
            <pc:docMk/>
            <pc:sldMk cId="2361046826" sldId="425"/>
            <ac:spMk id="23" creationId="{7D6946B2-6BC0-4ED9-9C54-9FBD644EF24B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928" v="76"/>
          <ac:spMkLst>
            <pc:docMk/>
            <pc:sldMk cId="2361046826" sldId="425"/>
            <ac:spMk id="24" creationId="{82CB5217-7957-45BC-BF4F-4145C51020DB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959" v="77"/>
          <ac:spMkLst>
            <pc:docMk/>
            <pc:sldMk cId="2361046826" sldId="425"/>
            <ac:spMk id="25" creationId="{B8F8A1DA-DD51-467B-BD35-6CBE75D78565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8:59.990" v="78"/>
          <ac:spMkLst>
            <pc:docMk/>
            <pc:sldMk cId="2361046826" sldId="425"/>
            <ac:spMk id="26" creationId="{BF3F0602-3544-4D2A-9D78-BAE58682D4F7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006" v="79"/>
          <ac:spMkLst>
            <pc:docMk/>
            <pc:sldMk cId="2361046826" sldId="425"/>
            <ac:spMk id="27" creationId="{33F42D64-A8D7-4DB4-8ED4-A01C2079D53B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037" v="80"/>
          <ac:spMkLst>
            <pc:docMk/>
            <pc:sldMk cId="2361046826" sldId="425"/>
            <ac:spMk id="28" creationId="{AFECAD9B-F582-40DE-B1F1-34F0DEDA30DA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053" v="81"/>
          <ac:spMkLst>
            <pc:docMk/>
            <pc:sldMk cId="2361046826" sldId="425"/>
            <ac:spMk id="29" creationId="{5427A504-6C68-4896-A20C-A16E4F7C22A8}"/>
          </ac:spMkLst>
        </pc:spChg>
        <pc:spChg chg="del mod">
          <ac:chgData name="Allende Bustamante Jose (Codelco-Casa Matriz)" userId="S::jalle011@codelco.cl::54345eee-8770-43bf-b080-e3e333067d62" providerId="AD" clId="Web-{7A0D396C-E95B-4778-F87A-BE080DC45991}" dt="2020-10-22T14:51:31.406" v="98"/>
          <ac:spMkLst>
            <pc:docMk/>
            <pc:sldMk cId="2361046826" sldId="425"/>
            <ac:spMk id="30" creationId="{C5EA712C-E3F1-4583-8EFB-E8FDCA544AF6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100" v="83"/>
          <ac:spMkLst>
            <pc:docMk/>
            <pc:sldMk cId="2361046826" sldId="425"/>
            <ac:spMk id="31" creationId="{2B60C5C8-7535-4D29-AEE6-9585BDE98157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412" v="95"/>
          <ac:spMkLst>
            <pc:docMk/>
            <pc:sldMk cId="2361046826" sldId="425"/>
            <ac:spMk id="46" creationId="{E9F2D1E8-7B26-4D24-BF0C-615E8D184BF3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428" v="96"/>
          <ac:spMkLst>
            <pc:docMk/>
            <pc:sldMk cId="2361046826" sldId="425"/>
            <ac:spMk id="47" creationId="{8978F4AE-F1EB-4BFF-9B0F-43EAF1EA9931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131" v="84"/>
          <ac:spMkLst>
            <pc:docMk/>
            <pc:sldMk cId="2361046826" sldId="425"/>
            <ac:spMk id="58" creationId="{7418A994-FC5F-4081-BFEB-AFABF59A01FB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162" v="85"/>
          <ac:spMkLst>
            <pc:docMk/>
            <pc:sldMk cId="2361046826" sldId="425"/>
            <ac:spMk id="60" creationId="{833833B4-C666-4064-9CA0-6683EC521861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178" v="86"/>
          <ac:spMkLst>
            <pc:docMk/>
            <pc:sldMk cId="2361046826" sldId="425"/>
            <ac:spMk id="62" creationId="{22EB570D-F54A-412A-82E8-2C8CA0E17AE2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209" v="87"/>
          <ac:spMkLst>
            <pc:docMk/>
            <pc:sldMk cId="2361046826" sldId="425"/>
            <ac:spMk id="64" creationId="{70987D90-AB57-43CE-9F65-099BC230CD68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225" v="88"/>
          <ac:spMkLst>
            <pc:docMk/>
            <pc:sldMk cId="2361046826" sldId="425"/>
            <ac:spMk id="66" creationId="{A10A6F98-F6A5-426C-A66B-0AB617B876C0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256" v="89"/>
          <ac:spMkLst>
            <pc:docMk/>
            <pc:sldMk cId="2361046826" sldId="425"/>
            <ac:spMk id="68" creationId="{6626D78E-903B-4C29-9851-1B9BAFF6DCBA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287" v="90"/>
          <ac:spMkLst>
            <pc:docMk/>
            <pc:sldMk cId="2361046826" sldId="425"/>
            <ac:spMk id="70" creationId="{05776A1D-9CCF-482B-A104-AF8A95AB8C67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303" v="91"/>
          <ac:spMkLst>
            <pc:docMk/>
            <pc:sldMk cId="2361046826" sldId="425"/>
            <ac:spMk id="71" creationId="{3F67B53D-6AF6-44FF-9343-E9E1E1C018D5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334" v="92"/>
          <ac:spMkLst>
            <pc:docMk/>
            <pc:sldMk cId="2361046826" sldId="425"/>
            <ac:spMk id="72" creationId="{AD6D6898-C562-4CD6-8F20-C31731877FEE}"/>
          </ac:spMkLst>
        </pc:spChg>
        <pc:spChg chg="mod">
          <ac:chgData name="Allende Bustamante Jose (Codelco-Casa Matriz)" userId="S::jalle011@codelco.cl::54345eee-8770-43bf-b080-e3e333067d62" providerId="AD" clId="Web-{7A0D396C-E95B-4778-F87A-BE080DC45991}" dt="2020-10-22T14:49:00.350" v="93"/>
          <ac:spMkLst>
            <pc:docMk/>
            <pc:sldMk cId="2361046826" sldId="425"/>
            <ac:spMk id="73" creationId="{B60B56C2-12C7-43B5-9760-EBD4DCD4E668}"/>
          </ac:spMkLst>
        </pc:spChg>
      </pc:sldChg>
      <pc:sldMasterChg chg="add addSldLayout">
        <pc:chgData name="Allende Bustamante Jose (Codelco-Casa Matriz)" userId="S::jalle011@codelco.cl::54345eee-8770-43bf-b080-e3e333067d62" providerId="AD" clId="Web-{7A0D396C-E95B-4778-F87A-BE080DC45991}" dt="2020-10-22T14:47:52.580" v="0"/>
        <pc:sldMasterMkLst>
          <pc:docMk/>
          <pc:sldMasterMk cId="1947106969" sldId="2147483922"/>
        </pc:sldMasterMkLst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590555235" sldId="2147483923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2702103378" sldId="2147483924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284516331" sldId="2147483925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856156834" sldId="2147483926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2023059356" sldId="2147483927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3515748091" sldId="2147483928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1302026744" sldId="2147483929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3889806435" sldId="2147483930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422938849" sldId="2147483931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3856576382" sldId="2147483932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4261781644" sldId="2147483933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112794488" sldId="2147483934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2906134695" sldId="2147483935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2425259960" sldId="2147483936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1741770755" sldId="2147483937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385459307" sldId="2147484217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2814903871" sldId="2147484218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3336722768" sldId="2147484219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1922737006" sldId="2147484220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1947106969" sldId="2147483922"/>
            <pc:sldLayoutMk cId="3259745541" sldId="2147484221"/>
          </pc:sldLayoutMkLst>
        </pc:sldLayoutChg>
      </pc:sldMasterChg>
      <pc:sldMasterChg chg="replId modSldLayout">
        <pc:chgData name="Allende Bustamante Jose (Codelco-Casa Matriz)" userId="S::jalle011@codelco.cl::54345eee-8770-43bf-b080-e3e333067d62" providerId="AD" clId="Web-{7A0D396C-E95B-4778-F87A-BE080DC45991}" dt="2020-10-22T14:47:53.267" v="1"/>
        <pc:sldMasterMkLst>
          <pc:docMk/>
          <pc:sldMasterMk cId="3478628440" sldId="2147484156"/>
        </pc:sldMasterMkLst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3882621499" sldId="2147484157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3514842538" sldId="2147484158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3733628955" sldId="2147484159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1672822448" sldId="2147484160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1728824494" sldId="2147484161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2271320734" sldId="2147484162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1080078586" sldId="2147484163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1920005810" sldId="2147484164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2215471852" sldId="2147484165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2036758997" sldId="2147484166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2339440723" sldId="2147484167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420201980" sldId="2147484168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3601313772" sldId="2147484169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3901131492" sldId="2147484170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3478628440" sldId="2147484156"/>
            <pc:sldLayoutMk cId="2802004293" sldId="2147484171"/>
          </pc:sldLayoutMkLst>
        </pc:sldLayoutChg>
      </pc:sldMasterChg>
      <pc:sldMasterChg chg="replId modSldLayout">
        <pc:chgData name="Allende Bustamante Jose (Codelco-Casa Matriz)" userId="S::jalle011@codelco.cl::54345eee-8770-43bf-b080-e3e333067d62" providerId="AD" clId="Web-{7A0D396C-E95B-4778-F87A-BE080DC45991}" dt="2020-10-22T14:47:53.267" v="1"/>
        <pc:sldMasterMkLst>
          <pc:docMk/>
          <pc:sldMasterMk cId="4084933470" sldId="2147484172"/>
        </pc:sldMasterMkLst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4084933470" sldId="2147484172"/>
            <pc:sldLayoutMk cId="1027635534" sldId="2147484173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4084933470" sldId="2147484172"/>
            <pc:sldLayoutMk cId="1436552281" sldId="2147484174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4084933470" sldId="2147484172"/>
            <pc:sldLayoutMk cId="4242364531" sldId="2147484175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4084933470" sldId="2147484172"/>
            <pc:sldLayoutMk cId="2436410220" sldId="2147484176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4084933470" sldId="2147484172"/>
            <pc:sldLayoutMk cId="97623479" sldId="2147484177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4084933470" sldId="2147484172"/>
            <pc:sldLayoutMk cId="893085558" sldId="2147484178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7A0D396C-E95B-4778-F87A-BE080DC45991}" dt="2020-10-22T14:47:53.267" v="1"/>
        <pc:sldMasterMkLst>
          <pc:docMk/>
          <pc:sldMasterMk cId="2902907280" sldId="2147484179"/>
        </pc:sldMasterMkLst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24151649" sldId="2147484180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759379819" sldId="2147484181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621031689" sldId="2147484182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309080689" sldId="2147484183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90454871" sldId="2147484184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3376924466" sldId="2147484185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3515544053" sldId="2147484186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77699422" sldId="2147484187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180066835" sldId="2147484188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527016719" sldId="2147484189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3039951745" sldId="2147484190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4072279422" sldId="2147484191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04062971" sldId="2147484192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970623038" sldId="2147484193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041545926" sldId="2147484194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233181439" sldId="2147484195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765845834" sldId="2147484196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2162212557" sldId="2147484197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22525313" sldId="2147484198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143393362" sldId="2147484199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1702415732" sldId="2147484200"/>
          </pc:sldLayoutMkLst>
        </pc:sldLayoutChg>
        <pc:sldLayoutChg chg="add">
          <pc:chgData name="Allende Bustamante Jose (Codelco-Casa Matriz)" userId="S::jalle011@codelco.cl::54345eee-8770-43bf-b080-e3e333067d62" providerId="AD" clId="Web-{7A0D396C-E95B-4778-F87A-BE080DC45991}" dt="2020-10-22T14:47:53.267" v="1"/>
          <pc:sldLayoutMkLst>
            <pc:docMk/>
            <pc:sldMasterMk cId="2902907280" sldId="2147484179"/>
            <pc:sldLayoutMk cId="3955316613" sldId="2147484201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7A0D396C-E95B-4778-F87A-BE080DC45991}" dt="2020-10-22T14:47:52.580" v="0"/>
        <pc:sldMasterMkLst>
          <pc:docMk/>
          <pc:sldMasterMk cId="2969229741" sldId="2147484423"/>
        </pc:sldMasterMkLst>
        <pc:sldLayoutChg chg="replI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2969229741" sldId="2147484423"/>
            <pc:sldLayoutMk cId="3543058118" sldId="2147484154"/>
          </pc:sldLayoutMkLst>
        </pc:sldLayoutChg>
        <pc:sldLayoutChg chg="replId">
          <pc:chgData name="Allende Bustamante Jose (Codelco-Casa Matriz)" userId="S::jalle011@codelco.cl::54345eee-8770-43bf-b080-e3e333067d62" providerId="AD" clId="Web-{7A0D396C-E95B-4778-F87A-BE080DC45991}" dt="2020-10-22T14:47:52.580" v="0"/>
          <pc:sldLayoutMkLst>
            <pc:docMk/>
            <pc:sldMasterMk cId="2969229741" sldId="2147484423"/>
            <pc:sldLayoutMk cId="2612411629" sldId="2147484155"/>
          </pc:sldLayoutMkLst>
        </pc:sldLayoutChg>
      </pc:sldMasterChg>
    </pc:docChg>
  </pc:docChgLst>
  <pc:docChgLst>
    <pc:chgData name="Paillacar Oyarzo Paulo Ignacio (Codelco-Casa Matriz)" userId="S::ppail001@codelco.cl::3f9c4ec0-dfff-4bc5-ba03-192dd672e537" providerId="AD" clId="Web-{8198B014-42B2-1A6E-A658-98F59FA6FE04}"/>
    <pc:docChg chg="modSld">
      <pc:chgData name="Paillacar Oyarzo Paulo Ignacio (Codelco-Casa Matriz)" userId="S::ppail001@codelco.cl::3f9c4ec0-dfff-4bc5-ba03-192dd672e537" providerId="AD" clId="Web-{8198B014-42B2-1A6E-A658-98F59FA6FE04}" dt="2020-11-05T14:59:02.644" v="194" actId="20577"/>
      <pc:docMkLst>
        <pc:docMk/>
      </pc:docMkLst>
      <pc:sldChg chg="addSp delSp modSp">
        <pc:chgData name="Paillacar Oyarzo Paulo Ignacio (Codelco-Casa Matriz)" userId="S::ppail001@codelco.cl::3f9c4ec0-dfff-4bc5-ba03-192dd672e537" providerId="AD" clId="Web-{8198B014-42B2-1A6E-A658-98F59FA6FE04}" dt="2020-11-05T14:59:02.644" v="194" actId="20577"/>
        <pc:sldMkLst>
          <pc:docMk/>
          <pc:sldMk cId="131058556" sldId="410"/>
        </pc:sldMkLst>
        <pc:spChg chg="mod">
          <ac:chgData name="Paillacar Oyarzo Paulo Ignacio (Codelco-Casa Matriz)" userId="S::ppail001@codelco.cl::3f9c4ec0-dfff-4bc5-ba03-192dd672e537" providerId="AD" clId="Web-{8198B014-42B2-1A6E-A658-98F59FA6FE04}" dt="2020-11-05T14:58:36.972" v="166" actId="1076"/>
          <ac:spMkLst>
            <pc:docMk/>
            <pc:sldMk cId="131058556" sldId="410"/>
            <ac:spMk id="7" creationId="{053DB16E-D05E-4AB4-8C0B-568EB8E1F21E}"/>
          </ac:spMkLst>
        </pc:spChg>
        <pc:spChg chg="del">
          <ac:chgData name="Paillacar Oyarzo Paulo Ignacio (Codelco-Casa Matriz)" userId="S::ppail001@codelco.cl::3f9c4ec0-dfff-4bc5-ba03-192dd672e537" providerId="AD" clId="Web-{8198B014-42B2-1A6E-A658-98F59FA6FE04}" dt="2020-11-05T14:53:58.338" v="51"/>
          <ac:spMkLst>
            <pc:docMk/>
            <pc:sldMk cId="131058556" sldId="410"/>
            <ac:spMk id="8" creationId="{02DE1EFD-2504-4917-A4D8-60E736D3AC71}"/>
          </ac:spMkLst>
        </pc:spChg>
        <pc:spChg chg="add del mod">
          <ac:chgData name="Paillacar Oyarzo Paulo Ignacio (Codelco-Casa Matriz)" userId="S::ppail001@codelco.cl::3f9c4ec0-dfff-4bc5-ba03-192dd672e537" providerId="AD" clId="Web-{8198B014-42B2-1A6E-A658-98F59FA6FE04}" dt="2020-11-05T14:53:03.399" v="26"/>
          <ac:spMkLst>
            <pc:docMk/>
            <pc:sldMk cId="131058556" sldId="410"/>
            <ac:spMk id="8" creationId="{D44D26FC-EECB-4797-8643-6EF76D99526C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8:36.987" v="167" actId="1076"/>
          <ac:spMkLst>
            <pc:docMk/>
            <pc:sldMk cId="131058556" sldId="410"/>
            <ac:spMk id="10" creationId="{99C49953-FB5B-423F-B13E-C0E88BD88DD5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8:37.003" v="168" actId="1076"/>
          <ac:spMkLst>
            <pc:docMk/>
            <pc:sldMk cId="131058556" sldId="410"/>
            <ac:spMk id="11" creationId="{D0DF6435-3C08-4F01-B2F2-55F0CAA752E3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3:03.212" v="22"/>
          <ac:spMkLst>
            <pc:docMk/>
            <pc:sldMk cId="131058556" sldId="410"/>
            <ac:spMk id="12" creationId="{DDB99580-8F6F-4087-B59E-5A89B07EA6B3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3:09.399" v="28"/>
          <ac:spMkLst>
            <pc:docMk/>
            <pc:sldMk cId="131058556" sldId="410"/>
            <ac:spMk id="13" creationId="{1B89316B-5CE1-4B34-95F4-7950FA0101D1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3:03.415" v="27"/>
          <ac:spMkLst>
            <pc:docMk/>
            <pc:sldMk cId="131058556" sldId="410"/>
            <ac:spMk id="14" creationId="{F18D368D-881A-43DA-A52C-E66758AC3D06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8:37.003" v="169" actId="1076"/>
          <ac:spMkLst>
            <pc:docMk/>
            <pc:sldMk cId="131058556" sldId="410"/>
            <ac:spMk id="15" creationId="{BF1B1370-1A42-440B-9171-32FFDF0C0444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3:28.353" v="34"/>
          <ac:spMkLst>
            <pc:docMk/>
            <pc:sldMk cId="131058556" sldId="410"/>
            <ac:spMk id="16" creationId="{EED7F814-5FF9-41B2-9FF8-60DA790B9C24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3:31.244" v="39"/>
          <ac:spMkLst>
            <pc:docMk/>
            <pc:sldMk cId="131058556" sldId="410"/>
            <ac:spMk id="17" creationId="{88875AF4-6C00-46E7-97BB-191BF5DA29CD}"/>
          </ac:spMkLst>
        </pc:spChg>
        <pc:spChg chg="add del mod">
          <ac:chgData name="Paillacar Oyarzo Paulo Ignacio (Codelco-Casa Matriz)" userId="S::ppail001@codelco.cl::3f9c4ec0-dfff-4bc5-ba03-192dd672e537" providerId="AD" clId="Web-{8198B014-42B2-1A6E-A658-98F59FA6FE04}" dt="2020-11-05T14:53:30.853" v="38"/>
          <ac:spMkLst>
            <pc:docMk/>
            <pc:sldMk cId="131058556" sldId="410"/>
            <ac:spMk id="18" creationId="{5970EA8E-8402-460A-8498-63A09B43F6A3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3:33.369" v="40"/>
          <ac:spMkLst>
            <pc:docMk/>
            <pc:sldMk cId="131058556" sldId="410"/>
            <ac:spMk id="19" creationId="{61A007F5-4D67-4769-A533-84EDFC172EFF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8:37.019" v="170" actId="1076"/>
          <ac:spMkLst>
            <pc:docMk/>
            <pc:sldMk cId="131058556" sldId="410"/>
            <ac:spMk id="20" creationId="{F22E4FA0-90B1-467F-AAD2-E4F0BACFCF32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8:37.019" v="171" actId="1076"/>
          <ac:spMkLst>
            <pc:docMk/>
            <pc:sldMk cId="131058556" sldId="410"/>
            <ac:spMk id="21" creationId="{CBE82DEE-EC4F-4204-948D-4080EB5B4784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4:37.152" v="90"/>
          <ac:spMkLst>
            <pc:docMk/>
            <pc:sldMk cId="131058556" sldId="410"/>
            <ac:spMk id="22" creationId="{EAA97926-CD8F-4DB0-89DC-DB75AFD11609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4:34.527" v="89"/>
          <ac:spMkLst>
            <pc:docMk/>
            <pc:sldMk cId="131058556" sldId="410"/>
            <ac:spMk id="23" creationId="{68040855-0F33-47A0-8B20-392B13CBCDD2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5:40.404" v="106" actId="14100"/>
          <ac:spMkLst>
            <pc:docMk/>
            <pc:sldMk cId="131058556" sldId="410"/>
            <ac:spMk id="24" creationId="{51A2B0CA-2C23-4FEC-A28B-1335FFF2B187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6:43.906" v="115"/>
          <ac:spMkLst>
            <pc:docMk/>
            <pc:sldMk cId="131058556" sldId="410"/>
            <ac:spMk id="25" creationId="{57DC9302-1DF6-4077-B5E8-D8BC2C625619}"/>
          </ac:spMkLst>
        </pc:spChg>
        <pc:spChg chg="add del">
          <ac:chgData name="Paillacar Oyarzo Paulo Ignacio (Codelco-Casa Matriz)" userId="S::ppail001@codelco.cl::3f9c4ec0-dfff-4bc5-ba03-192dd672e537" providerId="AD" clId="Web-{8198B014-42B2-1A6E-A658-98F59FA6FE04}" dt="2020-11-05T14:56:44.687" v="116"/>
          <ac:spMkLst>
            <pc:docMk/>
            <pc:sldMk cId="131058556" sldId="410"/>
            <ac:spMk id="26" creationId="{04D83164-1312-4621-8E48-129DA67717EC}"/>
          </ac:spMkLst>
        </pc:spChg>
        <pc:spChg chg="add mod">
          <ac:chgData name="Paillacar Oyarzo Paulo Ignacio (Codelco-Casa Matriz)" userId="S::ppail001@codelco.cl::3f9c4ec0-dfff-4bc5-ba03-192dd672e537" providerId="AD" clId="Web-{8198B014-42B2-1A6E-A658-98F59FA6FE04}" dt="2020-11-05T14:59:02.644" v="194" actId="20577"/>
          <ac:spMkLst>
            <pc:docMk/>
            <pc:sldMk cId="131058556" sldId="410"/>
            <ac:spMk id="27" creationId="{574C1E0D-0319-4AC0-A866-D1FC79920F03}"/>
          </ac:spMkLst>
        </pc:spChg>
        <pc:picChg chg="mod">
          <ac:chgData name="Paillacar Oyarzo Paulo Ignacio (Codelco-Casa Matriz)" userId="S::ppail001@codelco.cl::3f9c4ec0-dfff-4bc5-ba03-192dd672e537" providerId="AD" clId="Web-{8198B014-42B2-1A6E-A658-98F59FA6FE04}" dt="2020-11-05T14:53:42.728" v="45" actId="1076"/>
          <ac:picMkLst>
            <pc:docMk/>
            <pc:sldMk cId="131058556" sldId="410"/>
            <ac:picMk id="5" creationId="{49C7CD24-1506-46C0-A566-E209F98EA377}"/>
          </ac:picMkLst>
        </pc:picChg>
      </pc:sldChg>
    </pc:docChg>
  </pc:docChgLst>
  <pc:docChgLst>
    <pc:chgData name="Gonzalez Salas Fabian (Codelco-Casa Matriz)" userId="S::fgonz072@codelco.cl::a9649211-5e72-4b4e-8dfa-cd743f2f5996" providerId="AD" clId="Web-{8427ABF5-2B7D-02C2-8204-624AC838E6C5}"/>
    <pc:docChg chg="modSld">
      <pc:chgData name="Gonzalez Salas Fabian (Codelco-Casa Matriz)" userId="S::fgonz072@codelco.cl::a9649211-5e72-4b4e-8dfa-cd743f2f5996" providerId="AD" clId="Web-{8427ABF5-2B7D-02C2-8204-624AC838E6C5}" dt="2021-08-03T21:59:58.862" v="21" actId="14100"/>
      <pc:docMkLst>
        <pc:docMk/>
      </pc:docMkLst>
      <pc:sldChg chg="addSp delSp modSp">
        <pc:chgData name="Gonzalez Salas Fabian (Codelco-Casa Matriz)" userId="S::fgonz072@codelco.cl::a9649211-5e72-4b4e-8dfa-cd743f2f5996" providerId="AD" clId="Web-{8427ABF5-2B7D-02C2-8204-624AC838E6C5}" dt="2021-08-03T21:59:58.862" v="21" actId="14100"/>
        <pc:sldMkLst>
          <pc:docMk/>
          <pc:sldMk cId="3262196641" sldId="570"/>
        </pc:sldMkLst>
        <pc:spChg chg="del">
          <ac:chgData name="Gonzalez Salas Fabian (Codelco-Casa Matriz)" userId="S::fgonz072@codelco.cl::a9649211-5e72-4b4e-8dfa-cd743f2f5996" providerId="AD" clId="Web-{8427ABF5-2B7D-02C2-8204-624AC838E6C5}" dt="2021-08-03T21:58:12.297" v="7"/>
          <ac:spMkLst>
            <pc:docMk/>
            <pc:sldMk cId="3262196641" sldId="570"/>
            <ac:spMk id="16" creationId="{94B02806-6E63-430C-B1B7-9DE057E49764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8:12.297" v="6"/>
          <ac:spMkLst>
            <pc:docMk/>
            <pc:sldMk cId="3262196641" sldId="570"/>
            <ac:spMk id="17" creationId="{5C424AEE-934A-43DA-8CE6-C40F0DC37AE2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8:12.297" v="5"/>
          <ac:spMkLst>
            <pc:docMk/>
            <pc:sldMk cId="3262196641" sldId="570"/>
            <ac:spMk id="24" creationId="{A95E543C-E21D-495B-AD6C-4AB38F43C8BF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8:12.297" v="4"/>
          <ac:spMkLst>
            <pc:docMk/>
            <pc:sldMk cId="3262196641" sldId="570"/>
            <ac:spMk id="25" creationId="{1362E54D-2BBB-4396-924A-6A134A35DA86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8:12.297" v="3"/>
          <ac:spMkLst>
            <pc:docMk/>
            <pc:sldMk cId="3262196641" sldId="570"/>
            <ac:spMk id="34" creationId="{89E4D04F-12AC-4259-848E-17B72E0E6E94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8:12.297" v="2"/>
          <ac:spMkLst>
            <pc:docMk/>
            <pc:sldMk cId="3262196641" sldId="570"/>
            <ac:spMk id="35" creationId="{65046B8D-E105-4140-BE87-A02FD371DF10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9:04.079" v="12"/>
          <ac:spMkLst>
            <pc:docMk/>
            <pc:sldMk cId="3262196641" sldId="570"/>
            <ac:spMk id="37" creationId="{B24A5778-5014-49A3-926D-7CEA329C45F6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9:01.907" v="10"/>
          <ac:spMkLst>
            <pc:docMk/>
            <pc:sldMk cId="3262196641" sldId="570"/>
            <ac:spMk id="39" creationId="{9A5539F1-2E72-4B1D-B7B2-D964B0962FC9}"/>
          </ac:spMkLst>
        </pc:spChg>
        <pc:spChg chg="del">
          <ac:chgData name="Gonzalez Salas Fabian (Codelco-Casa Matriz)" userId="S::fgonz072@codelco.cl::a9649211-5e72-4b4e-8dfa-cd743f2f5996" providerId="AD" clId="Web-{8427ABF5-2B7D-02C2-8204-624AC838E6C5}" dt="2021-08-03T21:59:03.048" v="11"/>
          <ac:spMkLst>
            <pc:docMk/>
            <pc:sldMk cId="3262196641" sldId="570"/>
            <ac:spMk id="41" creationId="{2F3C85CE-0AFF-49D9-A1EE-07F11C8917BF}"/>
          </ac:spMkLst>
        </pc:spChg>
        <pc:grpChg chg="add mod">
          <ac:chgData name="Gonzalez Salas Fabian (Codelco-Casa Matriz)" userId="S::fgonz072@codelco.cl::a9649211-5e72-4b4e-8dfa-cd743f2f5996" providerId="AD" clId="Web-{8427ABF5-2B7D-02C2-8204-624AC838E6C5}" dt="2021-08-03T21:59:58.862" v="21" actId="14100"/>
          <ac:grpSpMkLst>
            <pc:docMk/>
            <pc:sldMk cId="3262196641" sldId="570"/>
            <ac:grpSpMk id="8" creationId="{3B97CCDF-FDDB-4B89-9696-3EA281C3D88D}"/>
          </ac:grpSpMkLst>
        </pc:grpChg>
        <pc:picChg chg="del mod">
          <ac:chgData name="Gonzalez Salas Fabian (Codelco-Casa Matriz)" userId="S::fgonz072@codelco.cl::a9649211-5e72-4b4e-8dfa-cd743f2f5996" providerId="AD" clId="Web-{8427ABF5-2B7D-02C2-8204-624AC838E6C5}" dt="2021-08-03T21:58:12.187" v="1"/>
          <ac:picMkLst>
            <pc:docMk/>
            <pc:sldMk cId="3262196641" sldId="570"/>
            <ac:picMk id="3" creationId="{3727D85B-2A35-41FE-907A-1A2EE94F0C49}"/>
          </ac:picMkLst>
        </pc:picChg>
        <pc:picChg chg="add mod">
          <ac:chgData name="Gonzalez Salas Fabian (Codelco-Casa Matriz)" userId="S::fgonz072@codelco.cl::a9649211-5e72-4b4e-8dfa-cd743f2f5996" providerId="AD" clId="Web-{8427ABF5-2B7D-02C2-8204-624AC838E6C5}" dt="2021-08-03T21:59:14.783" v="16" actId="14100"/>
          <ac:picMkLst>
            <pc:docMk/>
            <pc:sldMk cId="3262196641" sldId="570"/>
            <ac:picMk id="7" creationId="{613DA92B-7CCD-4D94-92E2-BE95EF297CBE}"/>
          </ac:picMkLst>
        </pc:picChg>
        <pc:picChg chg="mod">
          <ac:chgData name="Gonzalez Salas Fabian (Codelco-Casa Matriz)" userId="S::fgonz072@codelco.cl::a9649211-5e72-4b4e-8dfa-cd743f2f5996" providerId="AD" clId="Web-{8427ABF5-2B7D-02C2-8204-624AC838E6C5}" dt="2021-08-03T21:59:17.611" v="17" actId="14100"/>
          <ac:picMkLst>
            <pc:docMk/>
            <pc:sldMk cId="3262196641" sldId="570"/>
            <ac:picMk id="13" creationId="{00000000-0000-0000-0000-000000000000}"/>
          </ac:picMkLst>
        </pc:picChg>
        <pc:cxnChg chg="del">
          <ac:chgData name="Gonzalez Salas Fabian (Codelco-Casa Matriz)" userId="S::fgonz072@codelco.cl::a9649211-5e72-4b4e-8dfa-cd743f2f5996" providerId="AD" clId="Web-{8427ABF5-2B7D-02C2-8204-624AC838E6C5}" dt="2021-08-03T21:59:05.017" v="13"/>
          <ac:cxnSpMkLst>
            <pc:docMk/>
            <pc:sldMk cId="3262196641" sldId="570"/>
            <ac:cxnSpMk id="36" creationId="{C9B7EBB3-8F6C-4A55-8FD9-6D03F412F5F6}"/>
          </ac:cxnSpMkLst>
        </pc:cxnChg>
        <pc:cxnChg chg="del">
          <ac:chgData name="Gonzalez Salas Fabian (Codelco-Casa Matriz)" userId="S::fgonz072@codelco.cl::a9649211-5e72-4b4e-8dfa-cd743f2f5996" providerId="AD" clId="Web-{8427ABF5-2B7D-02C2-8204-624AC838E6C5}" dt="2021-08-03T21:59:01.064" v="9"/>
          <ac:cxnSpMkLst>
            <pc:docMk/>
            <pc:sldMk cId="3262196641" sldId="570"/>
            <ac:cxnSpMk id="38" creationId="{D392891C-030D-475D-B824-D18EEF6B6788}"/>
          </ac:cxnSpMkLst>
        </pc:cxnChg>
        <pc:cxnChg chg="del">
          <ac:chgData name="Gonzalez Salas Fabian (Codelco-Casa Matriz)" userId="S::fgonz072@codelco.cl::a9649211-5e72-4b4e-8dfa-cd743f2f5996" providerId="AD" clId="Web-{8427ABF5-2B7D-02C2-8204-624AC838E6C5}" dt="2021-08-03T21:58:59.939" v="8"/>
          <ac:cxnSpMkLst>
            <pc:docMk/>
            <pc:sldMk cId="3262196641" sldId="570"/>
            <ac:cxnSpMk id="40" creationId="{C79970A8-BDEC-4F0C-AD92-B97D9DCAA242}"/>
          </ac:cxnSpMkLst>
        </pc:cxnChg>
      </pc:sldChg>
    </pc:docChg>
  </pc:docChgLst>
  <pc:docChgLst>
    <pc:chgData name="Valido Mora Juan (Codelco-Casa Matriz)" userId="S::jvali001@codelco.cl::41763420-9600-40de-a518-8d4e0996242c" providerId="AD" clId="Web-{6A99BC9F-449E-2FF5-99BF-36ABFEB43C38}"/>
    <pc:docChg chg="addSld delSld modSld">
      <pc:chgData name="Valido Mora Juan (Codelco-Casa Matriz)" userId="S::jvali001@codelco.cl::41763420-9600-40de-a518-8d4e0996242c" providerId="AD" clId="Web-{6A99BC9F-449E-2FF5-99BF-36ABFEB43C38}" dt="2021-01-27T21:50:39.424" v="59" actId="20577"/>
      <pc:docMkLst>
        <pc:docMk/>
      </pc:docMkLst>
      <pc:sldChg chg="del">
        <pc:chgData name="Valido Mora Juan (Codelco-Casa Matriz)" userId="S::jvali001@codelco.cl::41763420-9600-40de-a518-8d4e0996242c" providerId="AD" clId="Web-{6A99BC9F-449E-2FF5-99BF-36ABFEB43C38}" dt="2021-01-27T21:47:06.982" v="7"/>
        <pc:sldMkLst>
          <pc:docMk/>
          <pc:sldMk cId="2341050607" sldId="438"/>
        </pc:sldMkLst>
      </pc:sldChg>
      <pc:sldChg chg="addSp delSp modSp">
        <pc:chgData name="Valido Mora Juan (Codelco-Casa Matriz)" userId="S::jvali001@codelco.cl::41763420-9600-40de-a518-8d4e0996242c" providerId="AD" clId="Web-{6A99BC9F-449E-2FF5-99BF-36ABFEB43C38}" dt="2021-01-27T21:50:39.424" v="59" actId="20577"/>
        <pc:sldMkLst>
          <pc:docMk/>
          <pc:sldMk cId="1752870340" sldId="443"/>
        </pc:sldMkLst>
        <pc:spChg chg="mod">
          <ac:chgData name="Valido Mora Juan (Codelco-Casa Matriz)" userId="S::jvali001@codelco.cl::41763420-9600-40de-a518-8d4e0996242c" providerId="AD" clId="Web-{6A99BC9F-449E-2FF5-99BF-36ABFEB43C38}" dt="2021-01-27T21:47:24.842" v="9" actId="20577"/>
          <ac:spMkLst>
            <pc:docMk/>
            <pc:sldMk cId="1752870340" sldId="443"/>
            <ac:spMk id="2" creationId="{3B51CC00-6664-4925-9D0C-A6074A1416BC}"/>
          </ac:spMkLst>
        </pc:spChg>
        <pc:spChg chg="mod">
          <ac:chgData name="Valido Mora Juan (Codelco-Casa Matriz)" userId="S::jvali001@codelco.cl::41763420-9600-40de-a518-8d4e0996242c" providerId="AD" clId="Web-{6A99BC9F-449E-2FF5-99BF-36ABFEB43C38}" dt="2021-01-27T21:47:52.155" v="17" actId="20577"/>
          <ac:spMkLst>
            <pc:docMk/>
            <pc:sldMk cId="1752870340" sldId="443"/>
            <ac:spMk id="3" creationId="{BB30EF73-F526-42F0-BB6C-C4B55340143E}"/>
          </ac:spMkLst>
        </pc:spChg>
        <pc:spChg chg="mod">
          <ac:chgData name="Valido Mora Juan (Codelco-Casa Matriz)" userId="S::jvali001@codelco.cl::41763420-9600-40de-a518-8d4e0996242c" providerId="AD" clId="Web-{6A99BC9F-449E-2FF5-99BF-36ABFEB43C38}" dt="2021-01-27T21:50:39.424" v="59" actId="20577"/>
          <ac:spMkLst>
            <pc:docMk/>
            <pc:sldMk cId="1752870340" sldId="443"/>
            <ac:spMk id="38" creationId="{00000000-0000-0000-0000-000000000000}"/>
          </ac:spMkLst>
        </pc:spChg>
        <pc:spChg chg="mod">
          <ac:chgData name="Valido Mora Juan (Codelco-Casa Matriz)" userId="S::jvali001@codelco.cl::41763420-9600-40de-a518-8d4e0996242c" providerId="AD" clId="Web-{6A99BC9F-449E-2FF5-99BF-36ABFEB43C38}" dt="2021-01-27T21:50:10.596" v="52" actId="20577"/>
          <ac:spMkLst>
            <pc:docMk/>
            <pc:sldMk cId="1752870340" sldId="443"/>
            <ac:spMk id="39" creationId="{00000000-0000-0000-0000-000000000000}"/>
          </ac:spMkLst>
        </pc:spChg>
        <pc:picChg chg="add del">
          <ac:chgData name="Valido Mora Juan (Codelco-Casa Matriz)" userId="S::jvali001@codelco.cl::41763420-9600-40de-a518-8d4e0996242c" providerId="AD" clId="Web-{6A99BC9F-449E-2FF5-99BF-36ABFEB43C38}" dt="2021-01-27T21:48:06.546" v="20"/>
          <ac:picMkLst>
            <pc:docMk/>
            <pc:sldMk cId="1752870340" sldId="443"/>
            <ac:picMk id="4" creationId="{75F91EF0-F870-4BCC-8909-4A0C46A8DD53}"/>
          </ac:picMkLst>
        </pc:picChg>
        <pc:picChg chg="add mod">
          <ac:chgData name="Valido Mora Juan (Codelco-Casa Matriz)" userId="S::jvali001@codelco.cl::41763420-9600-40de-a518-8d4e0996242c" providerId="AD" clId="Web-{6A99BC9F-449E-2FF5-99BF-36ABFEB43C38}" dt="2021-01-27T21:48:51.360" v="33" actId="1076"/>
          <ac:picMkLst>
            <pc:docMk/>
            <pc:sldMk cId="1752870340" sldId="443"/>
            <ac:picMk id="5" creationId="{DADD4B7B-BDC0-43C4-9E16-BDA6C1029243}"/>
          </ac:picMkLst>
        </pc:picChg>
      </pc:sldChg>
      <pc:sldChg chg="addSp delSp modSp new del">
        <pc:chgData name="Valido Mora Juan (Codelco-Casa Matriz)" userId="S::jvali001@codelco.cl::41763420-9600-40de-a518-8d4e0996242c" providerId="AD" clId="Web-{6A99BC9F-449E-2FF5-99BF-36ABFEB43C38}" dt="2021-01-27T21:47:03.654" v="6"/>
        <pc:sldMkLst>
          <pc:docMk/>
          <pc:sldMk cId="429035236" sldId="447"/>
        </pc:sldMkLst>
        <pc:spChg chg="del">
          <ac:chgData name="Valido Mora Juan (Codelco-Casa Matriz)" userId="S::jvali001@codelco.cl::41763420-9600-40de-a518-8d4e0996242c" providerId="AD" clId="Web-{6A99BC9F-449E-2FF5-99BF-36ABFEB43C38}" dt="2021-01-27T21:46:55.044" v="3"/>
          <ac:spMkLst>
            <pc:docMk/>
            <pc:sldMk cId="429035236" sldId="447"/>
            <ac:spMk id="2" creationId="{EA5B4647-F03C-4DF1-8CFA-4EC25B04EE21}"/>
          </ac:spMkLst>
        </pc:spChg>
        <pc:spChg chg="del">
          <ac:chgData name="Valido Mora Juan (Codelco-Casa Matriz)" userId="S::jvali001@codelco.cl::41763420-9600-40de-a518-8d4e0996242c" providerId="AD" clId="Web-{6A99BC9F-449E-2FF5-99BF-36ABFEB43C38}" dt="2021-01-27T21:46:55.044" v="2"/>
          <ac:spMkLst>
            <pc:docMk/>
            <pc:sldMk cId="429035236" sldId="447"/>
            <ac:spMk id="3" creationId="{E3DD89EA-C3FF-4797-B6BF-A2EC93D80A7F}"/>
          </ac:spMkLst>
        </pc:spChg>
        <pc:spChg chg="del">
          <ac:chgData name="Valido Mora Juan (Codelco-Casa Matriz)" userId="S::jvali001@codelco.cl::41763420-9600-40de-a518-8d4e0996242c" providerId="AD" clId="Web-{6A99BC9F-449E-2FF5-99BF-36ABFEB43C38}" dt="2021-01-27T21:46:55.044" v="1"/>
          <ac:spMkLst>
            <pc:docMk/>
            <pc:sldMk cId="429035236" sldId="447"/>
            <ac:spMk id="4" creationId="{179E7C0E-6CC5-4C62-9B25-0F22B29F8539}"/>
          </ac:spMkLst>
        </pc:spChg>
        <pc:picChg chg="add del mod">
          <ac:chgData name="Valido Mora Juan (Codelco-Casa Matriz)" userId="S::jvali001@codelco.cl::41763420-9600-40de-a518-8d4e0996242c" providerId="AD" clId="Web-{6A99BC9F-449E-2FF5-99BF-36ABFEB43C38}" dt="2021-01-27T21:46:59.201" v="5"/>
          <ac:picMkLst>
            <pc:docMk/>
            <pc:sldMk cId="429035236" sldId="447"/>
            <ac:picMk id="5" creationId="{8E1937A9-1DBE-4C8E-8A57-94457C517901}"/>
          </ac:picMkLst>
        </pc:picChg>
      </pc:sldChg>
    </pc:docChg>
  </pc:docChgLst>
  <pc:docChgLst>
    <pc:chgData name="Gonzalez Salas Fabian (Codelco-Casa Matriz)" userId="S::fgonz072@codelco.cl::a9649211-5e72-4b4e-8dfa-cd743f2f5996" providerId="AD" clId="Web-{DC4E06DD-4926-4A3D-83DC-823122877FC5}"/>
    <pc:docChg chg="modSld">
      <pc:chgData name="Gonzalez Salas Fabian (Codelco-Casa Matriz)" userId="S::fgonz072@codelco.cl::a9649211-5e72-4b4e-8dfa-cd743f2f5996" providerId="AD" clId="Web-{DC4E06DD-4926-4A3D-83DC-823122877FC5}" dt="2021-05-06T12:37:41.853" v="0"/>
      <pc:docMkLst>
        <pc:docMk/>
      </pc:docMkLst>
      <pc:sldChg chg="delSp">
        <pc:chgData name="Gonzalez Salas Fabian (Codelco-Casa Matriz)" userId="S::fgonz072@codelco.cl::a9649211-5e72-4b4e-8dfa-cd743f2f5996" providerId="AD" clId="Web-{DC4E06DD-4926-4A3D-83DC-823122877FC5}" dt="2021-05-06T12:37:41.853" v="0"/>
        <pc:sldMkLst>
          <pc:docMk/>
          <pc:sldMk cId="889978394" sldId="492"/>
        </pc:sldMkLst>
        <pc:picChg chg="del">
          <ac:chgData name="Gonzalez Salas Fabian (Codelco-Casa Matriz)" userId="S::fgonz072@codelco.cl::a9649211-5e72-4b4e-8dfa-cd743f2f5996" providerId="AD" clId="Web-{DC4E06DD-4926-4A3D-83DC-823122877FC5}" dt="2021-05-06T12:37:41.853" v="0"/>
          <ac:picMkLst>
            <pc:docMk/>
            <pc:sldMk cId="889978394" sldId="492"/>
            <ac:picMk id="14" creationId="{B75ED3B7-AE6D-41F3-83BC-CBB35445EBC1}"/>
          </ac:picMkLst>
        </pc:picChg>
      </pc:sldChg>
    </pc:docChg>
  </pc:docChgLst>
  <pc:docChgLst>
    <pc:chgData name="Salazar Carreño Stephanie (Codelco-Casa Matriz)" userId="S::ssala018@codelco.cl::4e35a466-184c-4723-bcab-28991e99343f" providerId="AD" clId="Web-{EB9C2A22-1288-BC77-1BEB-D1B078738CA4}"/>
    <pc:docChg chg="modSld">
      <pc:chgData name="Salazar Carreño Stephanie (Codelco-Casa Matriz)" userId="S::ssala018@codelco.cl::4e35a466-184c-4723-bcab-28991e99343f" providerId="AD" clId="Web-{EB9C2A22-1288-BC77-1BEB-D1B078738CA4}" dt="2021-06-30T19:04:47.286" v="5" actId="20577"/>
      <pc:docMkLst>
        <pc:docMk/>
      </pc:docMkLst>
      <pc:sldChg chg="modSp">
        <pc:chgData name="Salazar Carreño Stephanie (Codelco-Casa Matriz)" userId="S::ssala018@codelco.cl::4e35a466-184c-4723-bcab-28991e99343f" providerId="AD" clId="Web-{EB9C2A22-1288-BC77-1BEB-D1B078738CA4}" dt="2021-06-30T19:04:47.286" v="5" actId="20577"/>
        <pc:sldMkLst>
          <pc:docMk/>
          <pc:sldMk cId="2372349752" sldId="541"/>
        </pc:sldMkLst>
        <pc:spChg chg="mod">
          <ac:chgData name="Salazar Carreño Stephanie (Codelco-Casa Matriz)" userId="S::ssala018@codelco.cl::4e35a466-184c-4723-bcab-28991e99343f" providerId="AD" clId="Web-{EB9C2A22-1288-BC77-1BEB-D1B078738CA4}" dt="2021-06-30T18:46:00.428" v="2" actId="20577"/>
          <ac:spMkLst>
            <pc:docMk/>
            <pc:sldMk cId="2372349752" sldId="541"/>
            <ac:spMk id="8" creationId="{FAC23C8B-BD22-483F-9A8E-C7C5E8D4635A}"/>
          </ac:spMkLst>
        </pc:spChg>
        <pc:spChg chg="mod">
          <ac:chgData name="Salazar Carreño Stephanie (Codelco-Casa Matriz)" userId="S::ssala018@codelco.cl::4e35a466-184c-4723-bcab-28991e99343f" providerId="AD" clId="Web-{EB9C2A22-1288-BC77-1BEB-D1B078738CA4}" dt="2021-06-30T19:04:47.286" v="5" actId="20577"/>
          <ac:spMkLst>
            <pc:docMk/>
            <pc:sldMk cId="2372349752" sldId="541"/>
            <ac:spMk id="11" creationId="{D2D0E0A0-DCE3-4F2F-882A-82CCCBD0F002}"/>
          </ac:spMkLst>
        </pc:spChg>
      </pc:sldChg>
    </pc:docChg>
  </pc:docChgLst>
  <pc:docChgLst>
    <pc:chgData name="Gonzalez Salas Fabian (Codelco-Casa Matriz)" userId="S::fgonz072@codelco.cl::a9649211-5e72-4b4e-8dfa-cd743f2f5996" providerId="AD" clId="Web-{00683F3B-1DCF-62F7-F590-FB4FB58A9E19}"/>
    <pc:docChg chg="addSld modSld">
      <pc:chgData name="Gonzalez Salas Fabian (Codelco-Casa Matriz)" userId="S::fgonz072@codelco.cl::a9649211-5e72-4b4e-8dfa-cd743f2f5996" providerId="AD" clId="Web-{00683F3B-1DCF-62F7-F590-FB4FB58A9E19}" dt="2021-03-11T20:15:26.037" v="115" actId="20577"/>
      <pc:docMkLst>
        <pc:docMk/>
      </pc:docMkLst>
      <pc:sldChg chg="addSp delSp modSp new">
        <pc:chgData name="Gonzalez Salas Fabian (Codelco-Casa Matriz)" userId="S::fgonz072@codelco.cl::a9649211-5e72-4b4e-8dfa-cd743f2f5996" providerId="AD" clId="Web-{00683F3B-1DCF-62F7-F590-FB4FB58A9E19}" dt="2021-03-11T20:15:26.037" v="115" actId="20577"/>
        <pc:sldMkLst>
          <pc:docMk/>
          <pc:sldMk cId="3055505354" sldId="441"/>
        </pc:sldMkLst>
        <pc:spChg chg="mod">
          <ac:chgData name="Gonzalez Salas Fabian (Codelco-Casa Matriz)" userId="S::fgonz072@codelco.cl::a9649211-5e72-4b4e-8dfa-cd743f2f5996" providerId="AD" clId="Web-{00683F3B-1DCF-62F7-F590-FB4FB58A9E19}" dt="2021-03-11T20:03:37.019" v="28" actId="20577"/>
          <ac:spMkLst>
            <pc:docMk/>
            <pc:sldMk cId="3055505354" sldId="441"/>
            <ac:spMk id="2" creationId="{777B2B6B-6108-47BB-A829-EFEAE2F03A88}"/>
          </ac:spMkLst>
        </pc:spChg>
        <pc:spChg chg="mod">
          <ac:chgData name="Gonzalez Salas Fabian (Codelco-Casa Matriz)" userId="S::fgonz072@codelco.cl::a9649211-5e72-4b4e-8dfa-cd743f2f5996" providerId="AD" clId="Web-{00683F3B-1DCF-62F7-F590-FB4FB58A9E19}" dt="2021-03-11T20:03:41.253" v="30" actId="20577"/>
          <ac:spMkLst>
            <pc:docMk/>
            <pc:sldMk cId="3055505354" sldId="441"/>
            <ac:spMk id="3" creationId="{28A31E69-E15B-4178-8636-784B7CC0CE5B}"/>
          </ac:spMkLst>
        </pc:spChg>
        <pc:spChg chg="add del">
          <ac:chgData name="Gonzalez Salas Fabian (Codelco-Casa Matriz)" userId="S::fgonz072@codelco.cl::a9649211-5e72-4b4e-8dfa-cd743f2f5996" providerId="AD" clId="Web-{00683F3B-1DCF-62F7-F590-FB4FB58A9E19}" dt="2021-03-11T20:04:22.786" v="38"/>
          <ac:spMkLst>
            <pc:docMk/>
            <pc:sldMk cId="3055505354" sldId="441"/>
            <ac:spMk id="7" creationId="{AB5DC84D-81ED-4EC6-9C09-D0E5A9DE522E}"/>
          </ac:spMkLst>
        </pc:spChg>
        <pc:spChg chg="add del">
          <ac:chgData name="Gonzalez Salas Fabian (Codelco-Casa Matriz)" userId="S::fgonz072@codelco.cl::a9649211-5e72-4b4e-8dfa-cd743f2f5996" providerId="AD" clId="Web-{00683F3B-1DCF-62F7-F590-FB4FB58A9E19}" dt="2021-03-11T20:04:18.692" v="37"/>
          <ac:spMkLst>
            <pc:docMk/>
            <pc:sldMk cId="3055505354" sldId="441"/>
            <ac:spMk id="8" creationId="{ADCACCBD-C39D-4472-A918-96B1ABCAC5B0}"/>
          </ac:spMkLst>
        </pc:spChg>
        <pc:spChg chg="add mod">
          <ac:chgData name="Gonzalez Salas Fabian (Codelco-Casa Matriz)" userId="S::fgonz072@codelco.cl::a9649211-5e72-4b4e-8dfa-cd743f2f5996" providerId="AD" clId="Web-{00683F3B-1DCF-62F7-F590-FB4FB58A9E19}" dt="2021-03-11T20:15:26.037" v="115" actId="20577"/>
          <ac:spMkLst>
            <pc:docMk/>
            <pc:sldMk cId="3055505354" sldId="441"/>
            <ac:spMk id="9" creationId="{1A30334E-1A04-4DC1-8C03-05810D2B0898}"/>
          </ac:spMkLst>
        </pc:spChg>
        <pc:picChg chg="add mod">
          <ac:chgData name="Gonzalez Salas Fabian (Codelco-Casa Matriz)" userId="S::fgonz072@codelco.cl::a9649211-5e72-4b4e-8dfa-cd743f2f5996" providerId="AD" clId="Web-{00683F3B-1DCF-62F7-F590-FB4FB58A9E19}" dt="2021-03-11T20:07:13.353" v="106" actId="1076"/>
          <ac:picMkLst>
            <pc:docMk/>
            <pc:sldMk cId="3055505354" sldId="441"/>
            <ac:picMk id="5" creationId="{E80AA87B-C306-482E-80A4-D46BC9CD788F}"/>
          </ac:picMkLst>
        </pc:picChg>
        <pc:picChg chg="add del mod">
          <ac:chgData name="Gonzalez Salas Fabian (Codelco-Casa Matriz)" userId="S::fgonz072@codelco.cl::a9649211-5e72-4b4e-8dfa-cd743f2f5996" providerId="AD" clId="Web-{00683F3B-1DCF-62F7-F590-FB4FB58A9E19}" dt="2021-03-11T20:04:07.941" v="34"/>
          <ac:picMkLst>
            <pc:docMk/>
            <pc:sldMk cId="3055505354" sldId="441"/>
            <ac:picMk id="6" creationId="{316F9E0C-CC66-4FC4-9661-FC9D97EF83A9}"/>
          </ac:picMkLst>
        </pc:picChg>
      </pc:sldChg>
    </pc:docChg>
  </pc:docChgLst>
  <pc:docChgLst>
    <pc:chgData name="Huidobro Matamala Juan (Codelco-Chuquicamata)" userId="S::jhuid001@codelco.cl::afdd00f7-4d72-4a9e-8227-cd11f72dd823" providerId="AD" clId="Web-{891554FA-A5AF-3EB2-2CA3-CE2EEA16339D}"/>
    <pc:docChg chg="modSld">
      <pc:chgData name="Huidobro Matamala Juan (Codelco-Chuquicamata)" userId="S::jhuid001@codelco.cl::afdd00f7-4d72-4a9e-8227-cd11f72dd823" providerId="AD" clId="Web-{891554FA-A5AF-3EB2-2CA3-CE2EEA16339D}" dt="2021-01-28T13:07:14.962" v="408" actId="20577"/>
      <pc:docMkLst>
        <pc:docMk/>
      </pc:docMkLst>
      <pc:sldChg chg="modSp">
        <pc:chgData name="Huidobro Matamala Juan (Codelco-Chuquicamata)" userId="S::jhuid001@codelco.cl::afdd00f7-4d72-4a9e-8227-cd11f72dd823" providerId="AD" clId="Web-{891554FA-A5AF-3EB2-2CA3-CE2EEA16339D}" dt="2021-01-28T13:07:14.962" v="408" actId="20577"/>
        <pc:sldMkLst>
          <pc:docMk/>
          <pc:sldMk cId="1775339418" sldId="440"/>
        </pc:sldMkLst>
        <pc:spChg chg="mod">
          <ac:chgData name="Huidobro Matamala Juan (Codelco-Chuquicamata)" userId="S::jhuid001@codelco.cl::afdd00f7-4d72-4a9e-8227-cd11f72dd823" providerId="AD" clId="Web-{891554FA-A5AF-3EB2-2CA3-CE2EEA16339D}" dt="2021-01-28T13:02:44.662" v="350" actId="20577"/>
          <ac:spMkLst>
            <pc:docMk/>
            <pc:sldMk cId="1775339418" sldId="440"/>
            <ac:spMk id="15" creationId="{A78BACFA-6529-45C2-A8C8-CC43D60C239A}"/>
          </ac:spMkLst>
        </pc:spChg>
        <pc:spChg chg="mod">
          <ac:chgData name="Huidobro Matamala Juan (Codelco-Chuquicamata)" userId="S::jhuid001@codelco.cl::afdd00f7-4d72-4a9e-8227-cd11f72dd823" providerId="AD" clId="Web-{891554FA-A5AF-3EB2-2CA3-CE2EEA16339D}" dt="2021-01-28T13:07:14.962" v="408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Sp modSp">
        <pc:chgData name="Huidobro Matamala Juan (Codelco-Chuquicamata)" userId="S::jhuid001@codelco.cl::afdd00f7-4d72-4a9e-8227-cd11f72dd823" providerId="AD" clId="Web-{891554FA-A5AF-3EB2-2CA3-CE2EEA16339D}" dt="2021-01-28T13:03:57.776" v="394" actId="20577"/>
        <pc:sldMkLst>
          <pc:docMk/>
          <pc:sldMk cId="2488319862" sldId="452"/>
        </pc:sldMkLst>
        <pc:spChg chg="mod">
          <ac:chgData name="Huidobro Matamala Juan (Codelco-Chuquicamata)" userId="S::jhuid001@codelco.cl::afdd00f7-4d72-4a9e-8227-cd11f72dd823" providerId="AD" clId="Web-{891554FA-A5AF-3EB2-2CA3-CE2EEA16339D}" dt="2021-01-28T13:03:57.776" v="394" actId="20577"/>
          <ac:spMkLst>
            <pc:docMk/>
            <pc:sldMk cId="2488319862" sldId="452"/>
            <ac:spMk id="38" creationId="{00000000-0000-0000-0000-000000000000}"/>
          </ac:spMkLst>
        </pc:spChg>
        <pc:spChg chg="del mod">
          <ac:chgData name="Huidobro Matamala Juan (Codelco-Chuquicamata)" userId="S::jhuid001@codelco.cl::afdd00f7-4d72-4a9e-8227-cd11f72dd823" providerId="AD" clId="Web-{891554FA-A5AF-3EB2-2CA3-CE2EEA16339D}" dt="2021-01-28T12:50:02.828" v="3"/>
          <ac:spMkLst>
            <pc:docMk/>
            <pc:sldMk cId="2488319862" sldId="452"/>
            <ac:spMk id="39" creationId="{00000000-0000-0000-0000-000000000000}"/>
          </ac:spMkLst>
        </pc:spChg>
        <pc:picChg chg="del">
          <ac:chgData name="Huidobro Matamala Juan (Codelco-Chuquicamata)" userId="S::jhuid001@codelco.cl::afdd00f7-4d72-4a9e-8227-cd11f72dd823" providerId="AD" clId="Web-{891554FA-A5AF-3EB2-2CA3-CE2EEA16339D}" dt="2021-01-28T12:50:00.390" v="0"/>
          <ac:picMkLst>
            <pc:docMk/>
            <pc:sldMk cId="2488319862" sldId="452"/>
            <ac:picMk id="5" creationId="{DADD4B7B-BDC0-43C4-9E16-BDA6C1029243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D6D48105-E833-F53A-44C7-8B7B9562D2DE}"/>
    <pc:docChg chg="modSld">
      <pc:chgData name="Paillacar Oyarzo Paulo Ignacio (Codelco-Casa Matriz)" userId="S::ppail001@codelco.cl::3f9c4ec0-dfff-4bc5-ba03-192dd672e537" providerId="AD" clId="Web-{D6D48105-E833-F53A-44C7-8B7B9562D2DE}" dt="2021-04-15T15:28:51.871" v="369" actId="1076"/>
      <pc:docMkLst>
        <pc:docMk/>
      </pc:docMkLst>
      <pc:sldChg chg="addSp delSp modSp">
        <pc:chgData name="Paillacar Oyarzo Paulo Ignacio (Codelco-Casa Matriz)" userId="S::ppail001@codelco.cl::3f9c4ec0-dfff-4bc5-ba03-192dd672e537" providerId="AD" clId="Web-{D6D48105-E833-F53A-44C7-8B7B9562D2DE}" dt="2021-04-15T15:28:51.871" v="369" actId="1076"/>
        <pc:sldMkLst>
          <pc:docMk/>
          <pc:sldMk cId="3704017336" sldId="460"/>
        </pc:sldMkLst>
        <pc:spChg chg="add mod">
          <ac:chgData name="Paillacar Oyarzo Paulo Ignacio (Codelco-Casa Matriz)" userId="S::ppail001@codelco.cl::3f9c4ec0-dfff-4bc5-ba03-192dd672e537" providerId="AD" clId="Web-{D6D48105-E833-F53A-44C7-8B7B9562D2DE}" dt="2021-04-15T15:13:25.010" v="154" actId="1076"/>
          <ac:spMkLst>
            <pc:docMk/>
            <pc:sldMk cId="3704017336" sldId="460"/>
            <ac:spMk id="6" creationId="{9AA6A32C-4BEC-44BD-851C-6FF380B408D2}"/>
          </ac:spMkLst>
        </pc:spChg>
        <pc:spChg chg="add mod">
          <ac:chgData name="Paillacar Oyarzo Paulo Ignacio (Codelco-Casa Matriz)" userId="S::ppail001@codelco.cl::3f9c4ec0-dfff-4bc5-ba03-192dd672e537" providerId="AD" clId="Web-{D6D48105-E833-F53A-44C7-8B7B9562D2DE}" dt="2021-04-15T15:28:51.871" v="369" actId="1076"/>
          <ac:spMkLst>
            <pc:docMk/>
            <pc:sldMk cId="3704017336" sldId="460"/>
            <ac:spMk id="8" creationId="{8E0B67C4-E96C-450D-ABEB-AAA036FC7740}"/>
          </ac:spMkLst>
        </pc:spChg>
        <pc:spChg chg="add mod">
          <ac:chgData name="Paillacar Oyarzo Paulo Ignacio (Codelco-Casa Matriz)" userId="S::ppail001@codelco.cl::3f9c4ec0-dfff-4bc5-ba03-192dd672e537" providerId="AD" clId="Web-{D6D48105-E833-F53A-44C7-8B7B9562D2DE}" dt="2021-04-15T15:23:44.022" v="266" actId="1076"/>
          <ac:spMkLst>
            <pc:docMk/>
            <pc:sldMk cId="3704017336" sldId="460"/>
            <ac:spMk id="12" creationId="{3C152AE5-1D6F-4E50-8C5A-1D841105FC77}"/>
          </ac:spMkLst>
        </pc:spChg>
        <pc:spChg chg="mod">
          <ac:chgData name="Paillacar Oyarzo Paulo Ignacio (Codelco-Casa Matriz)" userId="S::ppail001@codelco.cl::3f9c4ec0-dfff-4bc5-ba03-192dd672e537" providerId="AD" clId="Web-{D6D48105-E833-F53A-44C7-8B7B9562D2DE}" dt="2021-04-15T15:02:24.168" v="73" actId="1076"/>
          <ac:spMkLst>
            <pc:docMk/>
            <pc:sldMk cId="3704017336" sldId="460"/>
            <ac:spMk id="13" creationId="{F8B1AB08-0CAE-4A49-A34E-DA1996B9EF15}"/>
          </ac:spMkLst>
        </pc:spChg>
        <pc:spChg chg="add mod">
          <ac:chgData name="Paillacar Oyarzo Paulo Ignacio (Codelco-Casa Matriz)" userId="S::ppail001@codelco.cl::3f9c4ec0-dfff-4bc5-ba03-192dd672e537" providerId="AD" clId="Web-{D6D48105-E833-F53A-44C7-8B7B9562D2DE}" dt="2021-04-15T15:27:04.379" v="329" actId="1076"/>
          <ac:spMkLst>
            <pc:docMk/>
            <pc:sldMk cId="3704017336" sldId="460"/>
            <ac:spMk id="15" creationId="{40D49044-A4E1-4BAD-91F8-FD00AA06121D}"/>
          </ac:spMkLst>
        </pc:spChg>
        <pc:spChg chg="add mod">
          <ac:chgData name="Paillacar Oyarzo Paulo Ignacio (Codelco-Casa Matriz)" userId="S::ppail001@codelco.cl::3f9c4ec0-dfff-4bc5-ba03-192dd672e537" providerId="AD" clId="Web-{D6D48105-E833-F53A-44C7-8B7B9562D2DE}" dt="2021-04-15T15:27:04.410" v="331" actId="1076"/>
          <ac:spMkLst>
            <pc:docMk/>
            <pc:sldMk cId="3704017336" sldId="460"/>
            <ac:spMk id="17" creationId="{82F73D48-0801-4D37-8FCD-A0A6EAE21614}"/>
          </ac:spMkLst>
        </pc:spChg>
        <pc:spChg chg="add del">
          <ac:chgData name="Paillacar Oyarzo Paulo Ignacio (Codelco-Casa Matriz)" userId="S::ppail001@codelco.cl::3f9c4ec0-dfff-4bc5-ba03-192dd672e537" providerId="AD" clId="Web-{D6D48105-E833-F53A-44C7-8B7B9562D2DE}" dt="2021-04-15T15:25:16.950" v="304"/>
          <ac:spMkLst>
            <pc:docMk/>
            <pc:sldMk cId="3704017336" sldId="460"/>
            <ac:spMk id="26" creationId="{A160ECB5-29ED-4815-B0CF-B98174E6A761}"/>
          </ac:spMkLst>
        </pc:spChg>
        <pc:spChg chg="add del mod">
          <ac:chgData name="Paillacar Oyarzo Paulo Ignacio (Codelco-Casa Matriz)" userId="S::ppail001@codelco.cl::3f9c4ec0-dfff-4bc5-ba03-192dd672e537" providerId="AD" clId="Web-{D6D48105-E833-F53A-44C7-8B7B9562D2DE}" dt="2021-04-15T15:26:49.987" v="326"/>
          <ac:spMkLst>
            <pc:docMk/>
            <pc:sldMk cId="3704017336" sldId="460"/>
            <ac:spMk id="28" creationId="{F927F41E-5390-4F94-BD24-8936840CD6AF}"/>
          </ac:spMkLst>
        </pc:spChg>
        <pc:spChg chg="mod">
          <ac:chgData name="Paillacar Oyarzo Paulo Ignacio (Codelco-Casa Matriz)" userId="S::ppail001@codelco.cl::3f9c4ec0-dfff-4bc5-ba03-192dd672e537" providerId="AD" clId="Web-{D6D48105-E833-F53A-44C7-8B7B9562D2DE}" dt="2021-04-15T15:02:15.559" v="72" actId="20577"/>
          <ac:spMkLst>
            <pc:docMk/>
            <pc:sldMk cId="3704017336" sldId="460"/>
            <ac:spMk id="145" creationId="{3F302836-4F68-4641-BD29-64B0A72CA38E}"/>
          </ac:spMkLst>
        </pc:spChg>
        <pc:picChg chg="add mod">
          <ac:chgData name="Paillacar Oyarzo Paulo Ignacio (Codelco-Casa Matriz)" userId="S::ppail001@codelco.cl::3f9c4ec0-dfff-4bc5-ba03-192dd672e537" providerId="AD" clId="Web-{D6D48105-E833-F53A-44C7-8B7B9562D2DE}" dt="2021-04-15T15:12:04.208" v="136" actId="1076"/>
          <ac:picMkLst>
            <pc:docMk/>
            <pc:sldMk cId="3704017336" sldId="460"/>
            <ac:picMk id="2" creationId="{4F722F35-2A5E-4037-AFD5-848CA774E7F7}"/>
          </ac:picMkLst>
        </pc:picChg>
        <pc:picChg chg="add mod">
          <ac:chgData name="Paillacar Oyarzo Paulo Ignacio (Codelco-Casa Matriz)" userId="S::ppail001@codelco.cl::3f9c4ec0-dfff-4bc5-ba03-192dd672e537" providerId="AD" clId="Web-{D6D48105-E833-F53A-44C7-8B7B9562D2DE}" dt="2021-04-15T15:23:55.897" v="273" actId="1076"/>
          <ac:picMkLst>
            <pc:docMk/>
            <pc:sldMk cId="3704017336" sldId="460"/>
            <ac:picMk id="3" creationId="{CA3BE132-BD3F-46D6-9287-D2678F8AC96E}"/>
          </ac:picMkLst>
        </pc:picChg>
        <pc:picChg chg="add mod">
          <ac:chgData name="Paillacar Oyarzo Paulo Ignacio (Codelco-Casa Matriz)" userId="S::ppail001@codelco.cl::3f9c4ec0-dfff-4bc5-ba03-192dd672e537" providerId="AD" clId="Web-{D6D48105-E833-F53A-44C7-8B7B9562D2DE}" dt="2021-04-15T15:27:52.507" v="345" actId="1076"/>
          <ac:picMkLst>
            <pc:docMk/>
            <pc:sldMk cId="3704017336" sldId="460"/>
            <ac:picMk id="4" creationId="{DF6802A3-2798-49AC-9A07-31C5A0251404}"/>
          </ac:picMkLst>
        </pc:picChg>
        <pc:picChg chg="add del mod">
          <ac:chgData name="Paillacar Oyarzo Paulo Ignacio (Codelco-Casa Matriz)" userId="S::ppail001@codelco.cl::3f9c4ec0-dfff-4bc5-ba03-192dd672e537" providerId="AD" clId="Web-{D6D48105-E833-F53A-44C7-8B7B9562D2DE}" dt="2021-04-15T15:11:17.721" v="129"/>
          <ac:picMkLst>
            <pc:docMk/>
            <pc:sldMk cId="3704017336" sldId="460"/>
            <ac:picMk id="9" creationId="{86B6B44A-BEE0-48D3-8507-5D272B482D9D}"/>
          </ac:picMkLst>
        </pc:picChg>
        <pc:picChg chg="add mod">
          <ac:chgData name="Paillacar Oyarzo Paulo Ignacio (Codelco-Casa Matriz)" userId="S::ppail001@codelco.cl::3f9c4ec0-dfff-4bc5-ba03-192dd672e537" providerId="AD" clId="Web-{D6D48105-E833-F53A-44C7-8B7B9562D2DE}" dt="2021-04-15T15:24:08.492" v="276" actId="1076"/>
          <ac:picMkLst>
            <pc:docMk/>
            <pc:sldMk cId="3704017336" sldId="460"/>
            <ac:picMk id="10" creationId="{0F468FD9-17C8-40BA-9683-C03F576918E1}"/>
          </ac:picMkLst>
        </pc:picChg>
        <pc:picChg chg="add mod">
          <ac:chgData name="Paillacar Oyarzo Paulo Ignacio (Codelco-Casa Matriz)" userId="S::ppail001@codelco.cl::3f9c4ec0-dfff-4bc5-ba03-192dd672e537" providerId="AD" clId="Web-{D6D48105-E833-F53A-44C7-8B7B9562D2DE}" dt="2021-04-15T15:23:44.006" v="265" actId="1076"/>
          <ac:picMkLst>
            <pc:docMk/>
            <pc:sldMk cId="3704017336" sldId="460"/>
            <ac:picMk id="11" creationId="{CFECC457-64ED-497B-BD3F-269402F8383F}"/>
          </ac:picMkLst>
        </pc:picChg>
        <pc:picChg chg="add mod">
          <ac:chgData name="Paillacar Oyarzo Paulo Ignacio (Codelco-Casa Matriz)" userId="S::ppail001@codelco.cl::3f9c4ec0-dfff-4bc5-ba03-192dd672e537" providerId="AD" clId="Web-{D6D48105-E833-F53A-44C7-8B7B9562D2DE}" dt="2021-04-15T15:27:04.363" v="328" actId="1076"/>
          <ac:picMkLst>
            <pc:docMk/>
            <pc:sldMk cId="3704017336" sldId="460"/>
            <ac:picMk id="14" creationId="{7AE0EE75-C356-4D6A-83BC-41A716CA69E3}"/>
          </ac:picMkLst>
        </pc:picChg>
        <pc:picChg chg="add mod">
          <ac:chgData name="Paillacar Oyarzo Paulo Ignacio (Codelco-Casa Matriz)" userId="S::ppail001@codelco.cl::3f9c4ec0-dfff-4bc5-ba03-192dd672e537" providerId="AD" clId="Web-{D6D48105-E833-F53A-44C7-8B7B9562D2DE}" dt="2021-04-15T15:27:04.395" v="330" actId="1076"/>
          <ac:picMkLst>
            <pc:docMk/>
            <pc:sldMk cId="3704017336" sldId="460"/>
            <ac:picMk id="16" creationId="{CE830B34-5ECF-49BB-9AC9-635147D19C0E}"/>
          </ac:picMkLst>
        </pc:picChg>
        <pc:picChg chg="add del">
          <ac:chgData name="Paillacar Oyarzo Paulo Ignacio (Codelco-Casa Matriz)" userId="S::ppail001@codelco.cl::3f9c4ec0-dfff-4bc5-ba03-192dd672e537" providerId="AD" clId="Web-{D6D48105-E833-F53A-44C7-8B7B9562D2DE}" dt="2021-04-15T15:25:16.950" v="305"/>
          <ac:picMkLst>
            <pc:docMk/>
            <pc:sldMk cId="3704017336" sldId="460"/>
            <ac:picMk id="25" creationId="{B38DBD15-124C-4C72-92BA-14EFE8A1997F}"/>
          </ac:picMkLst>
        </pc:picChg>
        <pc:picChg chg="add del mod">
          <ac:chgData name="Paillacar Oyarzo Paulo Ignacio (Codelco-Casa Matriz)" userId="S::ppail001@codelco.cl::3f9c4ec0-dfff-4bc5-ba03-192dd672e537" providerId="AD" clId="Web-{D6D48105-E833-F53A-44C7-8B7B9562D2DE}" dt="2021-04-15T15:26:49.987" v="327"/>
          <ac:picMkLst>
            <pc:docMk/>
            <pc:sldMk cId="3704017336" sldId="460"/>
            <ac:picMk id="27" creationId="{D138FC35-A5AF-4341-ABFB-7A2C48C84795}"/>
          </ac:picMkLst>
        </pc:picChg>
        <pc:cxnChg chg="add mod">
          <ac:chgData name="Paillacar Oyarzo Paulo Ignacio (Codelco-Casa Matriz)" userId="S::ppail001@codelco.cl::3f9c4ec0-dfff-4bc5-ba03-192dd672e537" providerId="AD" clId="Web-{D6D48105-E833-F53A-44C7-8B7B9562D2DE}" dt="2021-04-15T15:27:48.632" v="344" actId="1076"/>
          <ac:cxnSpMkLst>
            <pc:docMk/>
            <pc:sldMk cId="3704017336" sldId="460"/>
            <ac:cxnSpMk id="18" creationId="{F5567C57-0211-4D93-8CC0-BB0D21C5D55C}"/>
          </ac:cxnSpMkLst>
        </pc:cxnChg>
        <pc:cxnChg chg="add mod">
          <ac:chgData name="Paillacar Oyarzo Paulo Ignacio (Codelco-Casa Matriz)" userId="S::ppail001@codelco.cl::3f9c4ec0-dfff-4bc5-ba03-192dd672e537" providerId="AD" clId="Web-{D6D48105-E833-F53A-44C7-8B7B9562D2DE}" dt="2021-04-15T15:27:39.350" v="341" actId="14100"/>
          <ac:cxnSpMkLst>
            <pc:docMk/>
            <pc:sldMk cId="3704017336" sldId="460"/>
            <ac:cxnSpMk id="21" creationId="{EAAB8BBB-2C3B-473E-8F3F-FFC3F63E0A76}"/>
          </ac:cxnSpMkLst>
        </pc:cxnChg>
        <pc:cxnChg chg="add mod">
          <ac:chgData name="Paillacar Oyarzo Paulo Ignacio (Codelco-Casa Matriz)" userId="S::ppail001@codelco.cl::3f9c4ec0-dfff-4bc5-ba03-192dd672e537" providerId="AD" clId="Web-{D6D48105-E833-F53A-44C7-8B7B9562D2DE}" dt="2021-04-15T15:27:36.022" v="340" actId="14100"/>
          <ac:cxnSpMkLst>
            <pc:docMk/>
            <pc:sldMk cId="3704017336" sldId="460"/>
            <ac:cxnSpMk id="22" creationId="{C62CBD7D-503E-4E78-B4AC-7951F3F4EDB3}"/>
          </ac:cxnSpMkLst>
        </pc:cxnChg>
        <pc:cxnChg chg="add mod">
          <ac:chgData name="Paillacar Oyarzo Paulo Ignacio (Codelco-Casa Matriz)" userId="S::ppail001@codelco.cl::3f9c4ec0-dfff-4bc5-ba03-192dd672e537" providerId="AD" clId="Web-{D6D48105-E833-F53A-44C7-8B7B9562D2DE}" dt="2021-04-15T15:27:07.707" v="332" actId="14100"/>
          <ac:cxnSpMkLst>
            <pc:docMk/>
            <pc:sldMk cId="3704017336" sldId="460"/>
            <ac:cxnSpMk id="23" creationId="{9F49F774-F8D6-459A-98B4-CC0398DC78A5}"/>
          </ac:cxnSpMkLst>
        </pc:cxnChg>
        <pc:cxnChg chg="add mod">
          <ac:chgData name="Paillacar Oyarzo Paulo Ignacio (Codelco-Casa Matriz)" userId="S::ppail001@codelco.cl::3f9c4ec0-dfff-4bc5-ba03-192dd672e537" providerId="AD" clId="Web-{D6D48105-E833-F53A-44C7-8B7B9562D2DE}" dt="2021-04-15T15:27:12.801" v="333" actId="14100"/>
          <ac:cxnSpMkLst>
            <pc:docMk/>
            <pc:sldMk cId="3704017336" sldId="460"/>
            <ac:cxnSpMk id="24" creationId="{EC38699E-9165-4F15-B62C-93450B4ACB71}"/>
          </ac:cxnSpMkLst>
        </pc:cxnChg>
        <pc:cxnChg chg="add mod">
          <ac:chgData name="Paillacar Oyarzo Paulo Ignacio (Codelco-Casa Matriz)" userId="S::ppail001@codelco.cl::3f9c4ec0-dfff-4bc5-ba03-192dd672e537" providerId="AD" clId="Web-{D6D48105-E833-F53A-44C7-8B7B9562D2DE}" dt="2021-04-15T15:27:45.038" v="343" actId="14100"/>
          <ac:cxnSpMkLst>
            <pc:docMk/>
            <pc:sldMk cId="3704017336" sldId="460"/>
            <ac:cxnSpMk id="29" creationId="{B2DF31B9-6467-4F16-91E2-EA1B04550783}"/>
          </ac:cxnSpMkLst>
        </pc:cxnChg>
        <pc:cxnChg chg="add mod">
          <ac:chgData name="Paillacar Oyarzo Paulo Ignacio (Codelco-Casa Matriz)" userId="S::ppail001@codelco.cl::3f9c4ec0-dfff-4bc5-ba03-192dd672e537" providerId="AD" clId="Web-{D6D48105-E833-F53A-44C7-8B7B9562D2DE}" dt="2021-04-15T15:27:42.007" v="342" actId="14100"/>
          <ac:cxnSpMkLst>
            <pc:docMk/>
            <pc:sldMk cId="3704017336" sldId="460"/>
            <ac:cxnSpMk id="30" creationId="{7C46A161-4C16-4339-A3D0-144CC9AE1A4A}"/>
          </ac:cxnSpMkLst>
        </pc:cxnChg>
      </pc:sldChg>
    </pc:docChg>
  </pc:docChgLst>
  <pc:docChgLst>
    <pc:chgData name="Mery Carrasco Mauricio (Codelco-Casa Matriz)" userId="S::mmery004@codelco.cl::a0378191-74de-4d59-9b37-aa421303daba" providerId="AD" clId="Web-{D926E338-4F39-B688-EFC1-5D7824B972A3}"/>
    <pc:docChg chg="modSld">
      <pc:chgData name="Mery Carrasco Mauricio (Codelco-Casa Matriz)" userId="S::mmery004@codelco.cl::a0378191-74de-4d59-9b37-aa421303daba" providerId="AD" clId="Web-{D926E338-4F39-B688-EFC1-5D7824B972A3}" dt="2021-08-04T13:13:58.945" v="0"/>
      <pc:docMkLst>
        <pc:docMk/>
      </pc:docMkLst>
      <pc:sldChg chg="delSp">
        <pc:chgData name="Mery Carrasco Mauricio (Codelco-Casa Matriz)" userId="S::mmery004@codelco.cl::a0378191-74de-4d59-9b37-aa421303daba" providerId="AD" clId="Web-{D926E338-4F39-B688-EFC1-5D7824B972A3}" dt="2021-08-04T13:13:58.945" v="0"/>
        <pc:sldMkLst>
          <pc:docMk/>
          <pc:sldMk cId="1544981574" sldId="409"/>
        </pc:sldMkLst>
        <pc:spChg chg="del">
          <ac:chgData name="Mery Carrasco Mauricio (Codelco-Casa Matriz)" userId="S::mmery004@codelco.cl::a0378191-74de-4d59-9b37-aa421303daba" providerId="AD" clId="Web-{D926E338-4F39-B688-EFC1-5D7824B972A3}" dt="2021-08-04T13:13:58.945" v="0"/>
          <ac:spMkLst>
            <pc:docMk/>
            <pc:sldMk cId="1544981574" sldId="409"/>
            <ac:spMk id="2" creationId="{A93F5B3E-526D-49D9-B7E6-BA43501466DF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F335A14B-6E5D-1273-6D2E-82B312F7A876}"/>
    <pc:docChg chg="modSld">
      <pc:chgData name="Mery Carrasco Mauricio (Codelco-Casa Matriz)" userId="S::mmery004@codelco.cl::a0378191-74de-4d59-9b37-aa421303daba" providerId="AD" clId="Web-{F335A14B-6E5D-1273-6D2E-82B312F7A876}" dt="2021-10-12T21:31:05.005" v="1" actId="14100"/>
      <pc:docMkLst>
        <pc:docMk/>
      </pc:docMkLst>
      <pc:sldChg chg="modSp">
        <pc:chgData name="Mery Carrasco Mauricio (Codelco-Casa Matriz)" userId="S::mmery004@codelco.cl::a0378191-74de-4d59-9b37-aa421303daba" providerId="AD" clId="Web-{F335A14B-6E5D-1273-6D2E-82B312F7A876}" dt="2021-10-12T21:31:05.005" v="1" actId="14100"/>
        <pc:sldMkLst>
          <pc:docMk/>
          <pc:sldMk cId="629380034" sldId="617"/>
        </pc:sldMkLst>
        <pc:spChg chg="mod">
          <ac:chgData name="Mery Carrasco Mauricio (Codelco-Casa Matriz)" userId="S::mmery004@codelco.cl::a0378191-74de-4d59-9b37-aa421303daba" providerId="AD" clId="Web-{F335A14B-6E5D-1273-6D2E-82B312F7A876}" dt="2021-10-12T21:31:05.005" v="1" actId="14100"/>
          <ac:spMkLst>
            <pc:docMk/>
            <pc:sldMk cId="629380034" sldId="617"/>
            <ac:spMk id="2" creationId="{5BA6B4CF-13F4-4452-9BCB-2C4426295737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9623796C-F736-E845-E1C8-1C308A37E199}"/>
    <pc:docChg chg="delSld modSld sldOrd">
      <pc:chgData name="Mery Carrasco Mauricio (Codelco-Casa Matriz)" userId="S::mmery004@codelco.cl::a0378191-74de-4d59-9b37-aa421303daba" providerId="AD" clId="Web-{9623796C-F736-E845-E1C8-1C308A37E199}" dt="2021-08-04T15:14:02.079" v="9"/>
      <pc:docMkLst>
        <pc:docMk/>
      </pc:docMkLst>
      <pc:sldChg chg="ord">
        <pc:chgData name="Mery Carrasco Mauricio (Codelco-Casa Matriz)" userId="S::mmery004@codelco.cl::a0378191-74de-4d59-9b37-aa421303daba" providerId="AD" clId="Web-{9623796C-F736-E845-E1C8-1C308A37E199}" dt="2021-08-04T15:14:02.079" v="9"/>
        <pc:sldMkLst>
          <pc:docMk/>
          <pc:sldMk cId="3618717358" sldId="408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4:16:42.674" v="2"/>
        <pc:sldMkLst>
          <pc:docMk/>
          <pc:sldMk cId="2989328519" sldId="538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5:13:51.844" v="8"/>
        <pc:sldMkLst>
          <pc:docMk/>
          <pc:sldMk cId="3703057871" sldId="548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4:24:56.971" v="7"/>
        <pc:sldMkLst>
          <pc:docMk/>
          <pc:sldMk cId="372377247" sldId="550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4:17:14.489" v="4"/>
        <pc:sldMkLst>
          <pc:docMk/>
          <pc:sldMk cId="1451991468" sldId="551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4:24:32.876" v="5"/>
        <pc:sldMkLst>
          <pc:docMk/>
          <pc:sldMk cId="2244277401" sldId="552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4:24:45.424" v="6"/>
        <pc:sldMkLst>
          <pc:docMk/>
          <pc:sldMk cId="2243645923" sldId="553"/>
        </pc:sldMkLst>
      </pc:sldChg>
      <pc:sldChg chg="del">
        <pc:chgData name="Mery Carrasco Mauricio (Codelco-Casa Matriz)" userId="S::mmery004@codelco.cl::a0378191-74de-4d59-9b37-aa421303daba" providerId="AD" clId="Web-{9623796C-F736-E845-E1C8-1C308A37E199}" dt="2021-08-04T14:16:52.628" v="3"/>
        <pc:sldMkLst>
          <pc:docMk/>
          <pc:sldMk cId="571964646" sldId="566"/>
        </pc:sldMkLst>
      </pc:sldChg>
      <pc:sldChg chg="modSp">
        <pc:chgData name="Mery Carrasco Mauricio (Codelco-Casa Matriz)" userId="S::mmery004@codelco.cl::a0378191-74de-4d59-9b37-aa421303daba" providerId="AD" clId="Web-{9623796C-F736-E845-E1C8-1C308A37E199}" dt="2021-08-04T14:15:02.293" v="1" actId="14100"/>
        <pc:sldMkLst>
          <pc:docMk/>
          <pc:sldMk cId="3865556671" sldId="581"/>
        </pc:sldMkLst>
        <pc:spChg chg="mod">
          <ac:chgData name="Mery Carrasco Mauricio (Codelco-Casa Matriz)" userId="S::mmery004@codelco.cl::a0378191-74de-4d59-9b37-aa421303daba" providerId="AD" clId="Web-{9623796C-F736-E845-E1C8-1C308A37E199}" dt="2021-08-04T14:14:54.761" v="0" actId="14100"/>
          <ac:spMkLst>
            <pc:docMk/>
            <pc:sldMk cId="3865556671" sldId="581"/>
            <ac:spMk id="31" creationId="{9D9A4CF5-7C9E-46C6-90E6-1E3D29185CCD}"/>
          </ac:spMkLst>
        </pc:spChg>
        <pc:spChg chg="mod">
          <ac:chgData name="Mery Carrasco Mauricio (Codelco-Casa Matriz)" userId="S::mmery004@codelco.cl::a0378191-74de-4d59-9b37-aa421303daba" providerId="AD" clId="Web-{9623796C-F736-E845-E1C8-1C308A37E199}" dt="2021-08-04T14:15:02.293" v="1" actId="14100"/>
          <ac:spMkLst>
            <pc:docMk/>
            <pc:sldMk cId="3865556671" sldId="581"/>
            <ac:spMk id="53" creationId="{B8725CF4-620C-4B98-BD85-FCA99BB19348}"/>
          </ac:spMkLst>
        </pc:spChg>
      </pc:sldChg>
    </pc:docChg>
  </pc:docChgLst>
  <pc:docChgLst>
    <pc:chgData name="Gajardo Cea Gabriel (Codelco-Casa Matriz)" userId="S::ggaja006@codelco.cl::cdb81582-b838-47f4-b41f-41b35fd8e649" providerId="AD" clId="Web-{962A7FDB-7A0A-FBE9-ABAA-723966DC18C6}"/>
    <pc:docChg chg="addSld modSld">
      <pc:chgData name="Gajardo Cea Gabriel (Codelco-Casa Matriz)" userId="S::ggaja006@codelco.cl::cdb81582-b838-47f4-b41f-41b35fd8e649" providerId="AD" clId="Web-{962A7FDB-7A0A-FBE9-ABAA-723966DC18C6}" dt="2022-04-13T15:07:18.819" v="175"/>
      <pc:docMkLst>
        <pc:docMk/>
      </pc:docMkLst>
      <pc:sldChg chg="addSp delSp modSp">
        <pc:chgData name="Gajardo Cea Gabriel (Codelco-Casa Matriz)" userId="S::ggaja006@codelco.cl::cdb81582-b838-47f4-b41f-41b35fd8e649" providerId="AD" clId="Web-{962A7FDB-7A0A-FBE9-ABAA-723966DC18C6}" dt="2022-04-13T15:07:18.819" v="175"/>
        <pc:sldMkLst>
          <pc:docMk/>
          <pc:sldMk cId="3421697019" sldId="657"/>
        </pc:sldMkLst>
        <pc:spChg chg="mod">
          <ac:chgData name="Gajardo Cea Gabriel (Codelco-Casa Matriz)" userId="S::ggaja006@codelco.cl::cdb81582-b838-47f4-b41f-41b35fd8e649" providerId="AD" clId="Web-{962A7FDB-7A0A-FBE9-ABAA-723966DC18C6}" dt="2022-04-13T05:17:58.375" v="17" actId="1076"/>
          <ac:spMkLst>
            <pc:docMk/>
            <pc:sldMk cId="3421697019" sldId="657"/>
            <ac:spMk id="3" creationId="{00000000-0000-0000-0000-000000000000}"/>
          </ac:spMkLst>
        </pc:spChg>
        <pc:spChg chg="add del mod">
          <ac:chgData name="Gajardo Cea Gabriel (Codelco-Casa Matriz)" userId="S::ggaja006@codelco.cl::cdb81582-b838-47f4-b41f-41b35fd8e649" providerId="AD" clId="Web-{962A7FDB-7A0A-FBE9-ABAA-723966DC18C6}" dt="2022-04-13T05:39:57.219" v="45"/>
          <ac:spMkLst>
            <pc:docMk/>
            <pc:sldMk cId="3421697019" sldId="657"/>
            <ac:spMk id="4" creationId="{6490EA71-D997-F504-E43C-B4397EE76194}"/>
          </ac:spMkLst>
        </pc:spChg>
        <pc:spChg chg="mod">
          <ac:chgData name="Gajardo Cea Gabriel (Codelco-Casa Matriz)" userId="S::ggaja006@codelco.cl::cdb81582-b838-47f4-b41f-41b35fd8e649" providerId="AD" clId="Web-{962A7FDB-7A0A-FBE9-ABAA-723966DC18C6}" dt="2022-04-13T05:58:41.249" v="153" actId="20577"/>
          <ac:spMkLst>
            <pc:docMk/>
            <pc:sldMk cId="3421697019" sldId="657"/>
            <ac:spMk id="5" creationId="{D57101E3-207B-4809-B335-D526084CEA70}"/>
          </ac:spMkLst>
        </pc:spChg>
        <pc:spChg chg="add del mod">
          <ac:chgData name="Gajardo Cea Gabriel (Codelco-Casa Matriz)" userId="S::ggaja006@codelco.cl::cdb81582-b838-47f4-b41f-41b35fd8e649" providerId="AD" clId="Web-{962A7FDB-7A0A-FBE9-ABAA-723966DC18C6}" dt="2022-04-13T05:42:47.166" v="65"/>
          <ac:spMkLst>
            <pc:docMk/>
            <pc:sldMk cId="3421697019" sldId="657"/>
            <ac:spMk id="6" creationId="{18AA1CEF-479C-476A-DB02-C1510367D6D9}"/>
          </ac:spMkLst>
        </pc:spChg>
        <pc:spChg chg="add del">
          <ac:chgData name="Gajardo Cea Gabriel (Codelco-Casa Matriz)" userId="S::ggaja006@codelco.cl::cdb81582-b838-47f4-b41f-41b35fd8e649" providerId="AD" clId="Web-{962A7FDB-7A0A-FBE9-ABAA-723966DC18C6}" dt="2022-04-13T05:40:30.737" v="48"/>
          <ac:spMkLst>
            <pc:docMk/>
            <pc:sldMk cId="3421697019" sldId="657"/>
            <ac:spMk id="7" creationId="{0D9D868F-9804-A472-C5D8-221D8015E288}"/>
          </ac:spMkLst>
        </pc:spChg>
        <pc:spChg chg="mod">
          <ac:chgData name="Gajardo Cea Gabriel (Codelco-Casa Matriz)" userId="S::ggaja006@codelco.cl::cdb81582-b838-47f4-b41f-41b35fd8e649" providerId="AD" clId="Web-{962A7FDB-7A0A-FBE9-ABAA-723966DC18C6}" dt="2022-04-13T05:58:25.483" v="151" actId="1076"/>
          <ac:spMkLst>
            <pc:docMk/>
            <pc:sldMk cId="3421697019" sldId="657"/>
            <ac:spMk id="9" creationId="{00000000-0000-0000-0000-000000000000}"/>
          </ac:spMkLst>
        </pc:spChg>
        <pc:spChg chg="add mod">
          <ac:chgData name="Gajardo Cea Gabriel (Codelco-Casa Matriz)" userId="S::ggaja006@codelco.cl::cdb81582-b838-47f4-b41f-41b35fd8e649" providerId="AD" clId="Web-{962A7FDB-7A0A-FBE9-ABAA-723966DC18C6}" dt="2022-04-13T05:58:56.765" v="154" actId="1076"/>
          <ac:spMkLst>
            <pc:docMk/>
            <pc:sldMk cId="3421697019" sldId="657"/>
            <ac:spMk id="10" creationId="{F9322024-311C-EBE6-60AC-35C4B166893F}"/>
          </ac:spMkLst>
        </pc:spChg>
        <pc:spChg chg="add mod">
          <ac:chgData name="Gajardo Cea Gabriel (Codelco-Casa Matriz)" userId="S::ggaja006@codelco.cl::cdb81582-b838-47f4-b41f-41b35fd8e649" providerId="AD" clId="Web-{962A7FDB-7A0A-FBE9-ABAA-723966DC18C6}" dt="2022-04-13T05:58:56.812" v="155" actId="1076"/>
          <ac:spMkLst>
            <pc:docMk/>
            <pc:sldMk cId="3421697019" sldId="657"/>
            <ac:spMk id="13" creationId="{60174777-A989-DEF9-CEF6-46EE5D2A7B9E}"/>
          </ac:spMkLst>
        </pc:spChg>
        <pc:spChg chg="add del">
          <ac:chgData name="Gajardo Cea Gabriel (Codelco-Casa Matriz)" userId="S::ggaja006@codelco.cl::cdb81582-b838-47f4-b41f-41b35fd8e649" providerId="AD" clId="Web-{962A7FDB-7A0A-FBE9-ABAA-723966DC18C6}" dt="2022-04-13T05:44:33.250" v="70"/>
          <ac:spMkLst>
            <pc:docMk/>
            <pc:sldMk cId="3421697019" sldId="657"/>
            <ac:spMk id="14" creationId="{DF96A568-5E1A-1ED6-8998-55301B492E4A}"/>
          </ac:spMkLst>
        </pc:spChg>
        <pc:spChg chg="add mod">
          <ac:chgData name="Gajardo Cea Gabriel (Codelco-Casa Matriz)" userId="S::ggaja006@codelco.cl::cdb81582-b838-47f4-b41f-41b35fd8e649" providerId="AD" clId="Web-{962A7FDB-7A0A-FBE9-ABAA-723966DC18C6}" dt="2022-04-13T05:58:56.906" v="156" actId="1076"/>
          <ac:spMkLst>
            <pc:docMk/>
            <pc:sldMk cId="3421697019" sldId="657"/>
            <ac:spMk id="15" creationId="{92675804-9764-45EC-2494-52D643F4661B}"/>
          </ac:spMkLst>
        </pc:spChg>
        <pc:picChg chg="add mod">
          <ac:chgData name="Gajardo Cea Gabriel (Codelco-Casa Matriz)" userId="S::ggaja006@codelco.cl::cdb81582-b838-47f4-b41f-41b35fd8e649" providerId="AD" clId="Web-{962A7FDB-7A0A-FBE9-ABAA-723966DC18C6}" dt="2022-04-13T15:01:59.155" v="171" actId="1076"/>
          <ac:picMkLst>
            <pc:docMk/>
            <pc:sldMk cId="3421697019" sldId="657"/>
            <ac:picMk id="4" creationId="{274FB263-E4EC-0313-D8BD-D3276F304BD4}"/>
          </ac:picMkLst>
        </pc:picChg>
        <pc:picChg chg="add del mod">
          <ac:chgData name="Gajardo Cea Gabriel (Codelco-Casa Matriz)" userId="S::ggaja006@codelco.cl::cdb81582-b838-47f4-b41f-41b35fd8e649" providerId="AD" clId="Web-{962A7FDB-7A0A-FBE9-ABAA-723966DC18C6}" dt="2022-04-13T15:01:37.561" v="164"/>
          <ac:picMkLst>
            <pc:docMk/>
            <pc:sldMk cId="3421697019" sldId="657"/>
            <ac:picMk id="6" creationId="{5BD0A4AA-2DE0-346D-C9E7-E5A4A6A48886}"/>
          </ac:picMkLst>
        </pc:picChg>
        <pc:picChg chg="add mod">
          <ac:chgData name="Gajardo Cea Gabriel (Codelco-Casa Matriz)" userId="S::ggaja006@codelco.cl::cdb81582-b838-47f4-b41f-41b35fd8e649" providerId="AD" clId="Web-{962A7FDB-7A0A-FBE9-ABAA-723966DC18C6}" dt="2022-04-13T15:07:18.819" v="175"/>
          <ac:picMkLst>
            <pc:docMk/>
            <pc:sldMk cId="3421697019" sldId="657"/>
            <ac:picMk id="7" creationId="{F86EDA34-1EC4-9498-EACB-739E67041058}"/>
          </ac:picMkLst>
        </pc:picChg>
        <pc:cxnChg chg="del">
          <ac:chgData name="Gajardo Cea Gabriel (Codelco-Casa Matriz)" userId="S::ggaja006@codelco.cl::cdb81582-b838-47f4-b41f-41b35fd8e649" providerId="AD" clId="Web-{962A7FDB-7A0A-FBE9-ABAA-723966DC18C6}" dt="2022-04-13T15:01:37.764" v="167"/>
          <ac:cxnSpMkLst>
            <pc:docMk/>
            <pc:sldMk cId="3421697019" sldId="657"/>
            <ac:cxnSpMk id="96" creationId="{9B17FACF-123C-4482-BD98-1BC5AF1A731E}"/>
          </ac:cxnSpMkLst>
        </pc:cxnChg>
      </pc:sldChg>
      <pc:sldChg chg="modSp">
        <pc:chgData name="Gajardo Cea Gabriel (Codelco-Casa Matriz)" userId="S::ggaja006@codelco.cl::cdb81582-b838-47f4-b41f-41b35fd8e649" providerId="AD" clId="Web-{962A7FDB-7A0A-FBE9-ABAA-723966DC18C6}" dt="2022-04-13T05:16:11.795" v="9" actId="1076"/>
        <pc:sldMkLst>
          <pc:docMk/>
          <pc:sldMk cId="1951626859" sldId="661"/>
        </pc:sldMkLst>
        <pc:spChg chg="mod">
          <ac:chgData name="Gajardo Cea Gabriel (Codelco-Casa Matriz)" userId="S::ggaja006@codelco.cl::cdb81582-b838-47f4-b41f-41b35fd8e649" providerId="AD" clId="Web-{962A7FDB-7A0A-FBE9-ABAA-723966DC18C6}" dt="2022-04-13T05:16:11.764" v="8" actId="1076"/>
          <ac:spMkLst>
            <pc:docMk/>
            <pc:sldMk cId="1951626859" sldId="661"/>
            <ac:spMk id="3" creationId="{00000000-0000-0000-0000-000000000000}"/>
          </ac:spMkLst>
        </pc:spChg>
        <pc:spChg chg="mod">
          <ac:chgData name="Gajardo Cea Gabriel (Codelco-Casa Matriz)" userId="S::ggaja006@codelco.cl::cdb81582-b838-47f4-b41f-41b35fd8e649" providerId="AD" clId="Web-{962A7FDB-7A0A-FBE9-ABAA-723966DC18C6}" dt="2022-04-13T05:16:11.795" v="9" actId="1076"/>
          <ac:spMkLst>
            <pc:docMk/>
            <pc:sldMk cId="1951626859" sldId="661"/>
            <ac:spMk id="7" creationId="{00000000-0000-0000-0000-000000000000}"/>
          </ac:spMkLst>
        </pc:spChg>
      </pc:sldChg>
      <pc:sldChg chg="new">
        <pc:chgData name="Gajardo Cea Gabriel (Codelco-Casa Matriz)" userId="S::ggaja006@codelco.cl::cdb81582-b838-47f4-b41f-41b35fd8e649" providerId="AD" clId="Web-{962A7FDB-7A0A-FBE9-ABAA-723966DC18C6}" dt="2022-04-13T05:40:30.831" v="50"/>
        <pc:sldMkLst>
          <pc:docMk/>
          <pc:sldMk cId="2373420957" sldId="668"/>
        </pc:sldMkLst>
      </pc:sldChg>
    </pc:docChg>
  </pc:docChgLst>
  <pc:docChgLst>
    <pc:chgData name="Mery Carrasco Mauricio (Codelco-Casa Matriz)" userId="S::mmery004@codelco.cl::a0378191-74de-4d59-9b37-aa421303daba" providerId="AD" clId="Web-{FCEB2365-A6D9-8013-ABC5-8AB58B89B0A8}"/>
    <pc:docChg chg="delSld modSld">
      <pc:chgData name="Mery Carrasco Mauricio (Codelco-Casa Matriz)" userId="S::mmery004@codelco.cl::a0378191-74de-4d59-9b37-aa421303daba" providerId="AD" clId="Web-{FCEB2365-A6D9-8013-ABC5-8AB58B89B0A8}" dt="2020-10-22T13:53:27.238" v="62"/>
      <pc:docMkLst>
        <pc:docMk/>
      </pc:docMkLst>
      <pc:sldChg chg="modSp">
        <pc:chgData name="Mery Carrasco Mauricio (Codelco-Casa Matriz)" userId="S::mmery004@codelco.cl::a0378191-74de-4d59-9b37-aa421303daba" providerId="AD" clId="Web-{FCEB2365-A6D9-8013-ABC5-8AB58B89B0A8}" dt="2020-10-22T13:40:28.470" v="40" actId="20577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FCEB2365-A6D9-8013-ABC5-8AB58B89B0A8}" dt="2020-10-22T13:40:28.470" v="40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delSp modSp">
        <pc:chgData name="Mery Carrasco Mauricio (Codelco-Casa Matriz)" userId="S::mmery004@codelco.cl::a0378191-74de-4d59-9b37-aa421303daba" providerId="AD" clId="Web-{FCEB2365-A6D9-8013-ABC5-8AB58B89B0A8}" dt="2020-10-22T13:53:27.238" v="62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FCEB2365-A6D9-8013-ABC5-8AB58B89B0A8}" dt="2020-10-22T13:48:28.997" v="44" actId="20577"/>
          <ac:spMkLst>
            <pc:docMk/>
            <pc:sldMk cId="1259302253" sldId="353"/>
            <ac:spMk id="13" creationId="{6A7E20CE-D52C-4255-8F9F-3460CF2D0FBF}"/>
          </ac:spMkLst>
        </pc:spChg>
        <pc:spChg chg="mod">
          <ac:chgData name="Mery Carrasco Mauricio (Codelco-Casa Matriz)" userId="S::mmery004@codelco.cl::a0378191-74de-4d59-9b37-aa421303daba" providerId="AD" clId="Web-{FCEB2365-A6D9-8013-ABC5-8AB58B89B0A8}" dt="2020-10-22T13:49:01.373" v="54" actId="20577"/>
          <ac:spMkLst>
            <pc:docMk/>
            <pc:sldMk cId="1259302253" sldId="353"/>
            <ac:spMk id="15" creationId="{830CACA2-E61A-4701-8D9E-DC5CCD390D77}"/>
          </ac:spMkLst>
        </pc:spChg>
        <pc:inkChg chg="del">
          <ac:chgData name="Mery Carrasco Mauricio (Codelco-Casa Matriz)" userId="S::mmery004@codelco.cl::a0378191-74de-4d59-9b37-aa421303daba" providerId="AD" clId="Web-{FCEB2365-A6D9-8013-ABC5-8AB58B89B0A8}" dt="2020-10-22T13:53:27.238" v="62"/>
          <ac:inkMkLst>
            <pc:docMk/>
            <pc:sldMk cId="1259302253" sldId="353"/>
            <ac:inkMk id="3" creationId="{A42A582C-8943-4135-AD1F-64576D0C5F4E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0:45.297" v="58"/>
          <ac:inkMkLst>
            <pc:docMk/>
            <pc:sldMk cId="1259302253" sldId="353"/>
            <ac:inkMk id="3" creationId="{FE4E1D26-3909-4D6B-8B45-EFDF6FE28AF2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0:43.094" v="57"/>
          <ac:inkMkLst>
            <pc:docMk/>
            <pc:sldMk cId="1259302253" sldId="353"/>
            <ac:inkMk id="4" creationId="{2392189D-8B2D-49E1-BE19-EBFF66370633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0:40.328" v="56"/>
          <ac:inkMkLst>
            <pc:docMk/>
            <pc:sldMk cId="1259302253" sldId="353"/>
            <ac:inkMk id="5" creationId="{30E57AD0-2435-4DC2-9CC1-7583511D695B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0:37.547" v="55"/>
          <ac:inkMkLst>
            <pc:docMk/>
            <pc:sldMk cId="1259302253" sldId="353"/>
            <ac:inkMk id="6" creationId="{30A510BB-69E3-4598-A9F3-5862A0D0AFB2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1:57.002" v="59"/>
          <ac:inkMkLst>
            <pc:docMk/>
            <pc:sldMk cId="1259302253" sldId="353"/>
            <ac:inkMk id="6" creationId="{4B249DC9-FE8D-420A-AF4D-D1C73236D17B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1:58.408" v="60"/>
          <ac:inkMkLst>
            <pc:docMk/>
            <pc:sldMk cId="1259302253" sldId="353"/>
            <ac:inkMk id="7" creationId="{9E5B621C-4140-41DB-B2DE-0DBFE69536EB}"/>
          </ac:inkMkLst>
        </pc:inkChg>
        <pc:inkChg chg="del">
          <ac:chgData name="Mery Carrasco Mauricio (Codelco-Casa Matriz)" userId="S::mmery004@codelco.cl::a0378191-74de-4d59-9b37-aa421303daba" providerId="AD" clId="Web-{FCEB2365-A6D9-8013-ABC5-8AB58B89B0A8}" dt="2020-10-22T13:51:59.017" v="61"/>
          <ac:inkMkLst>
            <pc:docMk/>
            <pc:sldMk cId="1259302253" sldId="353"/>
            <ac:inkMk id="9" creationId="{B754742A-F601-4733-AE8A-CEE0AA08E502}"/>
          </ac:inkMkLst>
        </pc:inkChg>
      </pc:sldChg>
      <pc:sldChg chg="del">
        <pc:chgData name="Mery Carrasco Mauricio (Codelco-Casa Matriz)" userId="S::mmery004@codelco.cl::a0378191-74de-4d59-9b37-aa421303daba" providerId="AD" clId="Web-{FCEB2365-A6D9-8013-ABC5-8AB58B89B0A8}" dt="2020-10-22T13:41:13.861" v="42"/>
        <pc:sldMkLst>
          <pc:docMk/>
          <pc:sldMk cId="3825380497" sldId="413"/>
        </pc:sldMkLst>
      </pc:sldChg>
    </pc:docChg>
  </pc:docChgLst>
  <pc:docChgLst>
    <pc:chgData name="Allende Bustamante Jose (Codelco-Casa Matriz)" userId="S::jalle011@codelco.cl::54345eee-8770-43bf-b080-e3e333067d62" providerId="AD" clId="Web-{D368EFD4-BDA5-F31A-B57F-8205EF5129AF}"/>
    <pc:docChg chg="modSld">
      <pc:chgData name="Allende Bustamante Jose (Codelco-Casa Matriz)" userId="S::jalle011@codelco.cl::54345eee-8770-43bf-b080-e3e333067d62" providerId="AD" clId="Web-{D368EFD4-BDA5-F31A-B57F-8205EF5129AF}" dt="2021-01-14T14:22:52.845" v="86" actId="20577"/>
      <pc:docMkLst>
        <pc:docMk/>
      </pc:docMkLst>
      <pc:sldChg chg="modSp">
        <pc:chgData name="Allende Bustamante Jose (Codelco-Casa Matriz)" userId="S::jalle011@codelco.cl::54345eee-8770-43bf-b080-e3e333067d62" providerId="AD" clId="Web-{D368EFD4-BDA5-F31A-B57F-8205EF5129AF}" dt="2021-01-14T14:22:52.845" v="86" actId="20577"/>
        <pc:sldMkLst>
          <pc:docMk/>
          <pc:sldMk cId="3440923093" sldId="435"/>
        </pc:sldMkLst>
        <pc:spChg chg="mod">
          <ac:chgData name="Allende Bustamante Jose (Codelco-Casa Matriz)" userId="S::jalle011@codelco.cl::54345eee-8770-43bf-b080-e3e333067d62" providerId="AD" clId="Web-{D368EFD4-BDA5-F31A-B57F-8205EF5129AF}" dt="2021-01-14T14:22:26.640" v="83" actId="20577"/>
          <ac:spMkLst>
            <pc:docMk/>
            <pc:sldMk cId="3440923093" sldId="435"/>
            <ac:spMk id="2" creationId="{3B51CC00-6664-4925-9D0C-A6074A1416BC}"/>
          </ac:spMkLst>
        </pc:spChg>
        <pc:spChg chg="mod">
          <ac:chgData name="Allende Bustamante Jose (Codelco-Casa Matriz)" userId="S::jalle011@codelco.cl::54345eee-8770-43bf-b080-e3e333067d62" providerId="AD" clId="Web-{D368EFD4-BDA5-F31A-B57F-8205EF5129AF}" dt="2021-01-14T14:22:52.845" v="86" actId="20577"/>
          <ac:spMkLst>
            <pc:docMk/>
            <pc:sldMk cId="3440923093" sldId="435"/>
            <ac:spMk id="3" creationId="{BB30EF73-F526-42F0-BB6C-C4B55340143E}"/>
          </ac:spMkLst>
        </pc:spChg>
      </pc:sldChg>
      <pc:sldChg chg="addSp modSp">
        <pc:chgData name="Allende Bustamante Jose (Codelco-Casa Matriz)" userId="S::jalle011@codelco.cl::54345eee-8770-43bf-b080-e3e333067d62" providerId="AD" clId="Web-{D368EFD4-BDA5-F31A-B57F-8205EF5129AF}" dt="2021-01-14T14:16:09.071" v="47" actId="20577"/>
        <pc:sldMkLst>
          <pc:docMk/>
          <pc:sldMk cId="3736281506" sldId="436"/>
        </pc:sldMkLst>
        <pc:spChg chg="mod">
          <ac:chgData name="Allende Bustamante Jose (Codelco-Casa Matriz)" userId="S::jalle011@codelco.cl::54345eee-8770-43bf-b080-e3e333067d62" providerId="AD" clId="Web-{D368EFD4-BDA5-F31A-B57F-8205EF5129AF}" dt="2021-01-14T14:16:09.071" v="47" actId="20577"/>
          <ac:spMkLst>
            <pc:docMk/>
            <pc:sldMk cId="3736281506" sldId="436"/>
            <ac:spMk id="3" creationId="{BB30EF73-F526-42F0-BB6C-C4B55340143E}"/>
          </ac:spMkLst>
        </pc:spChg>
        <pc:spChg chg="add mod">
          <ac:chgData name="Allende Bustamante Jose (Codelco-Casa Matriz)" userId="S::jalle011@codelco.cl::54345eee-8770-43bf-b080-e3e333067d62" providerId="AD" clId="Web-{D368EFD4-BDA5-F31A-B57F-8205EF5129AF}" dt="2021-01-14T14:13:34.125" v="2" actId="20577"/>
          <ac:spMkLst>
            <pc:docMk/>
            <pc:sldMk cId="3736281506" sldId="436"/>
            <ac:spMk id="5" creationId="{3FB020B8-7883-424A-A2CD-D5506BBD43D5}"/>
          </ac:spMkLst>
        </pc:spChg>
      </pc:sldChg>
    </pc:docChg>
  </pc:docChgLst>
  <pc:docChgLst>
    <pc:chgData name="Calquin Veas Alexis (Codelco-Casa Matriz)" userId="S::acalq001@codelco.cl::bed4172a-53a7-4851-8acf-473ef95dec61" providerId="AD" clId="Web-{105AA81B-3CF8-F826-C767-031BE9C99250}"/>
    <pc:docChg chg="modSld">
      <pc:chgData name="Calquin Veas Alexis (Codelco-Casa Matriz)" userId="S::acalq001@codelco.cl::bed4172a-53a7-4851-8acf-473ef95dec61" providerId="AD" clId="Web-{105AA81B-3CF8-F826-C767-031BE9C99250}" dt="2021-09-08T14:46:18.385" v="26" actId="20577"/>
      <pc:docMkLst>
        <pc:docMk/>
      </pc:docMkLst>
      <pc:sldChg chg="addSp delSp modSp">
        <pc:chgData name="Calquin Veas Alexis (Codelco-Casa Matriz)" userId="S::acalq001@codelco.cl::bed4172a-53a7-4851-8acf-473ef95dec61" providerId="AD" clId="Web-{105AA81B-3CF8-F826-C767-031BE9C99250}" dt="2021-09-08T14:46:18.385" v="26" actId="20577"/>
        <pc:sldMkLst>
          <pc:docMk/>
          <pc:sldMk cId="3590775546" sldId="601"/>
        </pc:sldMkLst>
        <pc:spChg chg="add del mod">
          <ac:chgData name="Calquin Veas Alexis (Codelco-Casa Matriz)" userId="S::acalq001@codelco.cl::bed4172a-53a7-4851-8acf-473ef95dec61" providerId="AD" clId="Web-{105AA81B-3CF8-F826-C767-031BE9C99250}" dt="2021-09-08T14:42:54.441" v="6"/>
          <ac:spMkLst>
            <pc:docMk/>
            <pc:sldMk cId="3590775546" sldId="601"/>
            <ac:spMk id="6" creationId="{E2B83D11-1DEB-4CF9-8A0B-0C800F0DD1F7}"/>
          </ac:spMkLst>
        </pc:spChg>
        <pc:spChg chg="add del mod">
          <ac:chgData name="Calquin Veas Alexis (Codelco-Casa Matriz)" userId="S::acalq001@codelco.cl::bed4172a-53a7-4851-8acf-473ef95dec61" providerId="AD" clId="Web-{105AA81B-3CF8-F826-C767-031BE9C99250}" dt="2021-09-08T14:43:26.442" v="9"/>
          <ac:spMkLst>
            <pc:docMk/>
            <pc:sldMk cId="3590775546" sldId="601"/>
            <ac:spMk id="9" creationId="{DE63EA4A-52B2-4C26-AC59-633D61A80DF5}"/>
          </ac:spMkLst>
        </pc:spChg>
        <pc:spChg chg="add del mod">
          <ac:chgData name="Calquin Veas Alexis (Codelco-Casa Matriz)" userId="S::acalq001@codelco.cl::bed4172a-53a7-4851-8acf-473ef95dec61" providerId="AD" clId="Web-{105AA81B-3CF8-F826-C767-031BE9C99250}" dt="2021-09-08T14:44:42.492" v="12"/>
          <ac:spMkLst>
            <pc:docMk/>
            <pc:sldMk cId="3590775546" sldId="601"/>
            <ac:spMk id="10" creationId="{A1D58E9F-EA3E-4D01-AB72-13402BFE1005}"/>
          </ac:spMkLst>
        </pc:spChg>
        <pc:spChg chg="add mod">
          <ac:chgData name="Calquin Veas Alexis (Codelco-Casa Matriz)" userId="S::acalq001@codelco.cl::bed4172a-53a7-4851-8acf-473ef95dec61" providerId="AD" clId="Web-{105AA81B-3CF8-F826-C767-031BE9C99250}" dt="2021-09-08T14:46:18.385" v="26" actId="20577"/>
          <ac:spMkLst>
            <pc:docMk/>
            <pc:sldMk cId="3590775546" sldId="601"/>
            <ac:spMk id="93" creationId="{2C91D53E-0EBF-462D-98E5-6E25DE6D0C7E}"/>
          </ac:spMkLst>
        </pc:spChg>
        <pc:spChg chg="add del">
          <ac:chgData name="Calquin Veas Alexis (Codelco-Casa Matriz)" userId="S::acalq001@codelco.cl::bed4172a-53a7-4851-8acf-473ef95dec61" providerId="AD" clId="Web-{105AA81B-3CF8-F826-C767-031BE9C99250}" dt="2021-09-08T14:45:18.430" v="20"/>
          <ac:spMkLst>
            <pc:docMk/>
            <pc:sldMk cId="3590775546" sldId="601"/>
            <ac:spMk id="94" creationId="{170DA924-D0DA-479B-A07C-D3B669F96F9C}"/>
          </ac:spMkLst>
        </pc:spChg>
        <pc:spChg chg="add mod">
          <ac:chgData name="Calquin Veas Alexis (Codelco-Casa Matriz)" userId="S::acalq001@codelco.cl::bed4172a-53a7-4851-8acf-473ef95dec61" providerId="AD" clId="Web-{105AA81B-3CF8-F826-C767-031BE9C99250}" dt="2021-09-08T14:45:51.056" v="25" actId="20577"/>
          <ac:spMkLst>
            <pc:docMk/>
            <pc:sldMk cId="3590775546" sldId="601"/>
            <ac:spMk id="95" creationId="{8E24036E-2EDD-4362-899F-9500CDE62838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AA2E7795-1721-A526-AA83-4A01A8ACD846}"/>
    <pc:docChg chg="modSld">
      <pc:chgData name="Allende Bustamante Jose (Codelco-Casa Matriz)" userId="S::jalle011@codelco.cl::54345eee-8770-43bf-b080-e3e333067d62" providerId="AD" clId="Web-{AA2E7795-1721-A526-AA83-4A01A8ACD846}" dt="2020-10-08T13:21:58.547" v="5"/>
      <pc:docMkLst>
        <pc:docMk/>
      </pc:docMkLst>
      <pc:sldChg chg="modSp">
        <pc:chgData name="Allende Bustamante Jose (Codelco-Casa Matriz)" userId="S::jalle011@codelco.cl::54345eee-8770-43bf-b080-e3e333067d62" providerId="AD" clId="Web-{AA2E7795-1721-A526-AA83-4A01A8ACD846}" dt="2020-10-08T13:21:58.547" v="5"/>
        <pc:sldMkLst>
          <pc:docMk/>
          <pc:sldMk cId="1766117240" sldId="412"/>
        </pc:sldMkLst>
        <pc:spChg chg="mod">
          <ac:chgData name="Allende Bustamante Jose (Codelco-Casa Matriz)" userId="S::jalle011@codelco.cl::54345eee-8770-43bf-b080-e3e333067d62" providerId="AD" clId="Web-{AA2E7795-1721-A526-AA83-4A01A8ACD846}" dt="2020-10-08T13:21:58.547" v="5"/>
          <ac:spMkLst>
            <pc:docMk/>
            <pc:sldMk cId="1766117240" sldId="412"/>
            <ac:spMk id="29" creationId="{1B340903-7D93-403C-8AF6-A3B94CA29C22}"/>
          </ac:spMkLst>
        </pc:spChg>
      </pc:sldChg>
      <pc:sldChg chg="modSp">
        <pc:chgData name="Allende Bustamante Jose (Codelco-Casa Matriz)" userId="S::jalle011@codelco.cl::54345eee-8770-43bf-b080-e3e333067d62" providerId="AD" clId="Web-{AA2E7795-1721-A526-AA83-4A01A8ACD846}" dt="2020-10-08T13:21:34.250" v="4"/>
        <pc:sldMkLst>
          <pc:docMk/>
          <pc:sldMk cId="138167879" sldId="414"/>
        </pc:sldMkLst>
        <pc:spChg chg="mod">
          <ac:chgData name="Allende Bustamante Jose (Codelco-Casa Matriz)" userId="S::jalle011@codelco.cl::54345eee-8770-43bf-b080-e3e333067d62" providerId="AD" clId="Web-{AA2E7795-1721-A526-AA83-4A01A8ACD846}" dt="2020-10-08T13:21:34.250" v="4"/>
          <ac:spMkLst>
            <pc:docMk/>
            <pc:sldMk cId="138167879" sldId="414"/>
            <ac:spMk id="6" creationId="{8CEE12DB-9244-4EF8-8207-4A8876A826F3}"/>
          </ac:spMkLst>
        </pc:spChg>
        <pc:spChg chg="mod">
          <ac:chgData name="Allende Bustamante Jose (Codelco-Casa Matriz)" userId="S::jalle011@codelco.cl::54345eee-8770-43bf-b080-e3e333067d62" providerId="AD" clId="Web-{AA2E7795-1721-A526-AA83-4A01A8ACD846}" dt="2020-10-08T13:21:27.142" v="3"/>
          <ac:spMkLst>
            <pc:docMk/>
            <pc:sldMk cId="138167879" sldId="414"/>
            <ac:spMk id="50" creationId="{8D3192DD-C96E-449F-A17E-4D0E39689618}"/>
          </ac:spMkLst>
        </pc:spChg>
        <pc:spChg chg="mod">
          <ac:chgData name="Allende Bustamante Jose (Codelco-Casa Matriz)" userId="S::jalle011@codelco.cl::54345eee-8770-43bf-b080-e3e333067d62" providerId="AD" clId="Web-{AA2E7795-1721-A526-AA83-4A01A8ACD846}" dt="2020-10-08T13:21:20.312" v="2"/>
          <ac:spMkLst>
            <pc:docMk/>
            <pc:sldMk cId="138167879" sldId="414"/>
            <ac:spMk id="60" creationId="{75C502F6-E8BF-4B05-BFBB-E0C738455B88}"/>
          </ac:spMkLst>
        </pc:spChg>
        <pc:spChg chg="mod">
          <ac:chgData name="Allende Bustamante Jose (Codelco-Casa Matriz)" userId="S::jalle011@codelco.cl::54345eee-8770-43bf-b080-e3e333067d62" providerId="AD" clId="Web-{AA2E7795-1721-A526-AA83-4A01A8ACD846}" dt="2020-10-08T13:21:20.047" v="1"/>
          <ac:spMkLst>
            <pc:docMk/>
            <pc:sldMk cId="138167879" sldId="414"/>
            <ac:spMk id="69" creationId="{402D9FCC-7B7C-4802-A60E-5D6ADAF20FE4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B5B5A71C-7CBC-BD65-7A68-B1970D275CCA}"/>
    <pc:docChg chg="modSld">
      <pc:chgData name="Mery Carrasco Mauricio (Codelco-Casa Matriz)" userId="S::mmery004@codelco.cl::a0378191-74de-4d59-9b37-aa421303daba" providerId="AD" clId="Web-{B5B5A71C-7CBC-BD65-7A68-B1970D275CCA}" dt="2020-11-05T15:02:10.479" v="0"/>
      <pc:docMkLst>
        <pc:docMk/>
      </pc:docMkLst>
      <pc:sldChg chg="delSp">
        <pc:chgData name="Mery Carrasco Mauricio (Codelco-Casa Matriz)" userId="S::mmery004@codelco.cl::a0378191-74de-4d59-9b37-aa421303daba" providerId="AD" clId="Web-{B5B5A71C-7CBC-BD65-7A68-B1970D275CCA}" dt="2020-11-05T15:02:10.479" v="0"/>
        <pc:sldMkLst>
          <pc:docMk/>
          <pc:sldMk cId="922379868" sldId="417"/>
        </pc:sldMkLst>
        <pc:spChg chg="del">
          <ac:chgData name="Mery Carrasco Mauricio (Codelco-Casa Matriz)" userId="S::mmery004@codelco.cl::a0378191-74de-4d59-9b37-aa421303daba" providerId="AD" clId="Web-{B5B5A71C-7CBC-BD65-7A68-B1970D275CCA}" dt="2020-11-05T15:02:10.479" v="0"/>
          <ac:spMkLst>
            <pc:docMk/>
            <pc:sldMk cId="922379868" sldId="417"/>
            <ac:spMk id="19" creationId="{E2FFF1BD-6719-4DDA-89E6-C1A32984690F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A30015B8-FA4D-45F6-9DB9-228ED1ED6A18}"/>
    <pc:docChg chg="modSld">
      <pc:chgData name="Mery Carrasco Mauricio (Codelco-Casa Matriz)" userId="S::mmery004@codelco.cl::a0378191-74de-4d59-9b37-aa421303daba" providerId="AD" clId="Web-{A30015B8-FA4D-45F6-9DB9-228ED1ED6A18}" dt="2020-10-08T13:35:34.262" v="45" actId="20577"/>
      <pc:docMkLst>
        <pc:docMk/>
      </pc:docMkLst>
      <pc:sldChg chg="addSp delSp modSp">
        <pc:chgData name="Mery Carrasco Mauricio (Codelco-Casa Matriz)" userId="S::mmery004@codelco.cl::a0378191-74de-4d59-9b37-aa421303daba" providerId="AD" clId="Web-{A30015B8-FA4D-45F6-9DB9-228ED1ED6A18}" dt="2020-10-08T13:30:43.719" v="21" actId="1076"/>
        <pc:sldMkLst>
          <pc:docMk/>
          <pc:sldMk cId="772336465" sldId="346"/>
        </pc:sldMkLst>
        <pc:spChg chg="add del">
          <ac:chgData name="Mery Carrasco Mauricio (Codelco-Casa Matriz)" userId="S::mmery004@codelco.cl::a0378191-74de-4d59-9b37-aa421303daba" providerId="AD" clId="Web-{A30015B8-FA4D-45F6-9DB9-228ED1ED6A18}" dt="2020-10-08T13:29:00.689" v="12"/>
          <ac:spMkLst>
            <pc:docMk/>
            <pc:sldMk cId="772336465" sldId="346"/>
            <ac:spMk id="2" creationId="{F86DE3F6-098B-41B5-A9A2-39E6EE25782B}"/>
          </ac:spMkLst>
        </pc:spChg>
        <pc:grpChg chg="del mod">
          <ac:chgData name="Mery Carrasco Mauricio (Codelco-Casa Matriz)" userId="S::mmery004@codelco.cl::a0378191-74de-4d59-9b37-aa421303daba" providerId="AD" clId="Web-{A30015B8-FA4D-45F6-9DB9-228ED1ED6A18}" dt="2020-10-08T13:30:38.187" v="20"/>
          <ac:grpSpMkLst>
            <pc:docMk/>
            <pc:sldMk cId="772336465" sldId="346"/>
            <ac:grpSpMk id="14" creationId="{100CD6E6-FFAC-4BE7-8128-73A654367A24}"/>
          </ac:grpSpMkLst>
        </pc:grpChg>
        <pc:picChg chg="mod">
          <ac:chgData name="Mery Carrasco Mauricio (Codelco-Casa Matriz)" userId="S::mmery004@codelco.cl::a0378191-74de-4d59-9b37-aa421303daba" providerId="AD" clId="Web-{A30015B8-FA4D-45F6-9DB9-228ED1ED6A18}" dt="2020-10-08T13:30:24.531" v="18" actId="14100"/>
          <ac:picMkLst>
            <pc:docMk/>
            <pc:sldMk cId="772336465" sldId="346"/>
            <ac:picMk id="15" creationId="{2D00978C-40A2-4971-B038-DF9A430CBDAC}"/>
          </ac:picMkLst>
        </pc:picChg>
        <pc:picChg chg="mod">
          <ac:chgData name="Mery Carrasco Mauricio (Codelco-Casa Matriz)" userId="S::mmery004@codelco.cl::a0378191-74de-4d59-9b37-aa421303daba" providerId="AD" clId="Web-{A30015B8-FA4D-45F6-9DB9-228ED1ED6A18}" dt="2020-10-08T13:28:33.673" v="5" actId="1076"/>
          <ac:picMkLst>
            <pc:docMk/>
            <pc:sldMk cId="772336465" sldId="346"/>
            <ac:picMk id="16" creationId="{D20170AA-1956-467A-9BA9-744B3FB531CB}"/>
          </ac:picMkLst>
        </pc:picChg>
        <pc:cxnChg chg="mod">
          <ac:chgData name="Mery Carrasco Mauricio (Codelco-Casa Matriz)" userId="S::mmery004@codelco.cl::a0378191-74de-4d59-9b37-aa421303daba" providerId="AD" clId="Web-{A30015B8-FA4D-45F6-9DB9-228ED1ED6A18}" dt="2020-10-08T13:30:43.719" v="21" actId="1076"/>
          <ac:cxnSpMkLst>
            <pc:docMk/>
            <pc:sldMk cId="772336465" sldId="346"/>
            <ac:cxnSpMk id="12" creationId="{E309233F-B69B-4D61-9A62-D2DF4BD2CC4E}"/>
          </ac:cxnSpMkLst>
        </pc:cxnChg>
      </pc:sldChg>
      <pc:sldChg chg="modSp">
        <pc:chgData name="Mery Carrasco Mauricio (Codelco-Casa Matriz)" userId="S::mmery004@codelco.cl::a0378191-74de-4d59-9b37-aa421303daba" providerId="AD" clId="Web-{A30015B8-FA4D-45F6-9DB9-228ED1ED6A18}" dt="2020-10-08T13:35:34.262" v="45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A30015B8-FA4D-45F6-9DB9-228ED1ED6A18}" dt="2020-10-08T13:35:34.262" v="45" actId="20577"/>
          <ac:spMkLst>
            <pc:docMk/>
            <pc:sldMk cId="1259302253" sldId="353"/>
            <ac:spMk id="11" creationId="{DB92C4CF-7AC4-4BFA-9A29-156AEC1C5231}"/>
          </ac:spMkLst>
        </pc:spChg>
      </pc:sldChg>
      <pc:sldChg chg="modSp">
        <pc:chgData name="Mery Carrasco Mauricio (Codelco-Casa Matriz)" userId="S::mmery004@codelco.cl::a0378191-74de-4d59-9b37-aa421303daba" providerId="AD" clId="Web-{A30015B8-FA4D-45F6-9DB9-228ED1ED6A18}" dt="2020-10-08T13:29:36.657" v="17"/>
        <pc:sldMkLst>
          <pc:docMk/>
          <pc:sldMk cId="3112561217" sldId="400"/>
        </pc:sldMkLst>
        <pc:spChg chg="mod">
          <ac:chgData name="Mery Carrasco Mauricio (Codelco-Casa Matriz)" userId="S::mmery004@codelco.cl::a0378191-74de-4d59-9b37-aa421303daba" providerId="AD" clId="Web-{A30015B8-FA4D-45F6-9DB9-228ED1ED6A18}" dt="2020-10-08T13:29:36.657" v="17"/>
          <ac:spMkLst>
            <pc:docMk/>
            <pc:sldMk cId="3112561217" sldId="400"/>
            <ac:spMk id="11" creationId="{65865A83-F6A9-401D-A2DB-C60507E12A60}"/>
          </ac:spMkLst>
        </pc:spChg>
        <pc:spChg chg="mod">
          <ac:chgData name="Mery Carrasco Mauricio (Codelco-Casa Matriz)" userId="S::mmery004@codelco.cl::a0378191-74de-4d59-9b37-aa421303daba" providerId="AD" clId="Web-{A30015B8-FA4D-45F6-9DB9-228ED1ED6A18}" dt="2020-10-08T13:29:14.126" v="14" actId="20577"/>
          <ac:spMkLst>
            <pc:docMk/>
            <pc:sldMk cId="3112561217" sldId="400"/>
            <ac:spMk id="15" creationId="{6E27C4DC-F245-4A4D-8AD1-91576FE2845A}"/>
          </ac:spMkLst>
        </pc:spChg>
      </pc:sldChg>
      <pc:sldChg chg="delSp">
        <pc:chgData name="Mery Carrasco Mauricio (Codelco-Casa Matriz)" userId="S::mmery004@codelco.cl::a0378191-74de-4d59-9b37-aa421303daba" providerId="AD" clId="Web-{A30015B8-FA4D-45F6-9DB9-228ED1ED6A18}" dt="2020-10-08T13:34:17.497" v="35"/>
        <pc:sldMkLst>
          <pc:docMk/>
          <pc:sldMk cId="567141785" sldId="404"/>
        </pc:sldMkLst>
        <pc:spChg chg="del">
          <ac:chgData name="Mery Carrasco Mauricio (Codelco-Casa Matriz)" userId="S::mmery004@codelco.cl::a0378191-74de-4d59-9b37-aa421303daba" providerId="AD" clId="Web-{A30015B8-FA4D-45F6-9DB9-228ED1ED6A18}" dt="2020-10-08T13:34:17.497" v="35"/>
          <ac:spMkLst>
            <pc:docMk/>
            <pc:sldMk cId="567141785" sldId="404"/>
            <ac:spMk id="24" creationId="{A361A326-D48B-4799-9A3A-2C7C0197615A}"/>
          </ac:spMkLst>
        </pc:spChg>
      </pc:sldChg>
      <pc:sldChg chg="delSp modSp">
        <pc:chgData name="Mery Carrasco Mauricio (Codelco-Casa Matriz)" userId="S::mmery004@codelco.cl::a0378191-74de-4d59-9b37-aa421303daba" providerId="AD" clId="Web-{A30015B8-FA4D-45F6-9DB9-228ED1ED6A18}" dt="2020-10-08T13:28:14.267" v="3"/>
        <pc:sldMkLst>
          <pc:docMk/>
          <pc:sldMk cId="1544981574" sldId="409"/>
        </pc:sldMkLst>
        <pc:spChg chg="del mod">
          <ac:chgData name="Mery Carrasco Mauricio (Codelco-Casa Matriz)" userId="S::mmery004@codelco.cl::a0378191-74de-4d59-9b37-aa421303daba" providerId="AD" clId="Web-{A30015B8-FA4D-45F6-9DB9-228ED1ED6A18}" dt="2020-10-08T13:28:14.267" v="3"/>
          <ac:spMkLst>
            <pc:docMk/>
            <pc:sldMk cId="1544981574" sldId="409"/>
            <ac:spMk id="66" creationId="{C27906E1-9A1C-494B-86C3-D6519572CCE1}"/>
          </ac:spMkLst>
        </pc:spChg>
      </pc:sldChg>
      <pc:sldChg chg="delSp modSp">
        <pc:chgData name="Mery Carrasco Mauricio (Codelco-Casa Matriz)" userId="S::mmery004@codelco.cl::a0378191-74de-4d59-9b37-aa421303daba" providerId="AD" clId="Web-{A30015B8-FA4D-45F6-9DB9-228ED1ED6A18}" dt="2020-10-08T13:33:07.186" v="25"/>
        <pc:sldMkLst>
          <pc:docMk/>
          <pc:sldMk cId="1766117240" sldId="412"/>
        </pc:sldMkLst>
        <pc:spChg chg="del mod">
          <ac:chgData name="Mery Carrasco Mauricio (Codelco-Casa Matriz)" userId="S::mmery004@codelco.cl::a0378191-74de-4d59-9b37-aa421303daba" providerId="AD" clId="Web-{A30015B8-FA4D-45F6-9DB9-228ED1ED6A18}" dt="2020-10-08T13:33:07.186" v="25"/>
          <ac:spMkLst>
            <pc:docMk/>
            <pc:sldMk cId="1766117240" sldId="412"/>
            <ac:spMk id="36" creationId="{2243E268-F482-469E-A932-DC077D478942}"/>
          </ac:spMkLst>
        </pc:spChg>
      </pc:sldChg>
      <pc:sldChg chg="modSp">
        <pc:chgData name="Mery Carrasco Mauricio (Codelco-Casa Matriz)" userId="S::mmery004@codelco.cl::a0378191-74de-4d59-9b37-aa421303daba" providerId="AD" clId="Web-{A30015B8-FA4D-45F6-9DB9-228ED1ED6A18}" dt="2020-10-08T13:34:00.529" v="34" actId="14100"/>
        <pc:sldMkLst>
          <pc:docMk/>
          <pc:sldMk cId="3825380497" sldId="413"/>
        </pc:sldMkLst>
        <pc:spChg chg="mod">
          <ac:chgData name="Mery Carrasco Mauricio (Codelco-Casa Matriz)" userId="S::mmery004@codelco.cl::a0378191-74de-4d59-9b37-aa421303daba" providerId="AD" clId="Web-{A30015B8-FA4D-45F6-9DB9-228ED1ED6A18}" dt="2020-10-08T13:33:48.060" v="32" actId="1076"/>
          <ac:spMkLst>
            <pc:docMk/>
            <pc:sldMk cId="3825380497" sldId="413"/>
            <ac:spMk id="4" creationId="{0C165948-E818-4947-A58A-C9C6AA1C33D0}"/>
          </ac:spMkLst>
        </pc:spChg>
        <pc:spChg chg="mod">
          <ac:chgData name="Mery Carrasco Mauricio (Codelco-Casa Matriz)" userId="S::mmery004@codelco.cl::a0378191-74de-4d59-9b37-aa421303daba" providerId="AD" clId="Web-{A30015B8-FA4D-45F6-9DB9-228ED1ED6A18}" dt="2020-10-08T13:33:54.529" v="33" actId="14100"/>
          <ac:spMkLst>
            <pc:docMk/>
            <pc:sldMk cId="3825380497" sldId="413"/>
            <ac:spMk id="50" creationId="{917D6935-862C-4831-A22F-16DEE5B5C7E6}"/>
          </ac:spMkLst>
        </pc:spChg>
        <pc:spChg chg="mod">
          <ac:chgData name="Mery Carrasco Mauricio (Codelco-Casa Matriz)" userId="S::mmery004@codelco.cl::a0378191-74de-4d59-9b37-aa421303daba" providerId="AD" clId="Web-{A30015B8-FA4D-45F6-9DB9-228ED1ED6A18}" dt="2020-10-08T13:34:00.529" v="34" actId="14100"/>
          <ac:spMkLst>
            <pc:docMk/>
            <pc:sldMk cId="3825380497" sldId="413"/>
            <ac:spMk id="54" creationId="{97E22C1D-6449-4A4E-A1B4-3A658EEDF7B4}"/>
          </ac:spMkLst>
        </pc:spChg>
        <pc:spChg chg="mod">
          <ac:chgData name="Mery Carrasco Mauricio (Codelco-Casa Matriz)" userId="S::mmery004@codelco.cl::a0378191-74de-4d59-9b37-aa421303daba" providerId="AD" clId="Web-{A30015B8-FA4D-45F6-9DB9-228ED1ED6A18}" dt="2020-10-08T13:33:42.342" v="31" actId="1076"/>
          <ac:spMkLst>
            <pc:docMk/>
            <pc:sldMk cId="3825380497" sldId="413"/>
            <ac:spMk id="76" creationId="{B89452EF-1D0A-44B1-8A6A-AB80F2542848}"/>
          </ac:spMkLst>
        </pc:spChg>
      </pc:sldChg>
      <pc:sldChg chg="delSp modSp">
        <pc:chgData name="Mery Carrasco Mauricio (Codelco-Casa Matriz)" userId="S::mmery004@codelco.cl::a0378191-74de-4d59-9b37-aa421303daba" providerId="AD" clId="Web-{A30015B8-FA4D-45F6-9DB9-228ED1ED6A18}" dt="2020-10-08T13:35:07.794" v="41" actId="14100"/>
        <pc:sldMkLst>
          <pc:docMk/>
          <pc:sldMk cId="1943212446" sldId="416"/>
        </pc:sldMkLst>
        <pc:spChg chg="del">
          <ac:chgData name="Mery Carrasco Mauricio (Codelco-Casa Matriz)" userId="S::mmery004@codelco.cl::a0378191-74de-4d59-9b37-aa421303daba" providerId="AD" clId="Web-{A30015B8-FA4D-45F6-9DB9-228ED1ED6A18}" dt="2020-10-08T13:34:33.013" v="36"/>
          <ac:spMkLst>
            <pc:docMk/>
            <pc:sldMk cId="1943212446" sldId="416"/>
            <ac:spMk id="8" creationId="{3FD85284-A229-4764-86DE-AE6E622954A3}"/>
          </ac:spMkLst>
        </pc:spChg>
        <pc:spChg chg="mod">
          <ac:chgData name="Mery Carrasco Mauricio (Codelco-Casa Matriz)" userId="S::mmery004@codelco.cl::a0378191-74de-4d59-9b37-aa421303daba" providerId="AD" clId="Web-{A30015B8-FA4D-45F6-9DB9-228ED1ED6A18}" dt="2020-10-08T13:35:07.794" v="41" actId="14100"/>
          <ac:spMkLst>
            <pc:docMk/>
            <pc:sldMk cId="1943212446" sldId="416"/>
            <ac:spMk id="19" creationId="{5FADE6A6-F5F6-452E-946A-0E028B615A0C}"/>
          </ac:spMkLst>
        </pc:spChg>
        <pc:spChg chg="mod">
          <ac:chgData name="Mery Carrasco Mauricio (Codelco-Casa Matriz)" userId="S::mmery004@codelco.cl::a0378191-74de-4d59-9b37-aa421303daba" providerId="AD" clId="Web-{A30015B8-FA4D-45F6-9DB9-228ED1ED6A18}" dt="2020-10-08T13:34:45.810" v="39" actId="20577"/>
          <ac:spMkLst>
            <pc:docMk/>
            <pc:sldMk cId="1943212446" sldId="416"/>
            <ac:spMk id="26" creationId="{C05AF7CA-BE06-4010-A753-779C63F68D58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F6EF1E1D-DD59-7DDF-A4C8-EA56747D4C25}"/>
    <pc:docChg chg="">
      <pc:chgData name="Mery Carrasco Mauricio (Codelco-Casa Matriz)" userId="S::mmery004@codelco.cl::a0378191-74de-4d59-9b37-aa421303daba" providerId="AD" clId="Web-{F6EF1E1D-DD59-7DDF-A4C8-EA56747D4C25}" dt="2021-05-20T12:45:55.581" v="0"/>
      <pc:docMkLst>
        <pc:docMk/>
      </pc:docMkLst>
      <pc:sldChg chg="addCm">
        <pc:chgData name="Mery Carrasco Mauricio (Codelco-Casa Matriz)" userId="S::mmery004@codelco.cl::a0378191-74de-4d59-9b37-aa421303daba" providerId="AD" clId="Web-{F6EF1E1D-DD59-7DDF-A4C8-EA56747D4C25}" dt="2021-05-20T12:45:55.581" v="0"/>
        <pc:sldMkLst>
          <pc:docMk/>
          <pc:sldMk cId="1544981574" sldId="409"/>
        </pc:sldMkLst>
      </pc:sldChg>
    </pc:docChg>
  </pc:docChgLst>
  <pc:docChgLst>
    <pc:chgData name="Paillacar Oyarzo Paulo Ignacio (Codelco-Casa Matriz)" userId="S::ppail001@codelco.cl::3f9c4ec0-dfff-4bc5-ba03-192dd672e537" providerId="AD" clId="Web-{172AC3D2-57C3-DE3B-7806-CB08576C0149}"/>
    <pc:docChg chg="modSld">
      <pc:chgData name="Paillacar Oyarzo Paulo Ignacio (Codelco-Casa Matriz)" userId="S::ppail001@codelco.cl::3f9c4ec0-dfff-4bc5-ba03-192dd672e537" providerId="AD" clId="Web-{172AC3D2-57C3-DE3B-7806-CB08576C0149}" dt="2020-10-22T05:20:08.574" v="339"/>
      <pc:docMkLst>
        <pc:docMk/>
      </pc:docMkLst>
      <pc:sldChg chg="addSp delSp modSp">
        <pc:chgData name="Paillacar Oyarzo Paulo Ignacio (Codelco-Casa Matriz)" userId="S::ppail001@codelco.cl::3f9c4ec0-dfff-4bc5-ba03-192dd672e537" providerId="AD" clId="Web-{172AC3D2-57C3-DE3B-7806-CB08576C0149}" dt="2020-10-22T05:13:54.871" v="329" actId="14100"/>
        <pc:sldMkLst>
          <pc:docMk/>
          <pc:sldMk cId="3044602424" sldId="397"/>
        </pc:sldMkLst>
        <pc:spChg chg="mod">
          <ac:chgData name="Paillacar Oyarzo Paulo Ignacio (Codelco-Casa Matriz)" userId="S::ppail001@codelco.cl::3f9c4ec0-dfff-4bc5-ba03-192dd672e537" providerId="AD" clId="Web-{172AC3D2-57C3-DE3B-7806-CB08576C0149}" dt="2020-10-22T04:12:54.861" v="42" actId="14100"/>
          <ac:spMkLst>
            <pc:docMk/>
            <pc:sldMk cId="3044602424" sldId="397"/>
            <ac:spMk id="3" creationId="{E73EE9E8-A3BD-4DC0-BF96-29D33E6230AE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5:37.871" v="230" actId="14100"/>
          <ac:spMkLst>
            <pc:docMk/>
            <pc:sldMk cId="3044602424" sldId="397"/>
            <ac:spMk id="11" creationId="{7DE3D8F0-3285-4408-96DF-8936B37C8F4E}"/>
          </ac:spMkLst>
        </pc:spChg>
        <pc:spChg chg="add mod">
          <ac:chgData name="Paillacar Oyarzo Paulo Ignacio (Codelco-Casa Matriz)" userId="S::ppail001@codelco.cl::3f9c4ec0-dfff-4bc5-ba03-192dd672e537" providerId="AD" clId="Web-{172AC3D2-57C3-DE3B-7806-CB08576C0149}" dt="2020-10-22T05:05:51.886" v="239" actId="20577"/>
          <ac:spMkLst>
            <pc:docMk/>
            <pc:sldMk cId="3044602424" sldId="397"/>
            <ac:spMk id="12" creationId="{3476FD2F-A611-47BB-8B74-C1936E3DF657}"/>
          </ac:spMkLst>
        </pc:spChg>
        <pc:spChg chg="del">
          <ac:chgData name="Paillacar Oyarzo Paulo Ignacio (Codelco-Casa Matriz)" userId="S::ppail001@codelco.cl::3f9c4ec0-dfff-4bc5-ba03-192dd672e537" providerId="AD" clId="Web-{172AC3D2-57C3-DE3B-7806-CB08576C0149}" dt="2020-10-22T04:13:02.314" v="44"/>
          <ac:spMkLst>
            <pc:docMk/>
            <pc:sldMk cId="3044602424" sldId="397"/>
            <ac:spMk id="13" creationId="{E37C4DCA-501A-46C1-8E0F-EB2F27D3F054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5:31.636" v="228" actId="20577"/>
          <ac:spMkLst>
            <pc:docMk/>
            <pc:sldMk cId="3044602424" sldId="397"/>
            <ac:spMk id="14" creationId="{83F79AB8-46C3-4A53-AF24-5CA9C5FBD3D6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9:21.183" v="258"/>
          <ac:spMkLst>
            <pc:docMk/>
            <pc:sldMk cId="3044602424" sldId="397"/>
            <ac:spMk id="18" creationId="{64483EEC-064E-4849-8EA8-50DEBD8CEB33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9:21.215" v="259"/>
          <ac:spMkLst>
            <pc:docMk/>
            <pc:sldMk cId="3044602424" sldId="397"/>
            <ac:spMk id="19" creationId="{F9D53375-6E21-4C32-B843-AA0750C6832F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9:21.230" v="260"/>
          <ac:spMkLst>
            <pc:docMk/>
            <pc:sldMk cId="3044602424" sldId="397"/>
            <ac:spMk id="22" creationId="{4542DA9D-16A6-4008-AE26-86AA90D07F94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9:21.246" v="261"/>
          <ac:spMkLst>
            <pc:docMk/>
            <pc:sldMk cId="3044602424" sldId="397"/>
            <ac:spMk id="23" creationId="{AF218152-7DFF-44AD-8FEB-52AC67FC2E62}"/>
          </ac:spMkLst>
        </pc:spChg>
        <pc:spChg chg="del">
          <ac:chgData name="Paillacar Oyarzo Paulo Ignacio (Codelco-Casa Matriz)" userId="S::ppail001@codelco.cl::3f9c4ec0-dfff-4bc5-ba03-192dd672e537" providerId="AD" clId="Web-{172AC3D2-57C3-DE3B-7806-CB08576C0149}" dt="2020-10-22T04:13:02.314" v="43"/>
          <ac:spMkLst>
            <pc:docMk/>
            <pc:sldMk cId="3044602424" sldId="397"/>
            <ac:spMk id="73" creationId="{35358F33-D18A-430C-A370-148E107FFD09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13:54.871" v="329" actId="14100"/>
          <ac:spMkLst>
            <pc:docMk/>
            <pc:sldMk cId="3044602424" sldId="397"/>
            <ac:spMk id="75" creationId="{AB75D92A-936D-4E69-92FC-F7A3C635ACEB}"/>
          </ac:spMkLst>
        </pc:spChg>
        <pc:grpChg chg="add del">
          <ac:chgData name="Paillacar Oyarzo Paulo Ignacio (Codelco-Casa Matriz)" userId="S::ppail001@codelco.cl::3f9c4ec0-dfff-4bc5-ba03-192dd672e537" providerId="AD" clId="Web-{172AC3D2-57C3-DE3B-7806-CB08576C0149}" dt="2020-10-22T05:08:25.511" v="250"/>
          <ac:grpSpMkLst>
            <pc:docMk/>
            <pc:sldMk cId="3044602424" sldId="397"/>
            <ac:grpSpMk id="8" creationId="{AFCB105A-4D2C-4571-BD3A-8AA572CF6A94}"/>
          </ac:grpSpMkLst>
        </pc:grpChg>
        <pc:grpChg chg="add mod">
          <ac:chgData name="Paillacar Oyarzo Paulo Ignacio (Codelco-Casa Matriz)" userId="S::ppail001@codelco.cl::3f9c4ec0-dfff-4bc5-ba03-192dd672e537" providerId="AD" clId="Web-{172AC3D2-57C3-DE3B-7806-CB08576C0149}" dt="2020-10-22T05:09:02.683" v="255" actId="1076"/>
          <ac:grpSpMkLst>
            <pc:docMk/>
            <pc:sldMk cId="3044602424" sldId="397"/>
            <ac:grpSpMk id="9" creationId="{259507B9-6D49-441A-8F4E-4EB882BE52E0}"/>
          </ac:grpSpMkLst>
        </pc:grpChg>
        <pc:grpChg chg="add mod">
          <ac:chgData name="Paillacar Oyarzo Paulo Ignacio (Codelco-Casa Matriz)" userId="S::ppail001@codelco.cl::3f9c4ec0-dfff-4bc5-ba03-192dd672e537" providerId="AD" clId="Web-{172AC3D2-57C3-DE3B-7806-CB08576C0149}" dt="2020-10-22T05:09:10.699" v="257" actId="1076"/>
          <ac:grpSpMkLst>
            <pc:docMk/>
            <pc:sldMk cId="3044602424" sldId="397"/>
            <ac:grpSpMk id="21" creationId="{1E7441BA-68DC-4829-BCF8-00E1E3E32F7C}"/>
          </ac:grpSpMkLst>
        </pc:grpChg>
        <pc:grpChg chg="add mod">
          <ac:chgData name="Paillacar Oyarzo Paulo Ignacio (Codelco-Casa Matriz)" userId="S::ppail001@codelco.cl::3f9c4ec0-dfff-4bc5-ba03-192dd672e537" providerId="AD" clId="Web-{172AC3D2-57C3-DE3B-7806-CB08576C0149}" dt="2020-10-22T05:12:50.793" v="263" actId="1076"/>
          <ac:grpSpMkLst>
            <pc:docMk/>
            <pc:sldMk cId="3044602424" sldId="397"/>
            <ac:grpSpMk id="24" creationId="{0CB8BF8C-CF0E-4B2A-A89C-0CAB9168782C}"/>
          </ac:grpSpMkLst>
        </pc:grpChg>
        <pc:picChg chg="add del mod">
          <ac:chgData name="Paillacar Oyarzo Paulo Ignacio (Codelco-Casa Matriz)" userId="S::ppail001@codelco.cl::3f9c4ec0-dfff-4bc5-ba03-192dd672e537" providerId="AD" clId="Web-{172AC3D2-57C3-DE3B-7806-CB08576C0149}" dt="2020-10-22T05:00:43.027" v="51"/>
          <ac:picMkLst>
            <pc:docMk/>
            <pc:sldMk cId="3044602424" sldId="397"/>
            <ac:picMk id="5" creationId="{E51B748F-4848-47F3-8F4F-60BF1FE49664}"/>
          </ac:picMkLst>
        </pc:picChg>
        <pc:picChg chg="add del mod">
          <ac:chgData name="Paillacar Oyarzo Paulo Ignacio (Codelco-Casa Matriz)" userId="S::ppail001@codelco.cl::3f9c4ec0-dfff-4bc5-ba03-192dd672e537" providerId="AD" clId="Web-{172AC3D2-57C3-DE3B-7806-CB08576C0149}" dt="2020-10-22T05:02:20.324" v="59"/>
          <ac:picMkLst>
            <pc:docMk/>
            <pc:sldMk cId="3044602424" sldId="397"/>
            <ac:picMk id="6" creationId="{CD66A140-D907-4EFB-A4AB-D75E2FF4B7AF}"/>
          </ac:picMkLst>
        </pc:picChg>
        <pc:picChg chg="add mod">
          <ac:chgData name="Paillacar Oyarzo Paulo Ignacio (Codelco-Casa Matriz)" userId="S::ppail001@codelco.cl::3f9c4ec0-dfff-4bc5-ba03-192dd672e537" providerId="AD" clId="Web-{172AC3D2-57C3-DE3B-7806-CB08576C0149}" dt="2020-10-22T05:03:06.324" v="64" actId="1076"/>
          <ac:picMkLst>
            <pc:docMk/>
            <pc:sldMk cId="3044602424" sldId="397"/>
            <ac:picMk id="7" creationId="{14D47F7A-D31C-4B28-ADB7-41D554B61BD3}"/>
          </ac:picMkLst>
        </pc:picChg>
        <pc:picChg chg="del">
          <ac:chgData name="Paillacar Oyarzo Paulo Ignacio (Codelco-Casa Matriz)" userId="S::ppail001@codelco.cl::3f9c4ec0-dfff-4bc5-ba03-192dd672e537" providerId="AD" clId="Web-{172AC3D2-57C3-DE3B-7806-CB08576C0149}" dt="2020-10-22T04:11:58.971" v="15"/>
          <ac:picMkLst>
            <pc:docMk/>
            <pc:sldMk cId="3044602424" sldId="397"/>
            <ac:picMk id="10" creationId="{12AEA7B8-CF71-4E39-8A5D-E9074D08BD5B}"/>
          </ac:picMkLst>
        </pc:picChg>
        <pc:picChg chg="del">
          <ac:chgData name="Paillacar Oyarzo Paulo Ignacio (Codelco-Casa Matriz)" userId="S::ppail001@codelco.cl::3f9c4ec0-dfff-4bc5-ba03-192dd672e537" providerId="AD" clId="Web-{172AC3D2-57C3-DE3B-7806-CB08576C0149}" dt="2020-10-22T04:12:05.830" v="16"/>
          <ac:picMkLst>
            <pc:docMk/>
            <pc:sldMk cId="3044602424" sldId="397"/>
            <ac:picMk id="12" creationId="{C59AF3B8-9353-4305-93DA-C36D60672271}"/>
          </ac:picMkLst>
        </pc:picChg>
        <pc:cxnChg chg="del">
          <ac:chgData name="Paillacar Oyarzo Paulo Ignacio (Codelco-Casa Matriz)" userId="S::ppail001@codelco.cl::3f9c4ec0-dfff-4bc5-ba03-192dd672e537" providerId="AD" clId="Web-{172AC3D2-57C3-DE3B-7806-CB08576C0149}" dt="2020-10-22T04:13:03.126" v="45"/>
          <ac:cxnSpMkLst>
            <pc:docMk/>
            <pc:sldMk cId="3044602424" sldId="397"/>
            <ac:cxnSpMk id="160" creationId="{D73EAB99-79E5-45C4-97F2-A96966D2F4CD}"/>
          </ac:cxnSpMkLst>
        </pc:cxnChg>
      </pc:sldChg>
      <pc:sldChg chg="addSp delSp modSp">
        <pc:chgData name="Paillacar Oyarzo Paulo Ignacio (Codelco-Casa Matriz)" userId="S::ppail001@codelco.cl::3f9c4ec0-dfff-4bc5-ba03-192dd672e537" providerId="AD" clId="Web-{172AC3D2-57C3-DE3B-7806-CB08576C0149}" dt="2020-10-22T05:20:08.574" v="339"/>
        <pc:sldMkLst>
          <pc:docMk/>
          <pc:sldMk cId="3112561217" sldId="400"/>
        </pc:sldMkLst>
        <pc:spChg chg="mod">
          <ac:chgData name="Paillacar Oyarzo Paulo Ignacio (Codelco-Casa Matriz)" userId="S::ppail001@codelco.cl::3f9c4ec0-dfff-4bc5-ba03-192dd672e537" providerId="AD" clId="Web-{172AC3D2-57C3-DE3B-7806-CB08576C0149}" dt="2020-10-22T05:06:34.558" v="248" actId="14100"/>
          <ac:spMkLst>
            <pc:docMk/>
            <pc:sldMk cId="3112561217" sldId="400"/>
            <ac:spMk id="3" creationId="{E73EE9E8-A3BD-4DC0-BF96-29D33E6230AE}"/>
          </ac:spMkLst>
        </pc:spChg>
        <pc:spChg chg="add mod ord">
          <ac:chgData name="Paillacar Oyarzo Paulo Ignacio (Codelco-Casa Matriz)" userId="S::ppail001@codelco.cl::3f9c4ec0-dfff-4bc5-ba03-192dd672e537" providerId="AD" clId="Web-{172AC3D2-57C3-DE3B-7806-CB08576C0149}" dt="2020-10-22T04:11:44.377" v="14"/>
          <ac:spMkLst>
            <pc:docMk/>
            <pc:sldMk cId="3112561217" sldId="400"/>
            <ac:spMk id="5" creationId="{90296775-5988-4EB0-A33D-62202FC50953}"/>
          </ac:spMkLst>
        </pc:spChg>
        <pc:spChg chg="add mod">
          <ac:chgData name="Paillacar Oyarzo Paulo Ignacio (Codelco-Casa Matriz)" userId="S::ppail001@codelco.cl::3f9c4ec0-dfff-4bc5-ba03-192dd672e537" providerId="AD" clId="Web-{172AC3D2-57C3-DE3B-7806-CB08576C0149}" dt="2020-10-22T05:20:08.574" v="339"/>
          <ac:spMkLst>
            <pc:docMk/>
            <pc:sldMk cId="3112561217" sldId="400"/>
            <ac:spMk id="73" creationId="{F5CC300C-D5CD-411D-96FA-5A1E953DAA6C}"/>
          </ac:spMkLst>
        </pc:spChg>
        <pc:spChg chg="del">
          <ac:chgData name="Paillacar Oyarzo Paulo Ignacio (Codelco-Casa Matriz)" userId="S::ppail001@codelco.cl::3f9c4ec0-dfff-4bc5-ba03-192dd672e537" providerId="AD" clId="Web-{172AC3D2-57C3-DE3B-7806-CB08576C0149}" dt="2020-10-22T05:06:15.496" v="246"/>
          <ac:spMkLst>
            <pc:docMk/>
            <pc:sldMk cId="3112561217" sldId="400"/>
            <ac:spMk id="115" creationId="{49510476-2BFA-43B8-A84B-0896AB257085}"/>
          </ac:spMkLst>
        </pc:spChg>
        <pc:spChg chg="mod">
          <ac:chgData name="Paillacar Oyarzo Paulo Ignacio (Codelco-Casa Matriz)" userId="S::ppail001@codelco.cl::3f9c4ec0-dfff-4bc5-ba03-192dd672e537" providerId="AD" clId="Web-{172AC3D2-57C3-DE3B-7806-CB08576C0149}" dt="2020-10-22T05:06:14.527" v="245" actId="20577"/>
          <ac:spMkLst>
            <pc:docMk/>
            <pc:sldMk cId="3112561217" sldId="400"/>
            <ac:spMk id="123" creationId="{E0FD3CF3-219F-4E79-9E8E-BD27176A231F}"/>
          </ac:spMkLst>
        </pc:spChg>
        <pc:grpChg chg="add mod">
          <ac:chgData name="Paillacar Oyarzo Paulo Ignacio (Codelco-Casa Matriz)" userId="S::ppail001@codelco.cl::3f9c4ec0-dfff-4bc5-ba03-192dd672e537" providerId="AD" clId="Web-{172AC3D2-57C3-DE3B-7806-CB08576C0149}" dt="2020-10-22T04:09:57.972" v="1" actId="1076"/>
          <ac:grpSpMkLst>
            <pc:docMk/>
            <pc:sldMk cId="3112561217" sldId="400"/>
            <ac:grpSpMk id="65" creationId="{00BC5631-73D2-4C0C-BC9F-813595D73A3F}"/>
          </ac:grpSpMkLst>
        </pc:grpChg>
        <pc:grpChg chg="add mod">
          <ac:chgData name="Paillacar Oyarzo Paulo Ignacio (Codelco-Casa Matriz)" userId="S::ppail001@codelco.cl::3f9c4ec0-dfff-4bc5-ba03-192dd672e537" providerId="AD" clId="Web-{172AC3D2-57C3-DE3B-7806-CB08576C0149}" dt="2020-10-22T04:10:19.097" v="5" actId="1076"/>
          <ac:grpSpMkLst>
            <pc:docMk/>
            <pc:sldMk cId="3112561217" sldId="400"/>
            <ac:grpSpMk id="68" creationId="{AD4B2D2C-965E-48C7-88E7-AC06CE496A0C}"/>
          </ac:grpSpMkLst>
        </pc:grpChg>
        <pc:grpChg chg="add del">
          <ac:chgData name="Paillacar Oyarzo Paulo Ignacio (Codelco-Casa Matriz)" userId="S::ppail001@codelco.cl::3f9c4ec0-dfff-4bc5-ba03-192dd672e537" providerId="AD" clId="Web-{172AC3D2-57C3-DE3B-7806-CB08576C0149}" dt="2020-10-22T04:10:11.831" v="4"/>
          <ac:grpSpMkLst>
            <pc:docMk/>
            <pc:sldMk cId="3112561217" sldId="400"/>
            <ac:grpSpMk id="71" creationId="{83418B57-7704-4DA8-B328-7A20D7053035}"/>
          </ac:grpSpMkLst>
        </pc:grpChg>
        <pc:cxnChg chg="add del mod">
          <ac:chgData name="Paillacar Oyarzo Paulo Ignacio (Codelco-Casa Matriz)" userId="S::ppail001@codelco.cl::3f9c4ec0-dfff-4bc5-ba03-192dd672e537" providerId="AD" clId="Web-{172AC3D2-57C3-DE3B-7806-CB08576C0149}" dt="2020-10-22T05:16:43.371" v="331"/>
          <ac:cxnSpMkLst>
            <pc:docMk/>
            <pc:sldMk cId="3112561217" sldId="400"/>
            <ac:cxnSpMk id="72" creationId="{F7817E80-C58A-4019-B921-6CED92C25C10}"/>
          </ac:cxnSpMkLst>
        </pc:cxnChg>
      </pc:sldChg>
    </pc:docChg>
  </pc:docChgLst>
  <pc:docChgLst>
    <pc:chgData name="Henriquez Vejar German (Codelco-Chuquicamata)" userId="S::ghenr008@codelco.cl::c32904c3-c74a-4e06-8b3b-ba3fe8980b59" providerId="AD" clId="Web-{9D858A15-3C42-4DF0-AAB3-E4BC70DCF4EF}"/>
    <pc:docChg chg="modSld">
      <pc:chgData name="Henriquez Vejar German (Codelco-Chuquicamata)" userId="S::ghenr008@codelco.cl::c32904c3-c74a-4e06-8b3b-ba3fe8980b59" providerId="AD" clId="Web-{9D858A15-3C42-4DF0-AAB3-E4BC70DCF4EF}" dt="2021-05-06T12:57:06.342" v="1"/>
      <pc:docMkLst>
        <pc:docMk/>
      </pc:docMkLst>
      <pc:sldChg chg="addSp delSp modSp">
        <pc:chgData name="Henriquez Vejar German (Codelco-Chuquicamata)" userId="S::ghenr008@codelco.cl::c32904c3-c74a-4e06-8b3b-ba3fe8980b59" providerId="AD" clId="Web-{9D858A15-3C42-4DF0-AAB3-E4BC70DCF4EF}" dt="2021-05-06T12:57:06.342" v="1"/>
        <pc:sldMkLst>
          <pc:docMk/>
          <pc:sldMk cId="1975661586" sldId="463"/>
        </pc:sldMkLst>
        <pc:picChg chg="add del mod">
          <ac:chgData name="Henriquez Vejar German (Codelco-Chuquicamata)" userId="S::ghenr008@codelco.cl::c32904c3-c74a-4e06-8b3b-ba3fe8980b59" providerId="AD" clId="Web-{9D858A15-3C42-4DF0-AAB3-E4BC70DCF4EF}" dt="2021-05-06T12:57:06.342" v="1"/>
          <ac:picMkLst>
            <pc:docMk/>
            <pc:sldMk cId="1975661586" sldId="463"/>
            <ac:picMk id="6" creationId="{110F8007-6496-46EB-9B1B-62D62315B0E4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AEB8A33C-31C4-AECC-2B8E-C5486E8461E2}"/>
    <pc:docChg chg="modSld">
      <pc:chgData name="Paillacar Oyarzo Paulo Ignacio (Codelco-Casa Matriz)" userId="S::ppail001@codelco.cl::3f9c4ec0-dfff-4bc5-ba03-192dd672e537" providerId="AD" clId="Web-{AEB8A33C-31C4-AECC-2B8E-C5486E8461E2}" dt="2020-11-05T14:50:48.685" v="76" actId="1076"/>
      <pc:docMkLst>
        <pc:docMk/>
      </pc:docMkLst>
      <pc:sldChg chg="addSp modSp">
        <pc:chgData name="Paillacar Oyarzo Paulo Ignacio (Codelco-Casa Matriz)" userId="S::ppail001@codelco.cl::3f9c4ec0-dfff-4bc5-ba03-192dd672e537" providerId="AD" clId="Web-{AEB8A33C-31C4-AECC-2B8E-C5486E8461E2}" dt="2020-11-05T14:50:48.685" v="76" actId="1076"/>
        <pc:sldMkLst>
          <pc:docMk/>
          <pc:sldMk cId="131058556" sldId="410"/>
        </pc:sldMkLst>
        <pc:spChg chg="mod">
          <ac:chgData name="Paillacar Oyarzo Paulo Ignacio (Codelco-Casa Matriz)" userId="S::ppail001@codelco.cl::3f9c4ec0-dfff-4bc5-ba03-192dd672e537" providerId="AD" clId="Web-{AEB8A33C-31C4-AECC-2B8E-C5486E8461E2}" dt="2020-11-05T14:49:00.537" v="62" actId="20577"/>
          <ac:spMkLst>
            <pc:docMk/>
            <pc:sldMk cId="131058556" sldId="410"/>
            <ac:spMk id="3" creationId="{E73EE9E8-A3BD-4DC0-BF96-29D33E6230AE}"/>
          </ac:spMkLst>
        </pc:spChg>
        <pc:spChg chg="add">
          <ac:chgData name="Paillacar Oyarzo Paulo Ignacio (Codelco-Casa Matriz)" userId="S::ppail001@codelco.cl::3f9c4ec0-dfff-4bc5-ba03-192dd672e537" providerId="AD" clId="Web-{AEB8A33C-31C4-AECC-2B8E-C5486E8461E2}" dt="2020-11-05T14:49:36.227" v="72"/>
          <ac:spMkLst>
            <pc:docMk/>
            <pc:sldMk cId="131058556" sldId="410"/>
            <ac:spMk id="7" creationId="{053DB16E-D05E-4AB4-8C0B-568EB8E1F21E}"/>
          </ac:spMkLst>
        </pc:spChg>
        <pc:spChg chg="add">
          <ac:chgData name="Paillacar Oyarzo Paulo Ignacio (Codelco-Casa Matriz)" userId="S::ppail001@codelco.cl::3f9c4ec0-dfff-4bc5-ba03-192dd672e537" providerId="AD" clId="Web-{AEB8A33C-31C4-AECC-2B8E-C5486E8461E2}" dt="2020-11-05T14:50:42.200" v="73"/>
          <ac:spMkLst>
            <pc:docMk/>
            <pc:sldMk cId="131058556" sldId="410"/>
            <ac:spMk id="8" creationId="{02DE1EFD-2504-4917-A4D8-60E736D3AC71}"/>
          </ac:spMkLst>
        </pc:spChg>
        <pc:picChg chg="add mod">
          <ac:chgData name="Paillacar Oyarzo Paulo Ignacio (Codelco-Casa Matriz)" userId="S::ppail001@codelco.cl::3f9c4ec0-dfff-4bc5-ba03-192dd672e537" providerId="AD" clId="Web-{AEB8A33C-31C4-AECC-2B8E-C5486E8461E2}" dt="2020-11-05T14:50:48.685" v="76" actId="1076"/>
          <ac:picMkLst>
            <pc:docMk/>
            <pc:sldMk cId="131058556" sldId="410"/>
            <ac:picMk id="5" creationId="{49C7CD24-1506-46C0-A566-E209F98EA377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8482BD9F-A016-0000-D422-2AD9906EDC2F}"/>
    <pc:docChg chg="modSld">
      <pc:chgData name="Mery Carrasco Mauricio (Codelco-Casa Matriz)" userId="S::mmery004@codelco.cl::a0378191-74de-4d59-9b37-aa421303daba" providerId="AD" clId="Web-{8482BD9F-A016-0000-D422-2AD9906EDC2F}" dt="2021-04-12T12:26:21.215" v="219" actId="20577"/>
      <pc:docMkLst>
        <pc:docMk/>
      </pc:docMkLst>
      <pc:sldChg chg="addSp delSp modSp">
        <pc:chgData name="Mery Carrasco Mauricio (Codelco-Casa Matriz)" userId="S::mmery004@codelco.cl::a0378191-74de-4d59-9b37-aa421303daba" providerId="AD" clId="Web-{8482BD9F-A016-0000-D422-2AD9906EDC2F}" dt="2021-04-12T12:26:21.215" v="219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8482BD9F-A016-0000-D422-2AD9906EDC2F}" dt="2021-04-12T12:23:40.790" v="167" actId="20577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54" v="126" actId="1076"/>
          <ac:spMkLst>
            <pc:docMk/>
            <pc:sldMk cId="2155997825" sldId="375"/>
            <ac:spMk id="4" creationId="{4E905CBF-F1FF-48C4-AF2B-075028B38C41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3:07.148" v="155"/>
          <ac:spMkLst>
            <pc:docMk/>
            <pc:sldMk cId="2155997825" sldId="375"/>
            <ac:spMk id="6" creationId="{596021E0-8110-4287-9413-677043C0B7BA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4:01.899" v="172" actId="1076"/>
          <ac:spMkLst>
            <pc:docMk/>
            <pc:sldMk cId="2155997825" sldId="375"/>
            <ac:spMk id="7" creationId="{3F067F21-CA09-43F9-8290-4FE824AE6822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0:20.817" v="134" actId="1076"/>
          <ac:spMkLst>
            <pc:docMk/>
            <pc:sldMk cId="2155997825" sldId="375"/>
            <ac:spMk id="17" creationId="{552090A5-F322-40DD-8355-465D65FAB046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2:27.194" v="148"/>
          <ac:spMkLst>
            <pc:docMk/>
            <pc:sldMk cId="2155997825" sldId="375"/>
            <ac:spMk id="18" creationId="{71192C79-FAE5-4BB2-8C6D-43A9BC271C91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0:20.801" v="131" actId="1076"/>
          <ac:spMkLst>
            <pc:docMk/>
            <pc:sldMk cId="2155997825" sldId="375"/>
            <ac:spMk id="19" creationId="{DCBCEB20-8377-429A-B182-F1F2770545F5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0:20.785" v="130" actId="1076"/>
          <ac:spMkLst>
            <pc:docMk/>
            <pc:sldMk cId="2155997825" sldId="375"/>
            <ac:spMk id="20" creationId="{147F67F4-8295-4335-A9A3-880D29F245E0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1:00.802" v="144"/>
          <ac:spMkLst>
            <pc:docMk/>
            <pc:sldMk cId="2155997825" sldId="375"/>
            <ac:spMk id="21" creationId="{F2C3DD8A-EA02-4EBE-A3B5-5C3570C35FDA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1:00.802" v="143"/>
          <ac:spMkLst>
            <pc:docMk/>
            <pc:sldMk cId="2155997825" sldId="375"/>
            <ac:spMk id="22" creationId="{82DDA565-AAFE-4362-B53E-BFA3FFA8467F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1:00.927" v="145" actId="1076"/>
          <ac:spMkLst>
            <pc:docMk/>
            <pc:sldMk cId="2155997825" sldId="375"/>
            <ac:spMk id="23" creationId="{600E4E35-763E-4B81-B795-D3AB27C431DF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1:00.942" v="146" actId="1076"/>
          <ac:spMkLst>
            <pc:docMk/>
            <pc:sldMk cId="2155997825" sldId="375"/>
            <ac:spMk id="24" creationId="{99091804-6602-4E77-B3DC-179EC9B09D1A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4:20.009" v="177" actId="20577"/>
          <ac:spMkLst>
            <pc:docMk/>
            <pc:sldMk cId="2155997825" sldId="375"/>
            <ac:spMk id="27" creationId="{A062FC8C-1E57-4847-93FE-E45C585DFE1C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4:45.400" v="182" actId="1076"/>
          <ac:spMkLst>
            <pc:docMk/>
            <pc:sldMk cId="2155997825" sldId="375"/>
            <ac:spMk id="28" creationId="{E62D2DE4-5353-428C-9AD9-568F12103B8B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5:15.057" v="202" actId="20577"/>
          <ac:spMkLst>
            <pc:docMk/>
            <pc:sldMk cId="2155997825" sldId="375"/>
            <ac:spMk id="29" creationId="{FFED319F-853F-4E15-92EB-438E69BFF0AB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5:33.886" v="206" actId="20577"/>
          <ac:spMkLst>
            <pc:docMk/>
            <pc:sldMk cId="2155997825" sldId="375"/>
            <ac:spMk id="30" creationId="{FC6F8EAE-BF9D-4CD4-A556-34E7503884BF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4:55.416" v="195"/>
          <ac:spMkLst>
            <pc:docMk/>
            <pc:sldMk cId="2155997825" sldId="375"/>
            <ac:spMk id="31" creationId="{66D71BFE-E8D9-4467-AC81-C51ADB09C155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4:55.416" v="194"/>
          <ac:spMkLst>
            <pc:docMk/>
            <pc:sldMk cId="2155997825" sldId="375"/>
            <ac:spMk id="32" creationId="{48AC64A7-22D3-4DC7-975C-CC03676EA34D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5:34.026" v="208" actId="20577"/>
          <ac:spMkLst>
            <pc:docMk/>
            <pc:sldMk cId="2155997825" sldId="375"/>
            <ac:spMk id="33" creationId="{D1447759-3F21-48D6-AB39-027999D4AD5B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4:55.416" v="193"/>
          <ac:spMkLst>
            <pc:docMk/>
            <pc:sldMk cId="2155997825" sldId="375"/>
            <ac:spMk id="34" creationId="{D370EBD0-531E-4729-AF7D-08562DE57AFC}"/>
          </ac:spMkLst>
        </pc:spChg>
        <pc:spChg chg="add del">
          <ac:chgData name="Mery Carrasco Mauricio (Codelco-Casa Matriz)" userId="S::mmery004@codelco.cl::a0378191-74de-4d59-9b37-aa421303daba" providerId="AD" clId="Web-{8482BD9F-A016-0000-D422-2AD9906EDC2F}" dt="2021-04-12T12:24:55.416" v="192"/>
          <ac:spMkLst>
            <pc:docMk/>
            <pc:sldMk cId="2155997825" sldId="375"/>
            <ac:spMk id="35" creationId="{F2504952-517D-4181-9662-F551341E1527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6:21.215" v="219" actId="20577"/>
          <ac:spMkLst>
            <pc:docMk/>
            <pc:sldMk cId="2155997825" sldId="375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832" v="136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23" v="121" actId="1076"/>
          <ac:spMkLst>
            <pc:docMk/>
            <pc:sldMk cId="2155997825" sldId="375"/>
            <ac:spMk id="38" creationId="{E36C8C52-B31C-4588-B407-A9B8FBEAEE6F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6:08.324" v="216" actId="20577"/>
          <ac:spMkLst>
            <pc:docMk/>
            <pc:sldMk cId="2155997825" sldId="375"/>
            <ac:spMk id="39" creationId="{34432FFB-2946-4134-8124-A7CA5A2902DD}"/>
          </ac:spMkLst>
        </pc:spChg>
        <pc:spChg chg="add mod">
          <ac:chgData name="Mery Carrasco Mauricio (Codelco-Casa Matriz)" userId="S::mmery004@codelco.cl::a0378191-74de-4d59-9b37-aa421303daba" providerId="AD" clId="Web-{8482BD9F-A016-0000-D422-2AD9906EDC2F}" dt="2021-04-12T12:25:58.308" v="213" actId="20577"/>
          <ac:spMkLst>
            <pc:docMk/>
            <pc:sldMk cId="2155997825" sldId="375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70" v="127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39" v="122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39" v="123" actId="1076"/>
          <ac:spMkLst>
            <pc:docMk/>
            <pc:sldMk cId="2155997825" sldId="37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70" v="128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832" v="135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39" v="124" actId="1076"/>
          <ac:spMkLst>
            <pc:docMk/>
            <pc:sldMk cId="2155997825" sldId="37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801" v="132" actId="1076"/>
          <ac:spMkLst>
            <pc:docMk/>
            <pc:sldMk cId="2155997825" sldId="37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8482BD9F-A016-0000-D422-2AD9906EDC2F}" dt="2021-04-12T12:20:20.785" v="129" actId="1076"/>
          <ac:spMkLst>
            <pc:docMk/>
            <pc:sldMk cId="2155997825" sldId="375"/>
            <ac:spMk id="51" creationId="{F913A60D-2783-4406-9452-4739CB932FC8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00C4C99F-80F7-0000-C3F1-03D1CE8F5898}"/>
    <pc:docChg chg="addSld delSld modSld sldOrd modMainMaster">
      <pc:chgData name="Mery Carrasco Mauricio (Codelco-Casa Matriz)" userId="S::mmery004@codelco.cl::a0378191-74de-4d59-9b37-aa421303daba" providerId="AD" clId="Web-{00C4C99F-80F7-0000-C3F1-03D1CE8F5898}" dt="2021-05-20T15:01:54.254" v="134"/>
      <pc:docMkLst>
        <pc:docMk/>
      </pc:docMkLst>
      <pc:sldChg chg="delSp">
        <pc:chgData name="Mery Carrasco Mauricio (Codelco-Casa Matriz)" userId="S::mmery004@codelco.cl::a0378191-74de-4d59-9b37-aa421303daba" providerId="AD" clId="Web-{00C4C99F-80F7-0000-C3F1-03D1CE8F5898}" dt="2021-05-20T14:24:27.096" v="71"/>
        <pc:sldMkLst>
          <pc:docMk/>
          <pc:sldMk cId="2155997825" sldId="375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4:23.861" v="70"/>
          <ac:spMkLst>
            <pc:docMk/>
            <pc:sldMk cId="2155997825" sldId="375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23.861" v="69"/>
          <ac:spMkLst>
            <pc:docMk/>
            <pc:sldMk cId="2155997825" sldId="375"/>
            <ac:spMk id="4" creationId="{4E905CBF-F1FF-48C4-AF2B-075028B38C41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27.096" v="71"/>
          <ac:spMkLst>
            <pc:docMk/>
            <pc:sldMk cId="2155997825" sldId="375"/>
            <ac:spMk id="39" creationId="{34432FFB-2946-4134-8124-A7CA5A2902DD}"/>
          </ac:spMkLst>
        </pc:spChg>
      </pc:sldChg>
      <pc:sldChg chg="modSp">
        <pc:chgData name="Mery Carrasco Mauricio (Codelco-Casa Matriz)" userId="S::mmery004@codelco.cl::a0378191-74de-4d59-9b37-aa421303daba" providerId="AD" clId="Web-{00C4C99F-80F7-0000-C3F1-03D1CE8F5898}" dt="2021-05-20T14:25:55.363" v="108" actId="2057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00C4C99F-80F7-0000-C3F1-03D1CE8F5898}" dt="2021-05-20T14:22:23.437" v="29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5:55.363" v="108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29:15.446" v="111" actId="1076"/>
        <pc:sldMkLst>
          <pc:docMk/>
          <pc:sldMk cId="542542969" sldId="518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4:33.627" v="74"/>
          <ac:spMkLst>
            <pc:docMk/>
            <pc:sldMk cId="542542969" sldId="518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33.627" v="73"/>
          <ac:spMkLst>
            <pc:docMk/>
            <pc:sldMk cId="542542969" sldId="518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15.430" v="109" actId="1076"/>
          <ac:spMkLst>
            <pc:docMk/>
            <pc:sldMk cId="542542969" sldId="518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15.430" v="110" actId="1076"/>
          <ac:spMkLst>
            <pc:docMk/>
            <pc:sldMk cId="542542969" sldId="518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33.627" v="72"/>
          <ac:spMkLst>
            <pc:docMk/>
            <pc:sldMk cId="542542969" sldId="518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15.446" v="111" actId="1076"/>
          <ac:spMkLst>
            <pc:docMk/>
            <pc:sldMk cId="542542969" sldId="518"/>
            <ac:spMk id="45" creationId="{5CF579C1-133B-4D95-88C4-B4F3C77226AF}"/>
          </ac:spMkLst>
        </pc:spChg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29:31.743" v="114" actId="1076"/>
        <pc:sldMkLst>
          <pc:docMk/>
          <pc:sldMk cId="1655563711" sldId="519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4:42.065" v="77"/>
          <ac:spMkLst>
            <pc:docMk/>
            <pc:sldMk cId="1655563711" sldId="519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42.065" v="76"/>
          <ac:spMkLst>
            <pc:docMk/>
            <pc:sldMk cId="1655563711" sldId="519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31.727" v="112" actId="1076"/>
          <ac:spMkLst>
            <pc:docMk/>
            <pc:sldMk cId="1655563711" sldId="519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31.727" v="113" actId="1076"/>
          <ac:spMkLst>
            <pc:docMk/>
            <pc:sldMk cId="1655563711" sldId="519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42.065" v="75"/>
          <ac:spMkLst>
            <pc:docMk/>
            <pc:sldMk cId="1655563711" sldId="519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31.743" v="114" actId="1076"/>
          <ac:spMkLst>
            <pc:docMk/>
            <pc:sldMk cId="1655563711" sldId="519"/>
            <ac:spMk id="45" creationId="{5CF579C1-133B-4D95-88C4-B4F3C77226AF}"/>
          </ac:spMkLst>
        </pc:spChg>
      </pc:sldChg>
      <pc:sldChg chg="del">
        <pc:chgData name="Mery Carrasco Mauricio (Codelco-Casa Matriz)" userId="S::mmery004@codelco.cl::a0378191-74de-4d59-9b37-aa421303daba" providerId="AD" clId="Web-{00C4C99F-80F7-0000-C3F1-03D1CE8F5898}" dt="2021-05-20T15:01:54.254" v="134"/>
        <pc:sldMkLst>
          <pc:docMk/>
          <pc:sldMk cId="1450730610" sldId="520"/>
        </pc:sldMkLst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29:42.665" v="117" actId="1076"/>
        <pc:sldMkLst>
          <pc:docMk/>
          <pc:sldMk cId="1095406074" sldId="521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4:52.565" v="80"/>
          <ac:spMkLst>
            <pc:docMk/>
            <pc:sldMk cId="1095406074" sldId="521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52.565" v="79"/>
          <ac:spMkLst>
            <pc:docMk/>
            <pc:sldMk cId="1095406074" sldId="521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42.650" v="115" actId="1076"/>
          <ac:spMkLst>
            <pc:docMk/>
            <pc:sldMk cId="1095406074" sldId="521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42.665" v="116" actId="1076"/>
          <ac:spMkLst>
            <pc:docMk/>
            <pc:sldMk cId="1095406074" sldId="521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52.565" v="78"/>
          <ac:spMkLst>
            <pc:docMk/>
            <pc:sldMk cId="1095406074" sldId="521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42.665" v="117" actId="1076"/>
          <ac:spMkLst>
            <pc:docMk/>
            <pc:sldMk cId="1095406074" sldId="521"/>
            <ac:spMk id="45" creationId="{5CF579C1-133B-4D95-88C4-B4F3C77226AF}"/>
          </ac:spMkLst>
        </pc:spChg>
      </pc:sldChg>
      <pc:sldChg chg="addSp modSp">
        <pc:chgData name="Mery Carrasco Mauricio (Codelco-Casa Matriz)" userId="S::mmery004@codelco.cl::a0378191-74de-4d59-9b37-aa421303daba" providerId="AD" clId="Web-{00C4C99F-80F7-0000-C3F1-03D1CE8F5898}" dt="2021-05-20T14:09:15.841" v="9" actId="1076"/>
        <pc:sldMkLst>
          <pc:docMk/>
          <pc:sldMk cId="2744369828" sldId="522"/>
        </pc:sldMkLst>
        <pc:spChg chg="add mod">
          <ac:chgData name="Mery Carrasco Mauricio (Codelco-Casa Matriz)" userId="S::mmery004@codelco.cl::a0378191-74de-4d59-9b37-aa421303daba" providerId="AD" clId="Web-{00C4C99F-80F7-0000-C3F1-03D1CE8F5898}" dt="2021-05-20T14:09:15.841" v="9" actId="1076"/>
          <ac:spMkLst>
            <pc:docMk/>
            <pc:sldMk cId="2744369828" sldId="522"/>
            <ac:spMk id="5" creationId="{784B8CA5-49E2-4475-A3D0-1140D637CEE6}"/>
          </ac:spMkLst>
        </pc:spChg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29:54.259" v="120" actId="1076"/>
        <pc:sldMkLst>
          <pc:docMk/>
          <pc:sldMk cId="2681686832" sldId="523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4:59.565" v="83"/>
          <ac:spMkLst>
            <pc:docMk/>
            <pc:sldMk cId="2681686832" sldId="523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59.550" v="82"/>
          <ac:spMkLst>
            <pc:docMk/>
            <pc:sldMk cId="2681686832" sldId="523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54.228" v="118" actId="1076"/>
          <ac:spMkLst>
            <pc:docMk/>
            <pc:sldMk cId="2681686832" sldId="523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54.244" v="119" actId="1076"/>
          <ac:spMkLst>
            <pc:docMk/>
            <pc:sldMk cId="2681686832" sldId="523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4:59.550" v="81"/>
          <ac:spMkLst>
            <pc:docMk/>
            <pc:sldMk cId="2681686832" sldId="523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29:54.259" v="120" actId="1076"/>
          <ac:spMkLst>
            <pc:docMk/>
            <pc:sldMk cId="2681686832" sldId="523"/>
            <ac:spMk id="45" creationId="{5CF579C1-133B-4D95-88C4-B4F3C77226AF}"/>
          </ac:spMkLst>
        </pc:spChg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30:10.572" v="123" actId="1076"/>
        <pc:sldMkLst>
          <pc:docMk/>
          <pc:sldMk cId="3539041446" sldId="525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5:08.003" v="86"/>
          <ac:spMkLst>
            <pc:docMk/>
            <pc:sldMk cId="3539041446" sldId="525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5:08.003" v="85"/>
          <ac:spMkLst>
            <pc:docMk/>
            <pc:sldMk cId="3539041446" sldId="52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10.556" v="121" actId="1076"/>
          <ac:spMkLst>
            <pc:docMk/>
            <pc:sldMk cId="3539041446" sldId="52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10.556" v="122" actId="1076"/>
          <ac:spMkLst>
            <pc:docMk/>
            <pc:sldMk cId="3539041446" sldId="525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5:07.987" v="84"/>
          <ac:spMkLst>
            <pc:docMk/>
            <pc:sldMk cId="3539041446" sldId="525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10.572" v="123" actId="1076"/>
          <ac:spMkLst>
            <pc:docMk/>
            <pc:sldMk cId="3539041446" sldId="525"/>
            <ac:spMk id="45" creationId="{5CF579C1-133B-4D95-88C4-B4F3C77226AF}"/>
          </ac:spMkLst>
        </pc:spChg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30:28.776" v="126" actId="1076"/>
        <pc:sldMkLst>
          <pc:docMk/>
          <pc:sldMk cId="1795708575" sldId="527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5:14.909" v="88"/>
          <ac:spMkLst>
            <pc:docMk/>
            <pc:sldMk cId="1795708575" sldId="527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5:14.909" v="87"/>
          <ac:spMkLst>
            <pc:docMk/>
            <pc:sldMk cId="1795708575" sldId="527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28.744" v="124" actId="1076"/>
          <ac:spMkLst>
            <pc:docMk/>
            <pc:sldMk cId="1795708575" sldId="527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28.760" v="125" actId="1076"/>
          <ac:spMkLst>
            <pc:docMk/>
            <pc:sldMk cId="1795708575" sldId="527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5:18.659" v="89"/>
          <ac:spMkLst>
            <pc:docMk/>
            <pc:sldMk cId="1795708575" sldId="527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28.776" v="126" actId="1076"/>
          <ac:spMkLst>
            <pc:docMk/>
            <pc:sldMk cId="1795708575" sldId="527"/>
            <ac:spMk id="45" creationId="{5CF579C1-133B-4D95-88C4-B4F3C77226AF}"/>
          </ac:spMkLst>
        </pc:spChg>
      </pc:sldChg>
      <pc:sldChg chg="mod modShow">
        <pc:chgData name="Mery Carrasco Mauricio (Codelco-Casa Matriz)" userId="S::mmery004@codelco.cl::a0378191-74de-4d59-9b37-aa421303daba" providerId="AD" clId="Web-{00C4C99F-80F7-0000-C3F1-03D1CE8F5898}" dt="2021-05-20T14:25:31.894" v="90"/>
        <pc:sldMkLst>
          <pc:docMk/>
          <pc:sldMk cId="2435291665" sldId="529"/>
        </pc:sldMkLst>
      </pc:sldChg>
      <pc:sldChg chg="mod modShow">
        <pc:chgData name="Mery Carrasco Mauricio (Codelco-Casa Matriz)" userId="S::mmery004@codelco.cl::a0378191-74de-4d59-9b37-aa421303daba" providerId="AD" clId="Web-{00C4C99F-80F7-0000-C3F1-03D1CE8F5898}" dt="2021-05-20T14:23:48.704" v="68"/>
        <pc:sldMkLst>
          <pc:docMk/>
          <pc:sldMk cId="1296061766" sldId="530"/>
        </pc:sldMkLst>
      </pc:sldChg>
      <pc:sldChg chg="delSp modSp">
        <pc:chgData name="Mery Carrasco Mauricio (Codelco-Casa Matriz)" userId="S::mmery004@codelco.cl::a0378191-74de-4d59-9b37-aa421303daba" providerId="AD" clId="Web-{00C4C99F-80F7-0000-C3F1-03D1CE8F5898}" dt="2021-05-20T14:30:42.432" v="129" actId="1076"/>
        <pc:sldMkLst>
          <pc:docMk/>
          <pc:sldMk cId="2547109870" sldId="531"/>
        </pc:sldMkLst>
        <pc:spChg chg="del">
          <ac:chgData name="Mery Carrasco Mauricio (Codelco-Casa Matriz)" userId="S::mmery004@codelco.cl::a0378191-74de-4d59-9b37-aa421303daba" providerId="AD" clId="Web-{00C4C99F-80F7-0000-C3F1-03D1CE8F5898}" dt="2021-05-20T14:25:40.785" v="93"/>
          <ac:spMkLst>
            <pc:docMk/>
            <pc:sldMk cId="2547109870" sldId="531"/>
            <ac:spMk id="3" creationId="{4248B998-1688-4898-9628-8FF1A9F36A28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5:40.785" v="92"/>
          <ac:spMkLst>
            <pc:docMk/>
            <pc:sldMk cId="2547109870" sldId="531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42.401" v="127" actId="1076"/>
          <ac:spMkLst>
            <pc:docMk/>
            <pc:sldMk cId="2547109870" sldId="531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42.416" v="128" actId="1076"/>
          <ac:spMkLst>
            <pc:docMk/>
            <pc:sldMk cId="2547109870" sldId="531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00C4C99F-80F7-0000-C3F1-03D1CE8F5898}" dt="2021-05-20T14:25:40.785" v="91"/>
          <ac:spMkLst>
            <pc:docMk/>
            <pc:sldMk cId="2547109870" sldId="531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00C4C99F-80F7-0000-C3F1-03D1CE8F5898}" dt="2021-05-20T14:30:42.432" v="129" actId="1076"/>
          <ac:spMkLst>
            <pc:docMk/>
            <pc:sldMk cId="2547109870" sldId="531"/>
            <ac:spMk id="45" creationId="{5CF579C1-133B-4D95-88C4-B4F3C77226AF}"/>
          </ac:spMkLst>
        </pc:spChg>
      </pc:sldChg>
      <pc:sldChg chg="add ord">
        <pc:chgData name="Mery Carrasco Mauricio (Codelco-Casa Matriz)" userId="S::mmery004@codelco.cl::a0378191-74de-4d59-9b37-aa421303daba" providerId="AD" clId="Web-{00C4C99F-80F7-0000-C3F1-03D1CE8F5898}" dt="2021-05-20T15:00:28.565" v="132"/>
        <pc:sldMkLst>
          <pc:docMk/>
          <pc:sldMk cId="1637169685" sldId="532"/>
        </pc:sldMkLst>
      </pc:sldChg>
      <pc:sldChg chg="add ord">
        <pc:chgData name="Mery Carrasco Mauricio (Codelco-Casa Matriz)" userId="S::mmery004@codelco.cl::a0378191-74de-4d59-9b37-aa421303daba" providerId="AD" clId="Web-{00C4C99F-80F7-0000-C3F1-03D1CE8F5898}" dt="2021-05-20T15:00:28.565" v="133"/>
        <pc:sldMkLst>
          <pc:docMk/>
          <pc:sldMk cId="3057930123" sldId="533"/>
        </pc:sldMkLst>
      </pc:sldChg>
      <pc:sldMasterChg chg="addSldLayout">
        <pc:chgData name="Mery Carrasco Mauricio (Codelco-Casa Matriz)" userId="S::mmery004@codelco.cl::a0378191-74de-4d59-9b37-aa421303daba" providerId="AD" clId="Web-{00C4C99F-80F7-0000-C3F1-03D1CE8F5898}" dt="2021-05-20T15:00:06.861" v="130"/>
        <pc:sldMasterMkLst>
          <pc:docMk/>
          <pc:sldMasterMk cId="1483736372" sldId="2147483899"/>
        </pc:sldMasterMkLst>
        <pc:sldLayoutChg chg="add">
          <pc:chgData name="Mery Carrasco Mauricio (Codelco-Casa Matriz)" userId="S::mmery004@codelco.cl::a0378191-74de-4d59-9b37-aa421303daba" providerId="AD" clId="Web-{00C4C99F-80F7-0000-C3F1-03D1CE8F5898}" dt="2021-05-20T15:00:06.861" v="130"/>
          <pc:sldLayoutMkLst>
            <pc:docMk/>
            <pc:sldMasterMk cId="1483736372" sldId="2147483899"/>
            <pc:sldLayoutMk cId="1832059893" sldId="2147484116"/>
          </pc:sldLayoutMkLst>
        </pc:sldLayoutChg>
      </pc:sldMasterChg>
      <pc:sldMasterChg chg="modSldLayout">
        <pc:chgData name="Mery Carrasco Mauricio (Codelco-Casa Matriz)" userId="S::mmery004@codelco.cl::a0378191-74de-4d59-9b37-aa421303daba" providerId="AD" clId="Web-{00C4C99F-80F7-0000-C3F1-03D1CE8F5898}" dt="2021-05-20T15:00:06.861" v="130"/>
        <pc:sldMasterMkLst>
          <pc:docMk/>
          <pc:sldMasterMk cId="2046735510" sldId="2147484098"/>
        </pc:sldMasterMkLst>
        <pc:sldLayoutChg chg="replId">
          <pc:chgData name="Mery Carrasco Mauricio (Codelco-Casa Matriz)" userId="S::mmery004@codelco.cl::a0378191-74de-4d59-9b37-aa421303daba" providerId="AD" clId="Web-{00C4C99F-80F7-0000-C3F1-03D1CE8F5898}" dt="2021-05-20T15:00:06.861" v="130"/>
          <pc:sldLayoutMkLst>
            <pc:docMk/>
            <pc:sldMasterMk cId="2046735510" sldId="2147484098"/>
            <pc:sldLayoutMk cId="4293302494" sldId="2147484426"/>
          </pc:sldLayoutMkLst>
        </pc:sldLayoutChg>
      </pc:sldMasterChg>
    </pc:docChg>
  </pc:docChgLst>
  <pc:docChgLst>
    <pc:chgData name="Mery Carrasco Mauricio (Codelco-Casa Matriz)" userId="S::mmery004@codelco.cl::a0378191-74de-4d59-9b37-aa421303daba" providerId="AD" clId="Web-{2FDF2D6F-2958-A289-D30A-2799FC18F585}"/>
    <pc:docChg chg="delSld modSld">
      <pc:chgData name="Mery Carrasco Mauricio (Codelco-Casa Matriz)" userId="S::mmery004@codelco.cl::a0378191-74de-4d59-9b37-aa421303daba" providerId="AD" clId="Web-{2FDF2D6F-2958-A289-D30A-2799FC18F585}" dt="2021-08-03T17:08:16.396" v="7"/>
      <pc:docMkLst>
        <pc:docMk/>
      </pc:docMkLst>
      <pc:sldChg chg="modSp del">
        <pc:chgData name="Mery Carrasco Mauricio (Codelco-Casa Matriz)" userId="S::mmery004@codelco.cl::a0378191-74de-4d59-9b37-aa421303daba" providerId="AD" clId="Web-{2FDF2D6F-2958-A289-D30A-2799FC18F585}" dt="2021-08-03T17:08:16.396" v="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2FDF2D6F-2958-A289-D30A-2799FC18F585}" dt="2021-08-03T17:03:25.404" v="4" actId="20577"/>
          <ac:spMkLst>
            <pc:docMk/>
            <pc:sldMk cId="474715341" sldId="344"/>
            <ac:spMk id="14" creationId="{44B4F61D-2A3E-494F-96A3-1A6AF2B837AC}"/>
          </ac:spMkLst>
        </pc:spChg>
      </pc:sldChg>
      <pc:sldChg chg="delSp">
        <pc:chgData name="Mery Carrasco Mauricio (Codelco-Casa Matriz)" userId="S::mmery004@codelco.cl::a0378191-74de-4d59-9b37-aa421303daba" providerId="AD" clId="Web-{2FDF2D6F-2958-A289-D30A-2799FC18F585}" dt="2021-08-03T17:03:58.061" v="6"/>
        <pc:sldMkLst>
          <pc:docMk/>
          <pc:sldMk cId="2155997825" sldId="375"/>
        </pc:sldMkLst>
        <pc:spChg chg="del">
          <ac:chgData name="Mery Carrasco Mauricio (Codelco-Casa Matriz)" userId="S::mmery004@codelco.cl::a0378191-74de-4d59-9b37-aa421303daba" providerId="AD" clId="Web-{2FDF2D6F-2958-A289-D30A-2799FC18F585}" dt="2021-08-03T17:03:43.076" v="5"/>
          <ac:spMkLst>
            <pc:docMk/>
            <pc:sldMk cId="2155997825" sldId="375"/>
            <ac:spMk id="35" creationId="{7E1174E0-6994-428E-A1D9-F5DD894C8BC8}"/>
          </ac:spMkLst>
        </pc:spChg>
        <pc:spChg chg="del">
          <ac:chgData name="Mery Carrasco Mauricio (Codelco-Casa Matriz)" userId="S::mmery004@codelco.cl::a0378191-74de-4d59-9b37-aa421303daba" providerId="AD" clId="Web-{2FDF2D6F-2958-A289-D30A-2799FC18F585}" dt="2021-08-03T17:03:58.061" v="6"/>
          <ac:spMkLst>
            <pc:docMk/>
            <pc:sldMk cId="2155997825" sldId="375"/>
            <ac:spMk id="36" creationId="{0BFBA08B-FE84-4038-81E0-1E030F6F9189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2984BE9F-708B-0000-D422-2EB6B1DAB9A1}"/>
    <pc:docChg chg="addSld delSld modSld sldOrd">
      <pc:chgData name="Mery Carrasco Mauricio (Codelco-Casa Matriz)" userId="S::mmery004@codelco.cl::a0378191-74de-4d59-9b37-aa421303daba" providerId="AD" clId="Web-{2984BE9F-708B-0000-D422-2EB6B1DAB9A1}" dt="2021-04-15T15:40:53.947" v="92"/>
      <pc:docMkLst>
        <pc:docMk/>
      </pc:docMkLst>
      <pc:sldChg chg="addSp modSp">
        <pc:chgData name="Mery Carrasco Mauricio (Codelco-Casa Matriz)" userId="S::mmery004@codelco.cl::a0378191-74de-4d59-9b37-aa421303daba" providerId="AD" clId="Web-{2984BE9F-708B-0000-D422-2EB6B1DAB9A1}" dt="2021-04-15T15:23:24.214" v="42"/>
        <pc:sldMkLst>
          <pc:docMk/>
          <pc:sldMk cId="772336465" sldId="346"/>
        </pc:sldMkLst>
        <pc:spChg chg="add mod">
          <ac:chgData name="Mery Carrasco Mauricio (Codelco-Casa Matriz)" userId="S::mmery004@codelco.cl::a0378191-74de-4d59-9b37-aa421303daba" providerId="AD" clId="Web-{2984BE9F-708B-0000-D422-2EB6B1DAB9A1}" dt="2021-04-15T15:23:24.214" v="42"/>
          <ac:spMkLst>
            <pc:docMk/>
            <pc:sldMk cId="772336465" sldId="346"/>
            <ac:spMk id="4" creationId="{74807A95-85B1-4D64-88E0-3F608E746914}"/>
          </ac:spMkLst>
        </pc:spChg>
        <pc:spChg chg="mod">
          <ac:chgData name="Mery Carrasco Mauricio (Codelco-Casa Matriz)" userId="S::mmery004@codelco.cl::a0378191-74de-4d59-9b37-aa421303daba" providerId="AD" clId="Web-{2984BE9F-708B-0000-D422-2EB6B1DAB9A1}" dt="2021-04-15T15:14:40.981" v="16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del">
        <pc:chgData name="Mery Carrasco Mauricio (Codelco-Casa Matriz)" userId="S::mmery004@codelco.cl::a0378191-74de-4d59-9b37-aa421303daba" providerId="AD" clId="Web-{2984BE9F-708B-0000-D422-2EB6B1DAB9A1}" dt="2021-04-15T15:15:32.560" v="17"/>
        <pc:sldMkLst>
          <pc:docMk/>
          <pc:sldMk cId="3055505354" sldId="441"/>
        </pc:sldMkLst>
      </pc:sldChg>
      <pc:sldChg chg="addSp delSp modSp del">
        <pc:chgData name="Mery Carrasco Mauricio (Codelco-Casa Matriz)" userId="S::mmery004@codelco.cl::a0378191-74de-4d59-9b37-aa421303daba" providerId="AD" clId="Web-{2984BE9F-708B-0000-D422-2EB6B1DAB9A1}" dt="2021-04-15T15:31:24.541" v="77"/>
        <pc:sldMkLst>
          <pc:docMk/>
          <pc:sldMk cId="2592077390" sldId="450"/>
        </pc:sldMkLst>
        <pc:spChg chg="add">
          <ac:chgData name="Mery Carrasco Mauricio (Codelco-Casa Matriz)" userId="S::mmery004@codelco.cl::a0378191-74de-4d59-9b37-aa421303daba" providerId="AD" clId="Web-{2984BE9F-708B-0000-D422-2EB6B1DAB9A1}" dt="2021-04-15T15:30:03.226" v="73"/>
          <ac:spMkLst>
            <pc:docMk/>
            <pc:sldMk cId="2592077390" sldId="450"/>
            <ac:spMk id="4" creationId="{3FE4CB0E-9BA2-4769-883B-C0C93DAE0077}"/>
          </ac:spMkLst>
        </pc:spChg>
        <pc:picChg chg="add del mod">
          <ac:chgData name="Mery Carrasco Mauricio (Codelco-Casa Matriz)" userId="S::mmery004@codelco.cl::a0378191-74de-4d59-9b37-aa421303daba" providerId="AD" clId="Web-{2984BE9F-708B-0000-D422-2EB6B1DAB9A1}" dt="2021-04-15T15:18:58.504" v="23"/>
          <ac:picMkLst>
            <pc:docMk/>
            <pc:sldMk cId="2592077390" sldId="450"/>
            <ac:picMk id="2" creationId="{92D3B42A-847A-4ACF-A946-82D05BB77BAF}"/>
          </ac:picMkLst>
        </pc:picChg>
        <pc:picChg chg="add del mod">
          <ac:chgData name="Mery Carrasco Mauricio (Codelco-Casa Matriz)" userId="S::mmery004@codelco.cl::a0378191-74de-4d59-9b37-aa421303daba" providerId="AD" clId="Web-{2984BE9F-708B-0000-D422-2EB6B1DAB9A1}" dt="2021-04-15T15:18:37.128" v="22"/>
          <ac:picMkLst>
            <pc:docMk/>
            <pc:sldMk cId="2592077390" sldId="450"/>
            <ac:picMk id="3" creationId="{E95FC67B-5D1D-4F83-A0AE-EA8CF441F76F}"/>
          </ac:picMkLst>
        </pc:picChg>
      </pc:sldChg>
      <pc:sldChg chg="addSp delSp modSp del">
        <pc:chgData name="Mery Carrasco Mauricio (Codelco-Casa Matriz)" userId="S::mmery004@codelco.cl::a0378191-74de-4d59-9b37-aa421303daba" providerId="AD" clId="Web-{2984BE9F-708B-0000-D422-2EB6B1DAB9A1}" dt="2021-04-15T15:24:16.669" v="44"/>
        <pc:sldMkLst>
          <pc:docMk/>
          <pc:sldMk cId="3482241599" sldId="451"/>
        </pc:sldMkLst>
        <pc:picChg chg="add del mod">
          <ac:chgData name="Mery Carrasco Mauricio (Codelco-Casa Matriz)" userId="S::mmery004@codelco.cl::a0378191-74de-4d59-9b37-aa421303daba" providerId="AD" clId="Web-{2984BE9F-708B-0000-D422-2EB6B1DAB9A1}" dt="2021-04-15T15:17:52.611" v="19"/>
          <ac:picMkLst>
            <pc:docMk/>
            <pc:sldMk cId="3482241599" sldId="451"/>
            <ac:picMk id="10" creationId="{8CF85F8F-7FC6-4CE2-8F3E-57B018BB9E1D}"/>
          </ac:picMkLst>
        </pc:picChg>
      </pc:sldChg>
      <pc:sldChg chg="del">
        <pc:chgData name="Mery Carrasco Mauricio (Codelco-Casa Matriz)" userId="S::mmery004@codelco.cl::a0378191-74de-4d59-9b37-aa421303daba" providerId="AD" clId="Web-{2984BE9F-708B-0000-D422-2EB6B1DAB9A1}" dt="2021-04-15T15:33:48.873" v="80"/>
        <pc:sldMkLst>
          <pc:docMk/>
          <pc:sldMk cId="1951926487" sldId="464"/>
        </pc:sldMkLst>
      </pc:sldChg>
      <pc:sldChg chg="modSp add ord">
        <pc:chgData name="Mery Carrasco Mauricio (Codelco-Casa Matriz)" userId="S::mmery004@codelco.cl::a0378191-74de-4d59-9b37-aa421303daba" providerId="AD" clId="Web-{2984BE9F-708B-0000-D422-2EB6B1DAB9A1}" dt="2021-04-15T15:25:22.952" v="46"/>
        <pc:sldMkLst>
          <pc:docMk/>
          <pc:sldMk cId="3619697702" sldId="465"/>
        </pc:sldMkLst>
        <pc:spChg chg="mod">
          <ac:chgData name="Mery Carrasco Mauricio (Codelco-Casa Matriz)" userId="S::mmery004@codelco.cl::a0378191-74de-4d59-9b37-aa421303daba" providerId="AD" clId="Web-{2984BE9F-708B-0000-D422-2EB6B1DAB9A1}" dt="2021-04-15T15:20:24.069" v="27" actId="1076"/>
          <ac:spMkLst>
            <pc:docMk/>
            <pc:sldMk cId="3619697702" sldId="465"/>
            <ac:spMk id="25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2984BE9F-708B-0000-D422-2EB6B1DAB9A1}" dt="2021-04-15T15:20:15.475" v="26" actId="1076"/>
          <ac:spMkLst>
            <pc:docMk/>
            <pc:sldMk cId="3619697702" sldId="465"/>
            <ac:spMk id="145" creationId="{3F302836-4F68-4641-BD29-64B0A72CA38E}"/>
          </ac:spMkLst>
        </pc:spChg>
      </pc:sldChg>
      <pc:sldChg chg="addSp delSp modSp add">
        <pc:chgData name="Mery Carrasco Mauricio (Codelco-Casa Matriz)" userId="S::mmery004@codelco.cl::a0378191-74de-4d59-9b37-aa421303daba" providerId="AD" clId="Web-{2984BE9F-708B-0000-D422-2EB6B1DAB9A1}" dt="2021-04-15T15:26:31.642" v="57"/>
        <pc:sldMkLst>
          <pc:docMk/>
          <pc:sldMk cId="3720476170" sldId="470"/>
        </pc:sldMkLst>
        <pc:spChg chg="add">
          <ac:chgData name="Mery Carrasco Mauricio (Codelco-Casa Matriz)" userId="S::mmery004@codelco.cl::a0378191-74de-4d59-9b37-aa421303daba" providerId="AD" clId="Web-{2984BE9F-708B-0000-D422-2EB6B1DAB9A1}" dt="2021-04-15T15:26:29.110" v="55"/>
          <ac:spMkLst>
            <pc:docMk/>
            <pc:sldMk cId="3720476170" sldId="470"/>
            <ac:spMk id="6" creationId="{DC93667E-FCD0-48FA-8C6E-34C7CF578523}"/>
          </ac:spMkLst>
        </pc:spChg>
        <pc:spChg chg="add del">
          <ac:chgData name="Mery Carrasco Mauricio (Codelco-Casa Matriz)" userId="S::mmery004@codelco.cl::a0378191-74de-4d59-9b37-aa421303daba" providerId="AD" clId="Web-{2984BE9F-708B-0000-D422-2EB6B1DAB9A1}" dt="2021-04-15T15:26:31.642" v="57"/>
          <ac:spMkLst>
            <pc:docMk/>
            <pc:sldMk cId="3720476170" sldId="470"/>
            <ac:spMk id="9" creationId="{F49D5924-7C60-4C9E-A0DB-4DFE063139BF}"/>
          </ac:spMkLst>
        </pc:spChg>
        <pc:spChg chg="add del">
          <ac:chgData name="Mery Carrasco Mauricio (Codelco-Casa Matriz)" userId="S::mmery004@codelco.cl::a0378191-74de-4d59-9b37-aa421303daba" providerId="AD" clId="Web-{2984BE9F-708B-0000-D422-2EB6B1DAB9A1}" dt="2021-04-15T15:25:47.781" v="51"/>
          <ac:spMkLst>
            <pc:docMk/>
            <pc:sldMk cId="3720476170" sldId="470"/>
            <ac:spMk id="32" creationId="{C8A41F0F-F432-4D21-B881-E6DB73448C3C}"/>
          </ac:spMkLst>
        </pc:spChg>
        <pc:spChg chg="add mod">
          <ac:chgData name="Mery Carrasco Mauricio (Codelco-Casa Matriz)" userId="S::mmery004@codelco.cl::a0378191-74de-4d59-9b37-aa421303daba" providerId="AD" clId="Web-{2984BE9F-708B-0000-D422-2EB6B1DAB9A1}" dt="2021-04-15T15:25:53.469" v="52" actId="1076"/>
          <ac:spMkLst>
            <pc:docMk/>
            <pc:sldMk cId="3720476170" sldId="470"/>
            <ac:spMk id="34" creationId="{462AD4B5-5F4A-47A2-BEA2-87F3FD4F4146}"/>
          </ac:spMkLst>
        </pc:spChg>
        <pc:spChg chg="mod">
          <ac:chgData name="Mery Carrasco Mauricio (Codelco-Casa Matriz)" userId="S::mmery004@codelco.cl::a0378191-74de-4d59-9b37-aa421303daba" providerId="AD" clId="Web-{2984BE9F-708B-0000-D422-2EB6B1DAB9A1}" dt="2021-04-15T15:25:35.765" v="47"/>
          <ac:spMkLst>
            <pc:docMk/>
            <pc:sldMk cId="3720476170" sldId="470"/>
            <ac:spMk id="42" creationId="{EC348201-1069-4CB5-90C7-D138998005CF}"/>
          </ac:spMkLst>
        </pc:spChg>
        <pc:spChg chg="del">
          <ac:chgData name="Mery Carrasco Mauricio (Codelco-Casa Matriz)" userId="S::mmery004@codelco.cl::a0378191-74de-4d59-9b37-aa421303daba" providerId="AD" clId="Web-{2984BE9F-708B-0000-D422-2EB6B1DAB9A1}" dt="2021-04-15T15:25:42.765" v="48"/>
          <ac:spMkLst>
            <pc:docMk/>
            <pc:sldMk cId="3720476170" sldId="470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2984BE9F-708B-0000-D422-2EB6B1DAB9A1}" dt="2021-04-15T15:26:09.532" v="53" actId="20577"/>
          <ac:spMkLst>
            <pc:docMk/>
            <pc:sldMk cId="3720476170" sldId="470"/>
            <ac:spMk id="50" creationId="{CAB885FA-46E1-44EF-8D19-C807FC349CC4}"/>
          </ac:spMkLst>
        </pc:spChg>
        <pc:spChg chg="del">
          <ac:chgData name="Mery Carrasco Mauricio (Codelco-Casa Matriz)" userId="S::mmery004@codelco.cl::a0378191-74de-4d59-9b37-aa421303daba" providerId="AD" clId="Web-{2984BE9F-708B-0000-D422-2EB6B1DAB9A1}" dt="2021-04-15T15:26:24.813" v="54"/>
          <ac:spMkLst>
            <pc:docMk/>
            <pc:sldMk cId="3720476170" sldId="470"/>
            <ac:spMk id="51" creationId="{F913A60D-2783-4406-9452-4739CB932FC8}"/>
          </ac:spMkLst>
        </pc:spChg>
      </pc:sldChg>
      <pc:sldChg chg="addSp delSp modSp add ord">
        <pc:chgData name="Mery Carrasco Mauricio (Codelco-Casa Matriz)" userId="S::mmery004@codelco.cl::a0378191-74de-4d59-9b37-aa421303daba" providerId="AD" clId="Web-{2984BE9F-708B-0000-D422-2EB6B1DAB9A1}" dt="2021-04-15T15:29:04.412" v="72"/>
        <pc:sldMkLst>
          <pc:docMk/>
          <pc:sldMk cId="2396319988" sldId="471"/>
        </pc:sldMkLst>
        <pc:spChg chg="del">
          <ac:chgData name="Mery Carrasco Mauricio (Codelco-Casa Matriz)" userId="S::mmery004@codelco.cl::a0378191-74de-4d59-9b37-aa421303daba" providerId="AD" clId="Web-{2984BE9F-708B-0000-D422-2EB6B1DAB9A1}" dt="2021-04-15T15:28:22.082" v="61"/>
          <ac:spMkLst>
            <pc:docMk/>
            <pc:sldMk cId="2396319988" sldId="471"/>
            <ac:spMk id="6" creationId="{DC93667E-FCD0-48FA-8C6E-34C7CF578523}"/>
          </ac:spMkLst>
        </pc:spChg>
        <pc:spChg chg="add">
          <ac:chgData name="Mery Carrasco Mauricio (Codelco-Casa Matriz)" userId="S::mmery004@codelco.cl::a0378191-74de-4d59-9b37-aa421303daba" providerId="AD" clId="Web-{2984BE9F-708B-0000-D422-2EB6B1DAB9A1}" dt="2021-04-15T15:29:00.974" v="70"/>
          <ac:spMkLst>
            <pc:docMk/>
            <pc:sldMk cId="2396319988" sldId="471"/>
            <ac:spMk id="9" creationId="{3467FA66-5BFD-44A1-A421-007AC3D3EEB0}"/>
          </ac:spMkLst>
        </pc:spChg>
        <pc:spChg chg="add del">
          <ac:chgData name="Mery Carrasco Mauricio (Codelco-Casa Matriz)" userId="S::mmery004@codelco.cl::a0378191-74de-4d59-9b37-aa421303daba" providerId="AD" clId="Web-{2984BE9F-708B-0000-D422-2EB6B1DAB9A1}" dt="2021-04-15T15:29:04.412" v="72"/>
          <ac:spMkLst>
            <pc:docMk/>
            <pc:sldMk cId="2396319988" sldId="471"/>
            <ac:spMk id="10" creationId="{ADE35402-F395-449F-9D4D-9682AAAFD038}"/>
          </ac:spMkLst>
        </pc:spChg>
        <pc:spChg chg="mod">
          <ac:chgData name="Mery Carrasco Mauricio (Codelco-Casa Matriz)" userId="S::mmery004@codelco.cl::a0378191-74de-4d59-9b37-aa421303daba" providerId="AD" clId="Web-{2984BE9F-708B-0000-D422-2EB6B1DAB9A1}" dt="2021-04-15T15:28:58.224" v="68" actId="20577"/>
          <ac:spMkLst>
            <pc:docMk/>
            <pc:sldMk cId="2396319988" sldId="471"/>
            <ac:spMk id="19" creationId="{DCBCEB20-8377-429A-B182-F1F2770545F5}"/>
          </ac:spMkLst>
        </pc:spChg>
        <pc:spChg chg="del">
          <ac:chgData name="Mery Carrasco Mauricio (Codelco-Casa Matriz)" userId="S::mmery004@codelco.cl::a0378191-74de-4d59-9b37-aa421303daba" providerId="AD" clId="Web-{2984BE9F-708B-0000-D422-2EB6B1DAB9A1}" dt="2021-04-15T15:29:00.833" v="69"/>
          <ac:spMkLst>
            <pc:docMk/>
            <pc:sldMk cId="2396319988" sldId="471"/>
            <ac:spMk id="20" creationId="{147F67F4-8295-4335-A9A3-880D29F245E0}"/>
          </ac:spMkLst>
        </pc:spChg>
        <pc:spChg chg="add del">
          <ac:chgData name="Mery Carrasco Mauricio (Codelco-Casa Matriz)" userId="S::mmery004@codelco.cl::a0378191-74de-4d59-9b37-aa421303daba" providerId="AD" clId="Web-{2984BE9F-708B-0000-D422-2EB6B1DAB9A1}" dt="2021-04-15T15:28:27.551" v="65"/>
          <ac:spMkLst>
            <pc:docMk/>
            <pc:sldMk cId="2396319988" sldId="471"/>
            <ac:spMk id="32" creationId="{55764DA4-1F5A-4117-AA73-A5D826B4BAA7}"/>
          </ac:spMkLst>
        </pc:spChg>
        <pc:spChg chg="add mod">
          <ac:chgData name="Mery Carrasco Mauricio (Codelco-Casa Matriz)" userId="S::mmery004@codelco.cl::a0378191-74de-4d59-9b37-aa421303daba" providerId="AD" clId="Web-{2984BE9F-708B-0000-D422-2EB6B1DAB9A1}" dt="2021-04-15T15:28:37.833" v="67" actId="1076"/>
          <ac:spMkLst>
            <pc:docMk/>
            <pc:sldMk cId="2396319988" sldId="471"/>
            <ac:spMk id="35" creationId="{4D31E36F-393D-401B-B6EE-7D3B22958694}"/>
          </ac:spMkLst>
        </pc:spChg>
        <pc:spChg chg="mod">
          <ac:chgData name="Mery Carrasco Mauricio (Codelco-Casa Matriz)" userId="S::mmery004@codelco.cl::a0378191-74de-4d59-9b37-aa421303daba" providerId="AD" clId="Web-{2984BE9F-708B-0000-D422-2EB6B1DAB9A1}" dt="2021-04-15T15:28:14.160" v="60"/>
          <ac:spMkLst>
            <pc:docMk/>
            <pc:sldMk cId="2396319988" sldId="471"/>
            <ac:spMk id="50" creationId="{CAB885FA-46E1-44EF-8D19-C807FC349CC4}"/>
          </ac:spMkLst>
        </pc:spChg>
      </pc:sldChg>
      <pc:sldChg chg="add">
        <pc:chgData name="Mery Carrasco Mauricio (Codelco-Casa Matriz)" userId="S::mmery004@codelco.cl::a0378191-74de-4d59-9b37-aa421303daba" providerId="AD" clId="Web-{2984BE9F-708B-0000-D422-2EB6B1DAB9A1}" dt="2021-04-15T15:30:06.038" v="74"/>
        <pc:sldMkLst>
          <pc:docMk/>
          <pc:sldMk cId="2685714109" sldId="472"/>
        </pc:sldMkLst>
      </pc:sldChg>
      <pc:sldChg chg="modSp add">
        <pc:chgData name="Mery Carrasco Mauricio (Codelco-Casa Matriz)" userId="S::mmery004@codelco.cl::a0378191-74de-4d59-9b37-aa421303daba" providerId="AD" clId="Web-{2984BE9F-708B-0000-D422-2EB6B1DAB9A1}" dt="2021-04-15T15:31:50.463" v="79" actId="20577"/>
        <pc:sldMkLst>
          <pc:docMk/>
          <pc:sldMk cId="4288567005" sldId="473"/>
        </pc:sldMkLst>
        <pc:spChg chg="mod">
          <ac:chgData name="Mery Carrasco Mauricio (Codelco-Casa Matriz)" userId="S::mmery004@codelco.cl::a0378191-74de-4d59-9b37-aa421303daba" providerId="AD" clId="Web-{2984BE9F-708B-0000-D422-2EB6B1DAB9A1}" dt="2021-04-15T15:31:50.463" v="79" actId="20577"/>
          <ac:spMkLst>
            <pc:docMk/>
            <pc:sldMk cId="4288567005" sldId="473"/>
            <ac:spMk id="145" creationId="{3F302836-4F68-4641-BD29-64B0A72CA38E}"/>
          </ac:spMkLst>
        </pc:spChg>
      </pc:sldChg>
      <pc:sldChg chg="add">
        <pc:chgData name="Mery Carrasco Mauricio (Codelco-Casa Matriz)" userId="S::mmery004@codelco.cl::a0378191-74de-4d59-9b37-aa421303daba" providerId="AD" clId="Web-{2984BE9F-708B-0000-D422-2EB6B1DAB9A1}" dt="2021-04-15T15:30:06.570" v="76"/>
        <pc:sldMkLst>
          <pc:docMk/>
          <pc:sldMk cId="3536291820" sldId="474"/>
        </pc:sldMkLst>
      </pc:sldChg>
      <pc:sldChg chg="add del">
        <pc:chgData name="Mery Carrasco Mauricio (Codelco-Casa Matriz)" userId="S::mmery004@codelco.cl::a0378191-74de-4d59-9b37-aa421303daba" providerId="AD" clId="Web-{2984BE9F-708B-0000-D422-2EB6B1DAB9A1}" dt="2021-04-15T15:39:57.602" v="86"/>
        <pc:sldMkLst>
          <pc:docMk/>
          <pc:sldMk cId="3118926134" sldId="477"/>
        </pc:sldMkLst>
      </pc:sldChg>
      <pc:sldChg chg="add del">
        <pc:chgData name="Mery Carrasco Mauricio (Codelco-Casa Matriz)" userId="S::mmery004@codelco.cl::a0378191-74de-4d59-9b37-aa421303daba" providerId="AD" clId="Web-{2984BE9F-708B-0000-D422-2EB6B1DAB9A1}" dt="2021-04-15T15:39:57.586" v="85"/>
        <pc:sldMkLst>
          <pc:docMk/>
          <pc:sldMk cId="2852736619" sldId="478"/>
        </pc:sldMkLst>
      </pc:sldChg>
      <pc:sldChg chg="add del">
        <pc:chgData name="Mery Carrasco Mauricio (Codelco-Casa Matriz)" userId="S::mmery004@codelco.cl::a0378191-74de-4d59-9b37-aa421303daba" providerId="AD" clId="Web-{2984BE9F-708B-0000-D422-2EB6B1DAB9A1}" dt="2021-04-15T15:39:57.555" v="84"/>
        <pc:sldMkLst>
          <pc:docMk/>
          <pc:sldMk cId="1154232523" sldId="479"/>
        </pc:sldMkLst>
      </pc:sldChg>
      <pc:sldChg chg="add ord">
        <pc:chgData name="Mery Carrasco Mauricio (Codelco-Casa Matriz)" userId="S::mmery004@codelco.cl::a0378191-74de-4d59-9b37-aa421303daba" providerId="AD" clId="Web-{2984BE9F-708B-0000-D422-2EB6B1DAB9A1}" dt="2021-04-15T15:40:53.947" v="90"/>
        <pc:sldMkLst>
          <pc:docMk/>
          <pc:sldMk cId="1139246217" sldId="482"/>
        </pc:sldMkLst>
      </pc:sldChg>
      <pc:sldChg chg="add ord">
        <pc:chgData name="Mery Carrasco Mauricio (Codelco-Casa Matriz)" userId="S::mmery004@codelco.cl::a0378191-74de-4d59-9b37-aa421303daba" providerId="AD" clId="Web-{2984BE9F-708B-0000-D422-2EB6B1DAB9A1}" dt="2021-04-15T15:40:53.947" v="91"/>
        <pc:sldMkLst>
          <pc:docMk/>
          <pc:sldMk cId="483616472" sldId="483"/>
        </pc:sldMkLst>
      </pc:sldChg>
      <pc:sldChg chg="add ord">
        <pc:chgData name="Mery Carrasco Mauricio (Codelco-Casa Matriz)" userId="S::mmery004@codelco.cl::a0378191-74de-4d59-9b37-aa421303daba" providerId="AD" clId="Web-{2984BE9F-708B-0000-D422-2EB6B1DAB9A1}" dt="2021-04-15T15:40:53.947" v="92"/>
        <pc:sldMkLst>
          <pc:docMk/>
          <pc:sldMk cId="3181890570" sldId="484"/>
        </pc:sldMkLst>
      </pc:sldChg>
    </pc:docChg>
  </pc:docChgLst>
  <pc:docChgLst>
    <pc:chgData name="Delpino Corrales Esteban (Codelco-Casa Matriz)" userId="S::edelp001@codelco.cl::ff2471f2-e58a-4f56-9381-412d9482f71d" providerId="AD" clId="Web-{34398C25-6B68-43F4-B234-45D58A4A1A9C}"/>
    <pc:docChg chg="addSld modSld sldOrd">
      <pc:chgData name="Delpino Corrales Esteban (Codelco-Casa Matriz)" userId="S::edelp001@codelco.cl::ff2471f2-e58a-4f56-9381-412d9482f71d" providerId="AD" clId="Web-{34398C25-6B68-43F4-B234-45D58A4A1A9C}" dt="2021-09-08T14:47:48.378" v="6" actId="20577"/>
      <pc:docMkLst>
        <pc:docMk/>
      </pc:docMkLst>
      <pc:sldChg chg="modSp add ord">
        <pc:chgData name="Delpino Corrales Esteban (Codelco-Casa Matriz)" userId="S::edelp001@codelco.cl::ff2471f2-e58a-4f56-9381-412d9482f71d" providerId="AD" clId="Web-{34398C25-6B68-43F4-B234-45D58A4A1A9C}" dt="2021-09-08T14:47:48.378" v="6" actId="20577"/>
        <pc:sldMkLst>
          <pc:docMk/>
          <pc:sldMk cId="2159727526" sldId="603"/>
        </pc:sldMkLst>
        <pc:spChg chg="mod">
          <ac:chgData name="Delpino Corrales Esteban (Codelco-Casa Matriz)" userId="S::edelp001@codelco.cl::ff2471f2-e58a-4f56-9381-412d9482f71d" providerId="AD" clId="Web-{34398C25-6B68-43F4-B234-45D58A4A1A9C}" dt="2021-09-08T14:47:39.174" v="4" actId="20577"/>
          <ac:spMkLst>
            <pc:docMk/>
            <pc:sldMk cId="2159727526" sldId="603"/>
            <ac:spMk id="7" creationId="{21C0CFEC-5EF5-495A-A9F0-0591C4096B41}"/>
          </ac:spMkLst>
        </pc:spChg>
        <pc:spChg chg="mod">
          <ac:chgData name="Delpino Corrales Esteban (Codelco-Casa Matriz)" userId="S::edelp001@codelco.cl::ff2471f2-e58a-4f56-9381-412d9482f71d" providerId="AD" clId="Web-{34398C25-6B68-43F4-B234-45D58A4A1A9C}" dt="2021-09-08T14:47:48.378" v="6" actId="20577"/>
          <ac:spMkLst>
            <pc:docMk/>
            <pc:sldMk cId="2159727526" sldId="603"/>
            <ac:spMk id="26" creationId="{78739219-A9B5-4219-8179-85DF49CB5D30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F8FF99B0-AC93-4014-E33A-ED10E0F2ACAB}"/>
    <pc:docChg chg="modSld">
      <pc:chgData name="Mery Carrasco Mauricio (Codelco-Casa Matriz)" userId="S::mmery004@codelco.cl::a0378191-74de-4d59-9b37-aa421303daba" providerId="AD" clId="Web-{F8FF99B0-AC93-4014-E33A-ED10E0F2ACAB}" dt="2021-06-29T14:16:07.331" v="28" actId="20577"/>
      <pc:docMkLst>
        <pc:docMk/>
      </pc:docMkLst>
      <pc:sldChg chg="addSp modSp">
        <pc:chgData name="Mery Carrasco Mauricio (Codelco-Casa Matriz)" userId="S::mmery004@codelco.cl::a0378191-74de-4d59-9b37-aa421303daba" providerId="AD" clId="Web-{F8FF99B0-AC93-4014-E33A-ED10E0F2ACAB}" dt="2021-06-29T14:16:07.331" v="28" actId="20577"/>
        <pc:sldMkLst>
          <pc:docMk/>
          <pc:sldMk cId="2155997825" sldId="375"/>
        </pc:sldMkLst>
        <pc:spChg chg="add mod">
          <ac:chgData name="Mery Carrasco Mauricio (Codelco-Casa Matriz)" userId="S::mmery004@codelco.cl::a0378191-74de-4d59-9b37-aa421303daba" providerId="AD" clId="Web-{F8FF99B0-AC93-4014-E33A-ED10E0F2ACAB}" dt="2021-06-29T14:15:46.909" v="17" actId="1076"/>
          <ac:spMkLst>
            <pc:docMk/>
            <pc:sldMk cId="2155997825" sldId="375"/>
            <ac:spMk id="26" creationId="{3E7A67A2-D2D9-467B-A102-77A1ECE4FD90}"/>
          </ac:spMkLst>
        </pc:spChg>
        <pc:spChg chg="add mod">
          <ac:chgData name="Mery Carrasco Mauricio (Codelco-Casa Matriz)" userId="S::mmery004@codelco.cl::a0378191-74de-4d59-9b37-aa421303daba" providerId="AD" clId="Web-{F8FF99B0-AC93-4014-E33A-ED10E0F2ACAB}" dt="2021-06-29T14:15:46.924" v="18" actId="1076"/>
          <ac:spMkLst>
            <pc:docMk/>
            <pc:sldMk cId="2155997825" sldId="37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F8FF99B0-AC93-4014-E33A-ED10E0F2ACAB}" dt="2021-06-29T14:16:07.331" v="28" actId="20577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F8FF99B0-AC93-4014-E33A-ED10E0F2ACAB}" dt="2021-06-29T14:10:34.852" v="3" actId="20577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F8FF99B0-AC93-4014-E33A-ED10E0F2ACAB}" dt="2021-06-29T14:14:19.828" v="14" actId="20577"/>
          <ac:spMkLst>
            <pc:docMk/>
            <pc:sldMk cId="2155997825" sldId="375"/>
            <ac:spMk id="50" creationId="{CAB885FA-46E1-44EF-8D19-C807FC349CC4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AAC5C99F-00C4-0000-D422-24D4D5DEB1D3}"/>
    <pc:docChg chg="delSld modSld">
      <pc:chgData name="Allende Bustamante Jose (Codelco-Casa Matriz)" userId="S::jalle011@codelco.cl::54345eee-8770-43bf-b080-e3e333067d62" providerId="AD" clId="Web-{AAC5C99F-00C4-0000-D422-24D4D5DEB1D3}" dt="2021-05-20T15:09:27.653" v="731"/>
      <pc:docMkLst>
        <pc:docMk/>
      </pc:docMkLst>
      <pc:sldChg chg="modSp">
        <pc:chgData name="Allende Bustamante Jose (Codelco-Casa Matriz)" userId="S::jalle011@codelco.cl::54345eee-8770-43bf-b080-e3e333067d62" providerId="AD" clId="Web-{AAC5C99F-00C4-0000-D422-24D4D5DEB1D3}" dt="2021-05-20T14:29:41.342" v="6" actId="20577"/>
        <pc:sldMkLst>
          <pc:docMk/>
          <pc:sldMk cId="772336465" sldId="346"/>
        </pc:sldMkLst>
        <pc:spChg chg="mod">
          <ac:chgData name="Allende Bustamante Jose (Codelco-Casa Matriz)" userId="S::jalle011@codelco.cl::54345eee-8770-43bf-b080-e3e333067d62" providerId="AD" clId="Web-{AAC5C99F-00C4-0000-D422-24D4D5DEB1D3}" dt="2021-05-20T14:29:41.342" v="6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modSp">
        <pc:chgData name="Allende Bustamante Jose (Codelco-Casa Matriz)" userId="S::jalle011@codelco.cl::54345eee-8770-43bf-b080-e3e333067d62" providerId="AD" clId="Web-{AAC5C99F-00C4-0000-D422-24D4D5DEB1D3}" dt="2021-05-20T14:30:07.952" v="9" actId="20577"/>
        <pc:sldMkLst>
          <pc:docMk/>
          <pc:sldMk cId="1544981574" sldId="409"/>
        </pc:sldMkLst>
        <pc:spChg chg="mod">
          <ac:chgData name="Allende Bustamante Jose (Codelco-Casa Matriz)" userId="S::jalle011@codelco.cl::54345eee-8770-43bf-b080-e3e333067d62" providerId="AD" clId="Web-{AAC5C99F-00C4-0000-D422-24D4D5DEB1D3}" dt="2021-05-20T14:30:07.952" v="9" actId="20577"/>
          <ac:spMkLst>
            <pc:docMk/>
            <pc:sldMk cId="1544981574" sldId="409"/>
            <ac:spMk id="50" creationId="{858D0EEE-7674-4667-BC95-74AC805A08A6}"/>
          </ac:spMkLst>
        </pc:spChg>
      </pc:sldChg>
      <pc:sldChg chg="modSp">
        <pc:chgData name="Allende Bustamante Jose (Codelco-Casa Matriz)" userId="S::jalle011@codelco.cl::54345eee-8770-43bf-b080-e3e333067d62" providerId="AD" clId="Web-{AAC5C99F-00C4-0000-D422-24D4D5DEB1D3}" dt="2021-05-20T14:53:13.682" v="507" actId="20577"/>
        <pc:sldMkLst>
          <pc:docMk/>
          <pc:sldMk cId="1775339418" sldId="440"/>
        </pc:sldMkLst>
        <pc:spChg chg="mod">
          <ac:chgData name="Allende Bustamante Jose (Codelco-Casa Matriz)" userId="S::jalle011@codelco.cl::54345eee-8770-43bf-b080-e3e333067d62" providerId="AD" clId="Web-{AAC5C99F-00C4-0000-D422-24D4D5DEB1D3}" dt="2021-05-20T14:53:13.682" v="507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addSp delSp modSp">
        <pc:chgData name="Allende Bustamante Jose (Codelco-Casa Matriz)" userId="S::jalle011@codelco.cl::54345eee-8770-43bf-b080-e3e333067d62" providerId="AD" clId="Web-{AAC5C99F-00C4-0000-D422-24D4D5DEB1D3}" dt="2021-05-20T14:48:12.410" v="385" actId="1076"/>
        <pc:sldMkLst>
          <pc:docMk/>
          <pc:sldMk cId="2744369828" sldId="522"/>
        </pc:sldMkLst>
        <pc:spChg chg="mod">
          <ac:chgData name="Allende Bustamante Jose (Codelco-Casa Matriz)" userId="S::jalle011@codelco.cl::54345eee-8770-43bf-b080-e3e333067d62" providerId="AD" clId="Web-{AAC5C99F-00C4-0000-D422-24D4D5DEB1D3}" dt="2021-05-20T14:46:19.236" v="290" actId="1076"/>
          <ac:spMkLst>
            <pc:docMk/>
            <pc:sldMk cId="2744369828" sldId="522"/>
            <ac:spMk id="5" creationId="{784B8CA5-49E2-4475-A3D0-1140D637CEE6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331" v="323" actId="1076"/>
          <ac:spMkLst>
            <pc:docMk/>
            <pc:sldMk cId="2744369828" sldId="522"/>
            <ac:spMk id="6" creationId="{18300F1F-AB48-41DA-A682-C6A7018C0D01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33:35.190" v="37"/>
          <ac:spMkLst>
            <pc:docMk/>
            <pc:sldMk cId="2744369828" sldId="522"/>
            <ac:spMk id="7" creationId="{908649FB-CCCA-4DD1-996D-5DA8941C8262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33:44.269" v="41"/>
          <ac:spMkLst>
            <pc:docMk/>
            <pc:sldMk cId="2744369828" sldId="522"/>
            <ac:spMk id="8" creationId="{7687ABC7-A9BC-446A-BDEA-F1654C1854FB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347" v="324" actId="1076"/>
          <ac:spMkLst>
            <pc:docMk/>
            <pc:sldMk cId="2744369828" sldId="522"/>
            <ac:spMk id="9" creationId="{43394F58-E66A-4C0E-9B93-75036661DE4A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6:42.409" v="301" actId="1076"/>
          <ac:spMkLst>
            <pc:docMk/>
            <pc:sldMk cId="2744369828" sldId="522"/>
            <ac:spMk id="10" creationId="{553196BB-5EC6-4370-9162-6C4581B11A81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1:20.855" v="202" actId="20577"/>
          <ac:spMkLst>
            <pc:docMk/>
            <pc:sldMk cId="2744369828" sldId="522"/>
            <ac:spMk id="16" creationId="{99F2EA80-3326-442F-A64C-66C58EFD75C2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128" v="315" actId="1076"/>
          <ac:spMkLst>
            <pc:docMk/>
            <pc:sldMk cId="2744369828" sldId="522"/>
            <ac:spMk id="17" creationId="{24E5D8E8-0282-4F37-AB28-1CCE0714F662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159" v="316" actId="1076"/>
          <ac:spMkLst>
            <pc:docMk/>
            <pc:sldMk cId="2744369828" sldId="522"/>
            <ac:spMk id="18" creationId="{5C2226D3-8A2D-4FF6-9425-19CA4ED90FAC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175" v="317" actId="1076"/>
          <ac:spMkLst>
            <pc:docMk/>
            <pc:sldMk cId="2744369828" sldId="522"/>
            <ac:spMk id="19" creationId="{7FBD638C-C3CF-4017-B21A-B70DBB59B88B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206" v="318" actId="1076"/>
          <ac:spMkLst>
            <pc:docMk/>
            <pc:sldMk cId="2744369828" sldId="522"/>
            <ac:spMk id="20" creationId="{0838E0C6-7554-443C-9719-76782D500D7B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238" v="319" actId="1076"/>
          <ac:spMkLst>
            <pc:docMk/>
            <pc:sldMk cId="2744369828" sldId="522"/>
            <ac:spMk id="21" creationId="{EFE9E213-9A4D-486F-86BB-73ABAD41849E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253" v="320" actId="1076"/>
          <ac:spMkLst>
            <pc:docMk/>
            <pc:sldMk cId="2744369828" sldId="522"/>
            <ac:spMk id="22" creationId="{B23172C1-8766-40CB-BF1C-F13DDD4C4025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284" v="321" actId="1076"/>
          <ac:spMkLst>
            <pc:docMk/>
            <pc:sldMk cId="2744369828" sldId="522"/>
            <ac:spMk id="23" creationId="{2EEEA711-C727-498C-9807-ADDDB5D90C11}"/>
          </ac:spMkLst>
        </pc:spChg>
        <pc:spChg chg="mod">
          <ac:chgData name="Allende Bustamante Jose (Codelco-Casa Matriz)" userId="S::jalle011@codelco.cl::54345eee-8770-43bf-b080-e3e333067d62" providerId="AD" clId="Web-{AAC5C99F-00C4-0000-D422-24D4D5DEB1D3}" dt="2021-05-20T14:47:31.300" v="322" actId="1076"/>
          <ac:spMkLst>
            <pc:docMk/>
            <pc:sldMk cId="2744369828" sldId="522"/>
            <ac:spMk id="24" creationId="{66B32156-F563-4B12-8529-43119D791A81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394" v="325" actId="1076"/>
          <ac:spMkLst>
            <pc:docMk/>
            <pc:sldMk cId="2744369828" sldId="522"/>
            <ac:spMk id="25" creationId="{72845BC7-8A45-47F2-88A7-41BEB6B511CB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35:44.224" v="75"/>
          <ac:spMkLst>
            <pc:docMk/>
            <pc:sldMk cId="2744369828" sldId="522"/>
            <ac:spMk id="26" creationId="{80CAA5A0-BDD5-4077-A487-70D7DB61D62F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35:44.224" v="74"/>
          <ac:spMkLst>
            <pc:docMk/>
            <pc:sldMk cId="2744369828" sldId="522"/>
            <ac:spMk id="27" creationId="{F86B7AA2-518F-4660-8595-2939D80F8A8E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35:44.208" v="73"/>
          <ac:spMkLst>
            <pc:docMk/>
            <pc:sldMk cId="2744369828" sldId="522"/>
            <ac:spMk id="28" creationId="{9CF5BF90-250D-426F-A799-81E9950009BE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36:21.475" v="96"/>
          <ac:spMkLst>
            <pc:docMk/>
            <pc:sldMk cId="2744369828" sldId="522"/>
            <ac:spMk id="29" creationId="{F280B877-F89F-4EAE-B0A3-E3D459F2A4CD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36:21.475" v="95"/>
          <ac:spMkLst>
            <pc:docMk/>
            <pc:sldMk cId="2744369828" sldId="522"/>
            <ac:spMk id="30" creationId="{713B78D4-1532-4FE0-8A8E-7472AB9879F3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36:21.475" v="94"/>
          <ac:spMkLst>
            <pc:docMk/>
            <pc:sldMk cId="2744369828" sldId="522"/>
            <ac:spMk id="31" creationId="{BC45AA4A-FCB6-4E05-AD4F-71DB2D6B5DB0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425" v="326" actId="1076"/>
          <ac:spMkLst>
            <pc:docMk/>
            <pc:sldMk cId="2744369828" sldId="522"/>
            <ac:spMk id="32" creationId="{4DE5EECD-A73B-4C87-95CD-347E2B91528F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441" v="327" actId="1076"/>
          <ac:spMkLst>
            <pc:docMk/>
            <pc:sldMk cId="2744369828" sldId="522"/>
            <ac:spMk id="33" creationId="{BDFCFFBE-C8F8-4D7B-9C7B-50A79D1B3007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472" v="328" actId="1076"/>
          <ac:spMkLst>
            <pc:docMk/>
            <pc:sldMk cId="2744369828" sldId="522"/>
            <ac:spMk id="34" creationId="{FC5FFD3B-D301-4C60-86B8-D832E6510979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37:37.711" v="146"/>
          <ac:spMkLst>
            <pc:docMk/>
            <pc:sldMk cId="2744369828" sldId="522"/>
            <ac:spMk id="35" creationId="{C18E7BB7-5D83-4682-B650-DAF381BC0925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37:37.711" v="145"/>
          <ac:spMkLst>
            <pc:docMk/>
            <pc:sldMk cId="2744369828" sldId="522"/>
            <ac:spMk id="36" creationId="{47CB66B9-B264-4019-8122-34C56C96BD31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37:37.711" v="144"/>
          <ac:spMkLst>
            <pc:docMk/>
            <pc:sldMk cId="2744369828" sldId="522"/>
            <ac:spMk id="37" creationId="{D0A40AEA-7AB8-47B7-B8F0-10C26F44A4E9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488" v="329" actId="1076"/>
          <ac:spMkLst>
            <pc:docMk/>
            <pc:sldMk cId="2744369828" sldId="522"/>
            <ac:spMk id="38" creationId="{395CEDD3-56E6-47FD-A5DE-8735986F0808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519" v="330" actId="1076"/>
          <ac:spMkLst>
            <pc:docMk/>
            <pc:sldMk cId="2744369828" sldId="522"/>
            <ac:spMk id="39" creationId="{8AA82A03-82E7-45A6-8178-CBDDA9D95D3B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534" v="331" actId="1076"/>
          <ac:spMkLst>
            <pc:docMk/>
            <pc:sldMk cId="2744369828" sldId="522"/>
            <ac:spMk id="40" creationId="{4778B810-BB0B-4AF6-93FA-8BBBCD5DD453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566" v="332" actId="1076"/>
          <ac:spMkLst>
            <pc:docMk/>
            <pc:sldMk cId="2744369828" sldId="522"/>
            <ac:spMk id="41" creationId="{70EAF85F-6A06-401F-AA58-DFBCB46DEFC5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581" v="333" actId="1076"/>
          <ac:spMkLst>
            <pc:docMk/>
            <pc:sldMk cId="2744369828" sldId="522"/>
            <ac:spMk id="42" creationId="{BFAFBF47-8CAA-4146-89C9-9EA2010345CD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31.597" v="334" actId="1076"/>
          <ac:spMkLst>
            <pc:docMk/>
            <pc:sldMk cId="2744369828" sldId="522"/>
            <ac:spMk id="43" creationId="{1946F3FE-3059-4096-9D86-1814B7593081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8"/>
          <ac:spMkLst>
            <pc:docMk/>
            <pc:sldMk cId="2744369828" sldId="522"/>
            <ac:spMk id="44" creationId="{7E191DFD-F0ED-49B5-99EB-48F844BA389D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7"/>
          <ac:spMkLst>
            <pc:docMk/>
            <pc:sldMk cId="2744369828" sldId="522"/>
            <ac:spMk id="45" creationId="{C95AFB7E-EEC3-4D16-BC4A-A9F3570E23E2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6"/>
          <ac:spMkLst>
            <pc:docMk/>
            <pc:sldMk cId="2744369828" sldId="522"/>
            <ac:spMk id="46" creationId="{2A1E5DDE-2FCA-420D-8E99-3017A33A9B08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5"/>
          <ac:spMkLst>
            <pc:docMk/>
            <pc:sldMk cId="2744369828" sldId="522"/>
            <ac:spMk id="47" creationId="{A6B5FC03-41FD-4422-8BF5-B79ADBF07EA1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4"/>
          <ac:spMkLst>
            <pc:docMk/>
            <pc:sldMk cId="2744369828" sldId="522"/>
            <ac:spMk id="48" creationId="{6793827E-8F55-42FA-9FA7-41D8051CE7BF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3"/>
          <ac:spMkLst>
            <pc:docMk/>
            <pc:sldMk cId="2744369828" sldId="522"/>
            <ac:spMk id="49" creationId="{7FC17D1D-10EA-43BC-8991-AB7C0D01CBB5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2"/>
          <ac:spMkLst>
            <pc:docMk/>
            <pc:sldMk cId="2744369828" sldId="522"/>
            <ac:spMk id="50" creationId="{A4BD6C6C-4A60-447E-8D28-B013DFA50918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1"/>
          <ac:spMkLst>
            <pc:docMk/>
            <pc:sldMk cId="2744369828" sldId="522"/>
            <ac:spMk id="51" creationId="{608CE555-E141-4AEE-B5C6-9C4742EE9C4C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50"/>
          <ac:spMkLst>
            <pc:docMk/>
            <pc:sldMk cId="2744369828" sldId="522"/>
            <ac:spMk id="52" creationId="{6EE299C0-EA53-417A-8552-DF5B66B33DA4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49"/>
          <ac:spMkLst>
            <pc:docMk/>
            <pc:sldMk cId="2744369828" sldId="522"/>
            <ac:spMk id="53" creationId="{FE2C0CB2-4FE8-4388-A6E9-8DC3364AC271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48"/>
          <ac:spMkLst>
            <pc:docMk/>
            <pc:sldMk cId="2744369828" sldId="522"/>
            <ac:spMk id="54" creationId="{4327B3FA-350A-46FC-8475-1D10720DFD50}"/>
          </ac:spMkLst>
        </pc:spChg>
        <pc:spChg chg="add del mod">
          <ac:chgData name="Allende Bustamante Jose (Codelco-Casa Matriz)" userId="S::jalle011@codelco.cl::54345eee-8770-43bf-b080-e3e333067d62" providerId="AD" clId="Web-{AAC5C99F-00C4-0000-D422-24D4D5DEB1D3}" dt="2021-05-20T14:47:42.347" v="347"/>
          <ac:spMkLst>
            <pc:docMk/>
            <pc:sldMk cId="2744369828" sldId="522"/>
            <ac:spMk id="55" creationId="{98E4A74A-1CE6-49C7-B482-F9F55CFF2909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43:38.842" v="235"/>
          <ac:spMkLst>
            <pc:docMk/>
            <pc:sldMk cId="2744369828" sldId="522"/>
            <ac:spMk id="56" creationId="{91F76AF9-74D8-4F2E-87E8-1941DC104AA0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43:38.842" v="234"/>
          <ac:spMkLst>
            <pc:docMk/>
            <pc:sldMk cId="2744369828" sldId="522"/>
            <ac:spMk id="57" creationId="{D389BFDE-C27D-4F68-B2C3-4D2E6B8884D5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43:38.842" v="233"/>
          <ac:spMkLst>
            <pc:docMk/>
            <pc:sldMk cId="2744369828" sldId="522"/>
            <ac:spMk id="58" creationId="{3881D3CD-FF9C-4420-ABB9-EF403723F227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6:42.424" v="302" actId="1076"/>
          <ac:spMkLst>
            <pc:docMk/>
            <pc:sldMk cId="2744369828" sldId="522"/>
            <ac:spMk id="59" creationId="{73B93B34-6784-4225-BFC3-99B21584FC0E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6:42.455" v="303" actId="1076"/>
          <ac:spMkLst>
            <pc:docMk/>
            <pc:sldMk cId="2744369828" sldId="522"/>
            <ac:spMk id="60" creationId="{4CF15BD4-72CB-4650-8CAF-D80BD06A6ABB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6:42.471" v="304" actId="1076"/>
          <ac:spMkLst>
            <pc:docMk/>
            <pc:sldMk cId="2744369828" sldId="522"/>
            <ac:spMk id="61" creationId="{031F76B1-2CC5-43A7-A5A1-B3E3B47E85CC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44:56.891" v="260"/>
          <ac:spMkLst>
            <pc:docMk/>
            <pc:sldMk cId="2744369828" sldId="522"/>
            <ac:spMk id="62" creationId="{C9E88CA4-EFD2-428F-9620-029849BBEBBD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6:22.299" v="292" actId="1076"/>
          <ac:spMkLst>
            <pc:docMk/>
            <pc:sldMk cId="2744369828" sldId="522"/>
            <ac:spMk id="63" creationId="{507CDCE7-64FB-4A03-BE7E-3793A6393261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02.628" v="309" actId="1076"/>
          <ac:spMkLst>
            <pc:docMk/>
            <pc:sldMk cId="2744369828" sldId="522"/>
            <ac:spMk id="64" creationId="{2CB5948C-E43F-44A4-8E14-A73CFA39B2EC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02.659" v="310" actId="1076"/>
          <ac:spMkLst>
            <pc:docMk/>
            <pc:sldMk cId="2744369828" sldId="522"/>
            <ac:spMk id="65" creationId="{F83F8F28-8432-47AC-8EB9-9648B3D61612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02.675" v="311" actId="1076"/>
          <ac:spMkLst>
            <pc:docMk/>
            <pc:sldMk cId="2744369828" sldId="522"/>
            <ac:spMk id="66" creationId="{D2AD5DC8-3D60-4F64-A68D-A6E15595024F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02.706" v="312" actId="1076"/>
          <ac:spMkLst>
            <pc:docMk/>
            <pc:sldMk cId="2744369828" sldId="522"/>
            <ac:spMk id="67" creationId="{848ED95E-6C2B-4909-A06F-82FB72CD3FC4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801" v="371" actId="1076"/>
          <ac:spMkLst>
            <pc:docMk/>
            <pc:sldMk cId="2744369828" sldId="522"/>
            <ac:spMk id="68" creationId="{05868BD7-8B29-4231-89D1-6C984641A7A1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832" v="372" actId="1076"/>
          <ac:spMkLst>
            <pc:docMk/>
            <pc:sldMk cId="2744369828" sldId="522"/>
            <ac:spMk id="69" creationId="{DB09190A-4C09-400B-BD70-EABC2578C045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863" v="373" actId="1076"/>
          <ac:spMkLst>
            <pc:docMk/>
            <pc:sldMk cId="2744369828" sldId="522"/>
            <ac:spMk id="70" creationId="{31C6E630-5484-4463-A1B9-9E58D8AB88A3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879" v="374" actId="1076"/>
          <ac:spMkLst>
            <pc:docMk/>
            <pc:sldMk cId="2744369828" sldId="522"/>
            <ac:spMk id="71" creationId="{7FD64D4A-2897-405D-A498-F7406BCC3214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910" v="375" actId="1076"/>
          <ac:spMkLst>
            <pc:docMk/>
            <pc:sldMk cId="2744369828" sldId="522"/>
            <ac:spMk id="72" creationId="{BEAC3453-7945-4D25-8B57-6154282FA149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926" v="376" actId="1076"/>
          <ac:spMkLst>
            <pc:docMk/>
            <pc:sldMk cId="2744369828" sldId="522"/>
            <ac:spMk id="73" creationId="{FC9DAE77-CC44-4720-A3AA-FE5001A942F9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957" v="377" actId="1076"/>
          <ac:spMkLst>
            <pc:docMk/>
            <pc:sldMk cId="2744369828" sldId="522"/>
            <ac:spMk id="74" creationId="{284A6878-7270-45E8-B6DD-1C062B1B578F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7.972" v="378" actId="1076"/>
          <ac:spMkLst>
            <pc:docMk/>
            <pc:sldMk cId="2744369828" sldId="522"/>
            <ac:spMk id="75" creationId="{4D165C3E-9F04-4D17-80BB-25050CD9782C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8.004" v="379" actId="1076"/>
          <ac:spMkLst>
            <pc:docMk/>
            <pc:sldMk cId="2744369828" sldId="522"/>
            <ac:spMk id="76" creationId="{8A1C4C38-3D53-4511-BB42-94C2D6D9FA10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8.019" v="380" actId="1076"/>
          <ac:spMkLst>
            <pc:docMk/>
            <pc:sldMk cId="2744369828" sldId="522"/>
            <ac:spMk id="77" creationId="{42E9DD60-A63A-4ACE-A2B2-72559B64999E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8.051" v="381" actId="1076"/>
          <ac:spMkLst>
            <pc:docMk/>
            <pc:sldMk cId="2744369828" sldId="522"/>
            <ac:spMk id="78" creationId="{5AA1132E-4762-47F8-B6FA-658E9F1BBF83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47:58.066" v="382" actId="1076"/>
          <ac:spMkLst>
            <pc:docMk/>
            <pc:sldMk cId="2744369828" sldId="522"/>
            <ac:spMk id="79" creationId="{B4C16B64-5218-44A0-92D3-AB8D889C11EF}"/>
          </ac:spMkLst>
        </pc:spChg>
        <pc:picChg chg="mod modCrop">
          <ac:chgData name="Allende Bustamante Jose (Codelco-Casa Matriz)" userId="S::jalle011@codelco.cl::54345eee-8770-43bf-b080-e3e333067d62" providerId="AD" clId="Web-{AAC5C99F-00C4-0000-D422-24D4D5DEB1D3}" dt="2021-05-20T14:47:31.066" v="313" actId="1076"/>
          <ac:picMkLst>
            <pc:docMk/>
            <pc:sldMk cId="2744369828" sldId="522"/>
            <ac:picMk id="12" creationId="{4AD81A59-D5E2-4546-A71F-BD77911364EA}"/>
          </ac:picMkLst>
        </pc:picChg>
        <pc:picChg chg="mod modCrop">
          <ac:chgData name="Allende Bustamante Jose (Codelco-Casa Matriz)" userId="S::jalle011@codelco.cl::54345eee-8770-43bf-b080-e3e333067d62" providerId="AD" clId="Web-{AAC5C99F-00C4-0000-D422-24D4D5DEB1D3}" dt="2021-05-20T14:48:12.410" v="385" actId="1076"/>
          <ac:picMkLst>
            <pc:docMk/>
            <pc:sldMk cId="2744369828" sldId="522"/>
            <ac:picMk id="13" creationId="{85D17B3B-30E8-474A-ABEF-703834BBFDF4}"/>
          </ac:picMkLst>
        </pc:picChg>
        <pc:picChg chg="mod modCrop">
          <ac:chgData name="Allende Bustamante Jose (Codelco-Casa Matriz)" userId="S::jalle011@codelco.cl::54345eee-8770-43bf-b080-e3e333067d62" providerId="AD" clId="Web-{AAC5C99F-00C4-0000-D422-24D4D5DEB1D3}" dt="2021-05-20T14:43:25.280" v="228"/>
          <ac:picMkLst>
            <pc:docMk/>
            <pc:sldMk cId="2744369828" sldId="522"/>
            <ac:picMk id="14" creationId="{14EF5E13-EC0D-471D-819B-5D42C2A0506E}"/>
          </ac:picMkLst>
        </pc:picChg>
        <pc:picChg chg="mod modCrop">
          <ac:chgData name="Allende Bustamante Jose (Codelco-Casa Matriz)" userId="S::jalle011@codelco.cl::54345eee-8770-43bf-b080-e3e333067d62" providerId="AD" clId="Web-{AAC5C99F-00C4-0000-D422-24D4D5DEB1D3}" dt="2021-05-20T14:45:50.439" v="280" actId="1076"/>
          <ac:picMkLst>
            <pc:docMk/>
            <pc:sldMk cId="2744369828" sldId="522"/>
            <ac:picMk id="15" creationId="{B2395EC0-766B-4008-B726-516DE484F509}"/>
          </ac:picMkLst>
        </pc:picChg>
      </pc:sldChg>
      <pc:sldChg chg="addSp delSp modSp delCm">
        <pc:chgData name="Allende Bustamante Jose (Codelco-Casa Matriz)" userId="S::jalle011@codelco.cl::54345eee-8770-43bf-b080-e3e333067d62" providerId="AD" clId="Web-{AAC5C99F-00C4-0000-D422-24D4D5DEB1D3}" dt="2021-05-20T15:09:00.465" v="729" actId="14100"/>
        <pc:sldMkLst>
          <pc:docMk/>
          <pc:sldMk cId="4097922123" sldId="524"/>
        </pc:sldMkLst>
        <pc:spChg chg="mod">
          <ac:chgData name="Allende Bustamante Jose (Codelco-Casa Matriz)" userId="S::jalle011@codelco.cl::54345eee-8770-43bf-b080-e3e333067d62" providerId="AD" clId="Web-{AAC5C99F-00C4-0000-D422-24D4D5DEB1D3}" dt="2021-05-20T14:50:14.959" v="405" actId="20577"/>
          <ac:spMkLst>
            <pc:docMk/>
            <pc:sldMk cId="4097922123" sldId="524"/>
            <ac:spMk id="2" creationId="{18352709-FE1E-402F-A240-4149BAB8E96F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54:12.448" v="545" actId="1076"/>
          <ac:spMkLst>
            <pc:docMk/>
            <pc:sldMk cId="4097922123" sldId="524"/>
            <ac:spMk id="4" creationId="{DFBBAA6C-C425-448F-A4A8-F8CF3D80204D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40"/>
          <ac:spMkLst>
            <pc:docMk/>
            <pc:sldMk cId="4097922123" sldId="524"/>
            <ac:spMk id="6" creationId="{D598B42C-D2F6-4E9D-8599-9ED6F48EA9E3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9"/>
          <ac:spMkLst>
            <pc:docMk/>
            <pc:sldMk cId="4097922123" sldId="524"/>
            <ac:spMk id="8" creationId="{5C834A06-9804-475C-B9AE-93661EAB0D65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8"/>
          <ac:spMkLst>
            <pc:docMk/>
            <pc:sldMk cId="4097922123" sldId="524"/>
            <ac:spMk id="10" creationId="{76BE8A9E-0EC8-4C70-B92B-A860FB758D42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7"/>
          <ac:spMkLst>
            <pc:docMk/>
            <pc:sldMk cId="4097922123" sldId="524"/>
            <ac:spMk id="12" creationId="{5C2D2AD8-953D-48BF-8840-2BDC455A3C07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6"/>
          <ac:spMkLst>
            <pc:docMk/>
            <pc:sldMk cId="4097922123" sldId="524"/>
            <ac:spMk id="14" creationId="{CA746D03-92BC-4526-A1A0-21EE2792A8BD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5"/>
          <ac:spMkLst>
            <pc:docMk/>
            <pc:sldMk cId="4097922123" sldId="524"/>
            <ac:spMk id="16" creationId="{808DEB1C-38DE-471B-97C1-9FF2001BDCD9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4"/>
          <ac:spMkLst>
            <pc:docMk/>
            <pc:sldMk cId="4097922123" sldId="524"/>
            <ac:spMk id="18" creationId="{25946325-5E7F-4722-9C8C-E732FE504D7B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3"/>
          <ac:spMkLst>
            <pc:docMk/>
            <pc:sldMk cId="4097922123" sldId="524"/>
            <ac:spMk id="20" creationId="{30A65525-FDEC-4957-8C43-897A625B135A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2"/>
          <ac:spMkLst>
            <pc:docMk/>
            <pc:sldMk cId="4097922123" sldId="524"/>
            <ac:spMk id="22" creationId="{5920C632-A2E4-4190-B4A6-FC9EA873AC5F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1"/>
          <ac:spMkLst>
            <pc:docMk/>
            <pc:sldMk cId="4097922123" sldId="524"/>
            <ac:spMk id="24" creationId="{E48165DB-3ABE-4861-ADBB-E4986F319DA1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30"/>
          <ac:spMkLst>
            <pc:docMk/>
            <pc:sldMk cId="4097922123" sldId="524"/>
            <ac:spMk id="26" creationId="{DCC50B46-5DA1-46AD-968D-85CC2E164DA2}"/>
          </ac:spMkLst>
        </pc:spChg>
        <pc:spChg chg="add del">
          <ac:chgData name="Allende Bustamante Jose (Codelco-Casa Matriz)" userId="S::jalle011@codelco.cl::54345eee-8770-43bf-b080-e3e333067d62" providerId="AD" clId="Web-{AAC5C99F-00C4-0000-D422-24D4D5DEB1D3}" dt="2021-05-20T14:53:51.901" v="529"/>
          <ac:spMkLst>
            <pc:docMk/>
            <pc:sldMk cId="4097922123" sldId="524"/>
            <ac:spMk id="28" creationId="{5DE59E65-7F35-4A6B-8F62-F7C10B3EE94C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56:12.841" v="657" actId="20577"/>
          <ac:spMkLst>
            <pc:docMk/>
            <pc:sldMk cId="4097922123" sldId="524"/>
            <ac:spMk id="29" creationId="{03DC1D86-9B58-40EF-AB5A-8A76CFBD88B0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56:19.670" v="658" actId="20577"/>
          <ac:spMkLst>
            <pc:docMk/>
            <pc:sldMk cId="4097922123" sldId="524"/>
            <ac:spMk id="30" creationId="{2F924AD7-955E-4597-A485-43BA583612D3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4:56:23.045" v="659" actId="20577"/>
          <ac:spMkLst>
            <pc:docMk/>
            <pc:sldMk cId="4097922123" sldId="524"/>
            <ac:spMk id="31" creationId="{D46A61B6-BADD-4671-B656-A22805A40CF2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5:04:22.194" v="678" actId="1076"/>
          <ac:spMkLst>
            <pc:docMk/>
            <pc:sldMk cId="4097922123" sldId="524"/>
            <ac:spMk id="32" creationId="{46972A2C-F76F-41C5-99E2-F099F3A56083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5:06:12.697" v="686"/>
          <ac:spMkLst>
            <pc:docMk/>
            <pc:sldMk cId="4097922123" sldId="524"/>
            <ac:spMk id="33" creationId="{CCD48A0E-014C-40EF-912F-05C767989B55}"/>
          </ac:spMkLst>
        </pc:spChg>
        <pc:spChg chg="add mod">
          <ac:chgData name="Allende Bustamante Jose (Codelco-Casa Matriz)" userId="S::jalle011@codelco.cl::54345eee-8770-43bf-b080-e3e333067d62" providerId="AD" clId="Web-{AAC5C99F-00C4-0000-D422-24D4D5DEB1D3}" dt="2021-05-20T15:09:00.465" v="729" actId="14100"/>
          <ac:spMkLst>
            <pc:docMk/>
            <pc:sldMk cId="4097922123" sldId="524"/>
            <ac:spMk id="34" creationId="{2EEFD4FE-52B9-4F6D-8A92-09FB41AAEBE5}"/>
          </ac:spMkLst>
        </pc:spChg>
        <pc:picChg chg="mod modCrop">
          <ac:chgData name="Allende Bustamante Jose (Codelco-Casa Matriz)" userId="S::jalle011@codelco.cl::54345eee-8770-43bf-b080-e3e333067d62" providerId="AD" clId="Web-{AAC5C99F-00C4-0000-D422-24D4D5DEB1D3}" dt="2021-05-20T15:04:41.539" v="680"/>
          <ac:picMkLst>
            <pc:docMk/>
            <pc:sldMk cId="4097922123" sldId="524"/>
            <ac:picMk id="5" creationId="{2CB55734-DFA4-4C0A-AFB6-68B61AB78CBC}"/>
          </ac:picMkLst>
        </pc:picChg>
      </pc:sldChg>
      <pc:sldChg chg="del">
        <pc:chgData name="Allende Bustamante Jose (Codelco-Casa Matriz)" userId="S::jalle011@codelco.cl::54345eee-8770-43bf-b080-e3e333067d62" providerId="AD" clId="Web-{AAC5C99F-00C4-0000-D422-24D4D5DEB1D3}" dt="2021-05-20T15:09:27.653" v="731"/>
        <pc:sldMkLst>
          <pc:docMk/>
          <pc:sldMk cId="2435291665" sldId="529"/>
        </pc:sldMkLst>
      </pc:sldChg>
      <pc:sldChg chg="del">
        <pc:chgData name="Allende Bustamante Jose (Codelco-Casa Matriz)" userId="S::jalle011@codelco.cl::54345eee-8770-43bf-b080-e3e333067d62" providerId="AD" clId="Web-{AAC5C99F-00C4-0000-D422-24D4D5DEB1D3}" dt="2021-05-20T15:09:20.841" v="730"/>
        <pc:sldMkLst>
          <pc:docMk/>
          <pc:sldMk cId="1296061766" sldId="530"/>
        </pc:sldMkLst>
      </pc:sldChg>
    </pc:docChg>
  </pc:docChgLst>
  <pc:docChgLst>
    <pc:chgData name="Mery Carrasco Mauricio (Codelco-Casa Matriz)" userId="S::mmery004@codelco.cl::a0378191-74de-4d59-9b37-aa421303daba" providerId="AD" clId="Web-{07825057-E25F-4F1D-BB96-F6E4D72BABF4}"/>
    <pc:docChg chg="modSld">
      <pc:chgData name="Mery Carrasco Mauricio (Codelco-Casa Matriz)" userId="S::mmery004@codelco.cl::a0378191-74de-4d59-9b37-aa421303daba" providerId="AD" clId="Web-{07825057-E25F-4F1D-BB96-F6E4D72BABF4}" dt="2020-10-22T11:56:42.310" v="61" actId="1076"/>
      <pc:docMkLst>
        <pc:docMk/>
      </pc:docMkLst>
      <pc:sldChg chg="addSp modSp">
        <pc:chgData name="Mery Carrasco Mauricio (Codelco-Casa Matriz)" userId="S::mmery004@codelco.cl::a0378191-74de-4d59-9b37-aa421303daba" providerId="AD" clId="Web-{07825057-E25F-4F1D-BB96-F6E4D72BABF4}" dt="2020-10-22T11:56:42.310" v="61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07825057-E25F-4F1D-BB96-F6E4D72BABF4}" dt="2020-10-22T11:45:39.592" v="41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39.607" v="42" actId="1076"/>
          <ac:spMkLst>
            <pc:docMk/>
            <pc:sldMk cId="2155997825" sldId="37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10.701" v="38" actId="1076"/>
          <ac:spMkLst>
            <pc:docMk/>
            <pc:sldMk cId="2155997825" sldId="375"/>
            <ac:spMk id="7" creationId="{365F5537-F043-4BA8-93B5-8EA186B36807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450" v="18" actId="1076"/>
          <ac:spMkLst>
            <pc:docMk/>
            <pc:sldMk cId="2155997825" sldId="375"/>
            <ac:spMk id="17" creationId="{92D7D665-E910-49F2-B784-B5B031CE0DE9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466" v="19" actId="1076"/>
          <ac:spMkLst>
            <pc:docMk/>
            <pc:sldMk cId="2155997825" sldId="375"/>
            <ac:spMk id="18" creationId="{B682D45E-A165-4DDC-8609-A871608E67E5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44" v="26" actId="1076"/>
          <ac:spMkLst>
            <pc:docMk/>
            <pc:sldMk cId="2155997825" sldId="375"/>
            <ac:spMk id="24" creationId="{3AEE07E5-D518-4FC9-8E20-C4CFB2B91087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60" v="27" actId="1076"/>
          <ac:spMkLst>
            <pc:docMk/>
            <pc:sldMk cId="2155997825" sldId="375"/>
            <ac:spMk id="25" creationId="{E80B0A98-231F-4399-BCC9-B37E9E64DDBC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60" v="28" actId="1076"/>
          <ac:spMkLst>
            <pc:docMk/>
            <pc:sldMk cId="2155997825" sldId="375"/>
            <ac:spMk id="26" creationId="{F8467257-695B-40ED-A06B-C2A2DB0B6903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75" v="29" actId="1076"/>
          <ac:spMkLst>
            <pc:docMk/>
            <pc:sldMk cId="2155997825" sldId="375"/>
            <ac:spMk id="27" creationId="{EFEBEA8E-D779-4C32-B22F-3A9C1BC4D9B8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54:35.244" v="48" actId="20577"/>
          <ac:spMkLst>
            <pc:docMk/>
            <pc:sldMk cId="2155997825" sldId="375"/>
            <ac:spMk id="29" creationId="{86211927-2F83-4739-AF89-8E874D23A3B0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607" v="31" actId="1076"/>
          <ac:spMkLst>
            <pc:docMk/>
            <pc:sldMk cId="2155997825" sldId="375"/>
            <ac:spMk id="30" creationId="{6612FF36-080A-41C2-9B36-CA83A14D4CC6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607" v="32" actId="1076"/>
          <ac:spMkLst>
            <pc:docMk/>
            <pc:sldMk cId="2155997825" sldId="375"/>
            <ac:spMk id="31" creationId="{24493FDB-8748-48AC-9C1E-26039568AB51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39.561" v="39" actId="1076"/>
          <ac:spMkLst>
            <pc:docMk/>
            <pc:sldMk cId="2155997825" sldId="375"/>
            <ac:spMk id="32" creationId="{82B42E50-48FB-4CE6-8AB7-5D13CD340862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39.576" v="40" actId="1076"/>
          <ac:spMkLst>
            <pc:docMk/>
            <pc:sldMk cId="2155997825" sldId="375"/>
            <ac:spMk id="33" creationId="{EBE4732C-C280-4027-BC02-9C68FE288285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622" v="33" actId="1076"/>
          <ac:spMkLst>
            <pc:docMk/>
            <pc:sldMk cId="2155997825" sldId="375"/>
            <ac:spMk id="34" creationId="{94882F7D-BE97-41DF-B498-BE9984F1B6A9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638" v="34" actId="1076"/>
          <ac:spMkLst>
            <pc:docMk/>
            <pc:sldMk cId="2155997825" sldId="375"/>
            <ac:spMk id="35" creationId="{16CC1F9C-33C0-4E1D-9AB1-DEE805D68F80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654" v="35" actId="1076"/>
          <ac:spMkLst>
            <pc:docMk/>
            <pc:sldMk cId="2155997825" sldId="375"/>
            <ac:spMk id="36" creationId="{9B6AB06B-1B00-48B5-9654-6DA754EF3D63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482" v="20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482" v="21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39.607" v="43" actId="1076"/>
          <ac:spMkLst>
            <pc:docMk/>
            <pc:sldMk cId="2155997825" sldId="375"/>
            <ac:spMk id="39" creationId="{0DA23FCB-6B47-4800-AAEB-A4F1A32DC6F4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39.623" v="44" actId="1076"/>
          <ac:spMkLst>
            <pc:docMk/>
            <pc:sldMk cId="2155997825" sldId="375"/>
            <ac:spMk id="40" creationId="{D67E14A1-6560-4682-BFAD-9236B8CC9C23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10.685" v="36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497" v="22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13" v="23" actId="1076"/>
          <ac:spMkLst>
            <pc:docMk/>
            <pc:sldMk cId="2155997825" sldId="375"/>
            <ac:spMk id="43" creationId="{D3E50C62-A68A-4CB0-A20F-755A1D68CAD2}"/>
          </ac:spMkLst>
        </pc:spChg>
        <pc:spChg chg="add mod">
          <ac:chgData name="Mery Carrasco Mauricio (Codelco-Casa Matriz)" userId="S::mmery004@codelco.cl::a0378191-74de-4d59-9b37-aa421303daba" providerId="AD" clId="Web-{07825057-E25F-4F1D-BB96-F6E4D72BABF4}" dt="2020-10-22T11:55:36.949" v="55"/>
          <ac:spMkLst>
            <pc:docMk/>
            <pc:sldMk cId="2155997825" sldId="375"/>
            <ac:spMk id="44" creationId="{67C741BE-AAD1-40F9-B87F-1022AB85BEB4}"/>
          </ac:spMkLst>
        </pc:spChg>
        <pc:spChg chg="add mod">
          <ac:chgData name="Mery Carrasco Mauricio (Codelco-Casa Matriz)" userId="S::mmery004@codelco.cl::a0378191-74de-4d59-9b37-aa421303daba" providerId="AD" clId="Web-{07825057-E25F-4F1D-BB96-F6E4D72BABF4}" dt="2020-10-22T11:55:46.449" v="57" actId="1076"/>
          <ac:spMkLst>
            <pc:docMk/>
            <pc:sldMk cId="2155997825" sldId="375"/>
            <ac:spMk id="45" creationId="{F0633E82-135E-4804-8AB4-AA702AEDAE48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10.701" v="37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29" v="24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07825057-E25F-4F1D-BB96-F6E4D72BABF4}" dt="2020-10-22T11:45:05.529" v="25" actId="1076"/>
          <ac:spMkLst>
            <pc:docMk/>
            <pc:sldMk cId="2155997825" sldId="375"/>
            <ac:spMk id="48" creationId="{62444E91-07F2-4258-A080-F0F76AFF8F81}"/>
          </ac:spMkLst>
        </pc:spChg>
        <pc:spChg chg="add mod">
          <ac:chgData name="Mery Carrasco Mauricio (Codelco-Casa Matriz)" userId="S::mmery004@codelco.cl::a0378191-74de-4d59-9b37-aa421303daba" providerId="AD" clId="Web-{07825057-E25F-4F1D-BB96-F6E4D72BABF4}" dt="2020-10-22T11:56:30.247" v="59" actId="1076"/>
          <ac:spMkLst>
            <pc:docMk/>
            <pc:sldMk cId="2155997825" sldId="375"/>
            <ac:spMk id="49" creationId="{6D82CDAE-3913-4205-86A4-CE9E40BCFF29}"/>
          </ac:spMkLst>
        </pc:spChg>
        <pc:spChg chg="add mod">
          <ac:chgData name="Mery Carrasco Mauricio (Codelco-Casa Matriz)" userId="S::mmery004@codelco.cl::a0378191-74de-4d59-9b37-aa421303daba" providerId="AD" clId="Web-{07825057-E25F-4F1D-BB96-F6E4D72BABF4}" dt="2020-10-22T11:56:42.310" v="61" actId="1076"/>
          <ac:spMkLst>
            <pc:docMk/>
            <pc:sldMk cId="2155997825" sldId="375"/>
            <ac:spMk id="50" creationId="{1BB041CE-15E7-4AA3-8747-59E4EA470BC7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70A32189-1F61-37A2-27C1-3C3B879FDCE8}"/>
    <pc:docChg chg="addSld delSld modSld">
      <pc:chgData name="Mery Carrasco Mauricio (Codelco-Casa Matriz)" userId="S::mmery004@codelco.cl::a0378191-74de-4d59-9b37-aa421303daba" providerId="AD" clId="Web-{70A32189-1F61-37A2-27C1-3C3B879FDCE8}" dt="2021-06-02T19:14:42.312" v="65"/>
      <pc:docMkLst>
        <pc:docMk/>
      </pc:docMkLst>
      <pc:sldChg chg="modSp">
        <pc:chgData name="Mery Carrasco Mauricio (Codelco-Casa Matriz)" userId="S::mmery004@codelco.cl::a0378191-74de-4d59-9b37-aa421303daba" providerId="AD" clId="Web-{70A32189-1F61-37A2-27C1-3C3B879FDCE8}" dt="2021-06-02T19:12:52.810" v="49" actId="20577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70A32189-1F61-37A2-27C1-3C3B879FDCE8}" dt="2021-06-02T19:12:52.810" v="49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modSp">
        <pc:chgData name="Mery Carrasco Mauricio (Codelco-Casa Matriz)" userId="S::mmery004@codelco.cl::a0378191-74de-4d59-9b37-aa421303daba" providerId="AD" clId="Web-{70A32189-1F61-37A2-27C1-3C3B879FDCE8}" dt="2021-06-02T19:12:52.294" v="44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70A32189-1F61-37A2-27C1-3C3B879FDCE8}" dt="2021-06-02T19:12:52.294" v="44" actId="20577"/>
          <ac:spMkLst>
            <pc:docMk/>
            <pc:sldMk cId="2155997825" sldId="375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2:51.466" v="39" actId="20577"/>
          <ac:spMkLst>
            <pc:docMk/>
            <pc:sldMk cId="2155997825" sldId="375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2:52.013" v="41" actId="20577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2:51.544" v="40" actId="20577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2:14.856" v="35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2:00.793" v="31" actId="20577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1:47.168" v="23" actId="20577"/>
          <ac:spMkLst>
            <pc:docMk/>
            <pc:sldMk cId="2155997825" sldId="375"/>
            <ac:spMk id="50" creationId="{CAB885FA-46E1-44EF-8D19-C807FC349CC4}"/>
          </ac:spMkLst>
        </pc:spChg>
      </pc:sldChg>
      <pc:sldChg chg="delCm">
        <pc:chgData name="Mery Carrasco Mauricio (Codelco-Casa Matriz)" userId="S::mmery004@codelco.cl::a0378191-74de-4d59-9b37-aa421303daba" providerId="AD" clId="Web-{70A32189-1F61-37A2-27C1-3C3B879FDCE8}" dt="2021-06-02T19:14:30.171" v="64"/>
        <pc:sldMkLst>
          <pc:docMk/>
          <pc:sldMk cId="1544981574" sldId="409"/>
        </pc:sldMkLst>
      </pc:sldChg>
      <pc:sldChg chg="modSp delCm">
        <pc:chgData name="Mery Carrasco Mauricio (Codelco-Casa Matriz)" userId="S::mmery004@codelco.cl::a0378191-74de-4d59-9b37-aa421303daba" providerId="AD" clId="Web-{70A32189-1F61-37A2-27C1-3C3B879FDCE8}" dt="2021-06-02T19:14:42.312" v="65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70A32189-1F61-37A2-27C1-3C3B879FDCE8}" dt="2021-06-02T19:10:40.354" v="16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0:40.104" v="13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Mery Carrasco Mauricio (Codelco-Casa Matriz)" userId="S::mmery004@codelco.cl::a0378191-74de-4d59-9b37-aa421303daba" providerId="AD" clId="Web-{70A32189-1F61-37A2-27C1-3C3B879FDCE8}" dt="2021-06-02T19:14:09.405" v="63"/>
        <pc:sldMkLst>
          <pc:docMk/>
          <pc:sldMk cId="542542969" sldId="518"/>
        </pc:sldMkLst>
      </pc:sldChg>
      <pc:sldChg chg="modSp add replId">
        <pc:chgData name="Mery Carrasco Mauricio (Codelco-Casa Matriz)" userId="S::mmery004@codelco.cl::a0378191-74de-4d59-9b37-aa421303daba" providerId="AD" clId="Web-{70A32189-1F61-37A2-27C1-3C3B879FDCE8}" dt="2021-06-02T19:13:58.561" v="62"/>
        <pc:sldMkLst>
          <pc:docMk/>
          <pc:sldMk cId="2219402378" sldId="520"/>
        </pc:sldMkLst>
        <pc:spChg chg="mod">
          <ac:chgData name="Mery Carrasco Mauricio (Codelco-Casa Matriz)" userId="S::mmery004@codelco.cl::a0378191-74de-4d59-9b37-aa421303daba" providerId="AD" clId="Web-{70A32189-1F61-37A2-27C1-3C3B879FDCE8}" dt="2021-06-02T19:13:32.686" v="55"/>
          <ac:spMkLst>
            <pc:docMk/>
            <pc:sldMk cId="2219402378" sldId="520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58.561" v="61"/>
          <ac:spMkLst>
            <pc:docMk/>
            <pc:sldMk cId="2219402378" sldId="520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32.701" v="56"/>
          <ac:spMkLst>
            <pc:docMk/>
            <pc:sldMk cId="2219402378" sldId="520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58.561" v="62"/>
          <ac:spMkLst>
            <pc:docMk/>
            <pc:sldMk cId="2219402378" sldId="520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32.639" v="51"/>
          <ac:spMkLst>
            <pc:docMk/>
            <pc:sldMk cId="2219402378" sldId="520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58.499" v="57"/>
          <ac:spMkLst>
            <pc:docMk/>
            <pc:sldMk cId="2219402378" sldId="520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32.654" v="52"/>
          <ac:spMkLst>
            <pc:docMk/>
            <pc:sldMk cId="2219402378" sldId="520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58.514" v="58"/>
          <ac:spMkLst>
            <pc:docMk/>
            <pc:sldMk cId="2219402378" sldId="520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32.670" v="53"/>
          <ac:spMkLst>
            <pc:docMk/>
            <pc:sldMk cId="2219402378" sldId="520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58.530" v="59"/>
          <ac:spMkLst>
            <pc:docMk/>
            <pc:sldMk cId="2219402378" sldId="520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32.670" v="54"/>
          <ac:spMkLst>
            <pc:docMk/>
            <pc:sldMk cId="2219402378" sldId="520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70A32189-1F61-37A2-27C1-3C3B879FDCE8}" dt="2021-06-02T19:13:58.545" v="60"/>
          <ac:spMkLst>
            <pc:docMk/>
            <pc:sldMk cId="2219402378" sldId="520"/>
            <ac:spMk id="51" creationId="{F913A60D-2783-4406-9452-4739CB932FC8}"/>
          </ac:spMkLst>
        </pc:spChg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822" v="8"/>
        <pc:sldMkLst>
          <pc:docMk/>
          <pc:sldMk cId="1095406074" sldId="521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807" v="7"/>
        <pc:sldMkLst>
          <pc:docMk/>
          <pc:sldMk cId="2744369828" sldId="522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807" v="6"/>
        <pc:sldMkLst>
          <pc:docMk/>
          <pc:sldMk cId="2681686832" sldId="523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791" v="5"/>
        <pc:sldMkLst>
          <pc:docMk/>
          <pc:sldMk cId="4097922123" sldId="524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775" v="4"/>
        <pc:sldMkLst>
          <pc:docMk/>
          <pc:sldMk cId="3539041446" sldId="525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760" v="3"/>
        <pc:sldMkLst>
          <pc:docMk/>
          <pc:sldMk cId="3254988731" sldId="526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760" v="2"/>
        <pc:sldMkLst>
          <pc:docMk/>
          <pc:sldMk cId="1795708575" sldId="527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744" v="1"/>
        <pc:sldMkLst>
          <pc:docMk/>
          <pc:sldMk cId="1869297631" sldId="528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744" v="0"/>
        <pc:sldMkLst>
          <pc:docMk/>
          <pc:sldMk cId="2547109870" sldId="531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854" v="9"/>
        <pc:sldMkLst>
          <pc:docMk/>
          <pc:sldMk cId="1637169685" sldId="532"/>
        </pc:sldMkLst>
      </pc:sldChg>
      <pc:sldChg chg="del">
        <pc:chgData name="Mery Carrasco Mauricio (Codelco-Casa Matriz)" userId="S::mmery004@codelco.cl::a0378191-74de-4d59-9b37-aa421303daba" providerId="AD" clId="Web-{70A32189-1F61-37A2-27C1-3C3B879FDCE8}" dt="2021-06-02T19:10:25.885" v="10"/>
        <pc:sldMkLst>
          <pc:docMk/>
          <pc:sldMk cId="3057930123" sldId="533"/>
        </pc:sldMkLst>
      </pc:sldChg>
    </pc:docChg>
  </pc:docChgLst>
  <pc:docChgLst>
    <pc:chgData name="Allende Bustamante Jose (Codelco-Casa Matriz)" userId="S::jalle011@codelco.cl::54345eee-8770-43bf-b080-e3e333067d62" providerId="AD" clId="Web-{608F183A-85E0-2BB0-B789-35F3C20EF198}"/>
    <pc:docChg chg="addSld delSld modSld">
      <pc:chgData name="Allende Bustamante Jose (Codelco-Casa Matriz)" userId="S::jalle011@codelco.cl::54345eee-8770-43bf-b080-e3e333067d62" providerId="AD" clId="Web-{608F183A-85E0-2BB0-B789-35F3C20EF198}" dt="2021-03-12T14:29:31.005" v="122" actId="20577"/>
      <pc:docMkLst>
        <pc:docMk/>
      </pc:docMkLst>
      <pc:sldChg chg="del">
        <pc:chgData name="Allende Bustamante Jose (Codelco-Casa Matriz)" userId="S::jalle011@codelco.cl::54345eee-8770-43bf-b080-e3e333067d62" providerId="AD" clId="Web-{608F183A-85E0-2BB0-B789-35F3C20EF198}" dt="2021-03-12T14:19:08.738" v="0"/>
        <pc:sldMkLst>
          <pc:docMk/>
          <pc:sldMk cId="93137696" sldId="449"/>
        </pc:sldMkLst>
      </pc:sldChg>
      <pc:sldChg chg="modSp">
        <pc:chgData name="Allende Bustamante Jose (Codelco-Casa Matriz)" userId="S::jalle011@codelco.cl::54345eee-8770-43bf-b080-e3e333067d62" providerId="AD" clId="Web-{608F183A-85E0-2BB0-B789-35F3C20EF198}" dt="2021-03-12T14:21:56.946" v="13" actId="20577"/>
        <pc:sldMkLst>
          <pc:docMk/>
          <pc:sldMk cId="3214154555" sldId="453"/>
        </pc:sldMkLst>
        <pc:spChg chg="mod">
          <ac:chgData name="Allende Bustamante Jose (Codelco-Casa Matriz)" userId="S::jalle011@codelco.cl::54345eee-8770-43bf-b080-e3e333067d62" providerId="AD" clId="Web-{608F183A-85E0-2BB0-B789-35F3C20EF198}" dt="2021-03-12T14:21:35.039" v="10" actId="20577"/>
          <ac:spMkLst>
            <pc:docMk/>
            <pc:sldMk cId="3214154555" sldId="453"/>
            <ac:spMk id="313" creationId="{4DDA8D84-64D2-F04C-BCDB-22E136DF8E9F}"/>
          </ac:spMkLst>
        </pc:spChg>
        <pc:spChg chg="mod">
          <ac:chgData name="Allende Bustamante Jose (Codelco-Casa Matriz)" userId="S::jalle011@codelco.cl::54345eee-8770-43bf-b080-e3e333067d62" providerId="AD" clId="Web-{608F183A-85E0-2BB0-B789-35F3C20EF198}" dt="2021-03-12T14:21:56.946" v="13" actId="20577"/>
          <ac:spMkLst>
            <pc:docMk/>
            <pc:sldMk cId="3214154555" sldId="453"/>
            <ac:spMk id="347" creationId="{9D157D71-A778-5148-9E34-995298658A82}"/>
          </ac:spMkLst>
        </pc:spChg>
        <pc:spChg chg="mod">
          <ac:chgData name="Allende Bustamante Jose (Codelco-Casa Matriz)" userId="S::jalle011@codelco.cl::54345eee-8770-43bf-b080-e3e333067d62" providerId="AD" clId="Web-{608F183A-85E0-2BB0-B789-35F3C20EF198}" dt="2021-03-12T14:21:50.602" v="12" actId="20577"/>
          <ac:spMkLst>
            <pc:docMk/>
            <pc:sldMk cId="3214154555" sldId="453"/>
            <ac:spMk id="350" creationId="{4FF00DC6-EFF7-2E46-AE13-2F404F75A4DD}"/>
          </ac:spMkLst>
        </pc:spChg>
      </pc:sldChg>
      <pc:sldChg chg="modSp">
        <pc:chgData name="Allende Bustamante Jose (Codelco-Casa Matriz)" userId="S::jalle011@codelco.cl::54345eee-8770-43bf-b080-e3e333067d62" providerId="AD" clId="Web-{608F183A-85E0-2BB0-B789-35F3C20EF198}" dt="2021-03-12T14:29:05.661" v="120" actId="20577"/>
        <pc:sldMkLst>
          <pc:docMk/>
          <pc:sldMk cId="1645582534" sldId="454"/>
        </pc:sldMkLst>
        <pc:spChg chg="mod">
          <ac:chgData name="Allende Bustamante Jose (Codelco-Casa Matriz)" userId="S::jalle011@codelco.cl::54345eee-8770-43bf-b080-e3e333067d62" providerId="AD" clId="Web-{608F183A-85E0-2BB0-B789-35F3C20EF198}" dt="2021-03-12T14:29:05.661" v="120" actId="20577"/>
          <ac:spMkLst>
            <pc:docMk/>
            <pc:sldMk cId="1645582534" sldId="454"/>
            <ac:spMk id="145" creationId="{3F302836-4F68-4641-BD29-64B0A72CA38E}"/>
          </ac:spMkLst>
        </pc:spChg>
      </pc:sldChg>
      <pc:sldChg chg="modSp">
        <pc:chgData name="Allende Bustamante Jose (Codelco-Casa Matriz)" userId="S::jalle011@codelco.cl::54345eee-8770-43bf-b080-e3e333067d62" providerId="AD" clId="Web-{608F183A-85E0-2BB0-B789-35F3C20EF198}" dt="2021-03-12T14:29:31.005" v="122" actId="20577"/>
        <pc:sldMkLst>
          <pc:docMk/>
          <pc:sldMk cId="500662025" sldId="455"/>
        </pc:sldMkLst>
        <pc:spChg chg="mod">
          <ac:chgData name="Allende Bustamante Jose (Codelco-Casa Matriz)" userId="S::jalle011@codelco.cl::54345eee-8770-43bf-b080-e3e333067d62" providerId="AD" clId="Web-{608F183A-85E0-2BB0-B789-35F3C20EF198}" dt="2021-03-12T14:29:31.005" v="122" actId="20577"/>
          <ac:spMkLst>
            <pc:docMk/>
            <pc:sldMk cId="500662025" sldId="455"/>
            <ac:spMk id="9" creationId="{00000000-0000-0000-0000-000000000000}"/>
          </ac:spMkLst>
        </pc:spChg>
        <pc:spChg chg="mod">
          <ac:chgData name="Allende Bustamante Jose (Codelco-Casa Matriz)" userId="S::jalle011@codelco.cl::54345eee-8770-43bf-b080-e3e333067d62" providerId="AD" clId="Web-{608F183A-85E0-2BB0-B789-35F3C20EF198}" dt="2021-03-12T14:28:35.895" v="99" actId="20577"/>
          <ac:spMkLst>
            <pc:docMk/>
            <pc:sldMk cId="500662025" sldId="455"/>
            <ac:spMk id="145" creationId="{3F302836-4F68-4641-BD29-64B0A72CA38E}"/>
          </ac:spMkLst>
        </pc:spChg>
      </pc:sldChg>
      <pc:sldChg chg="modSp">
        <pc:chgData name="Allende Bustamante Jose (Codelco-Casa Matriz)" userId="S::jalle011@codelco.cl::54345eee-8770-43bf-b080-e3e333067d62" providerId="AD" clId="Web-{608F183A-85E0-2BB0-B789-35F3C20EF198}" dt="2021-03-12T14:27:55.409" v="55" actId="20577"/>
        <pc:sldMkLst>
          <pc:docMk/>
          <pc:sldMk cId="1664775789" sldId="456"/>
        </pc:sldMkLst>
        <pc:spChg chg="mod">
          <ac:chgData name="Allende Bustamante Jose (Codelco-Casa Matriz)" userId="S::jalle011@codelco.cl::54345eee-8770-43bf-b080-e3e333067d62" providerId="AD" clId="Web-{608F183A-85E0-2BB0-B789-35F3C20EF198}" dt="2021-03-12T14:21:06.241" v="2" actId="20577"/>
          <ac:spMkLst>
            <pc:docMk/>
            <pc:sldMk cId="1664775789" sldId="456"/>
            <ac:spMk id="2" creationId="{00000000-0000-0000-0000-000000000000}"/>
          </ac:spMkLst>
        </pc:spChg>
        <pc:spChg chg="mod">
          <ac:chgData name="Allende Bustamante Jose (Codelco-Casa Matriz)" userId="S::jalle011@codelco.cl::54345eee-8770-43bf-b080-e3e333067d62" providerId="AD" clId="Web-{608F183A-85E0-2BB0-B789-35F3C20EF198}" dt="2021-03-12T14:27:55.409" v="55" actId="20577"/>
          <ac:spMkLst>
            <pc:docMk/>
            <pc:sldMk cId="1664775789" sldId="456"/>
            <ac:spMk id="145" creationId="{3F302836-4F68-4641-BD29-64B0A72CA38E}"/>
          </ac:spMkLst>
        </pc:spChg>
      </pc:sldChg>
      <pc:sldChg chg="add">
        <pc:chgData name="Allende Bustamante Jose (Codelco-Casa Matriz)" userId="S::jalle011@codelco.cl::54345eee-8770-43bf-b080-e3e333067d62" providerId="AD" clId="Web-{608F183A-85E0-2BB0-B789-35F3C20EF198}" dt="2021-03-12T14:23:47.512" v="14"/>
        <pc:sldMkLst>
          <pc:docMk/>
          <pc:sldMk cId="3216171305" sldId="458"/>
        </pc:sldMkLst>
      </pc:sldChg>
    </pc:docChg>
  </pc:docChgLst>
  <pc:docChgLst>
    <pc:chgData name="Mery Carrasco Mauricio (Codelco-Casa Matriz)" userId="S::mmery004@codelco.cl::a0378191-74de-4d59-9b37-aa421303daba" providerId="AD" clId="Web-{5461AD91-4DC6-F1D6-9408-7F40BAD260BC}"/>
    <pc:docChg chg="delSld modSld sldOrd">
      <pc:chgData name="Mery Carrasco Mauricio (Codelco-Casa Matriz)" userId="S::mmery004@codelco.cl::a0378191-74de-4d59-9b37-aa421303daba" providerId="AD" clId="Web-{5461AD91-4DC6-F1D6-9408-7F40BAD260BC}" dt="2021-04-15T15:53:47.659" v="18" actId="20577"/>
      <pc:docMkLst>
        <pc:docMk/>
      </pc:docMkLst>
      <pc:sldChg chg="modSp">
        <pc:chgData name="Mery Carrasco Mauricio (Codelco-Casa Matriz)" userId="S::mmery004@codelco.cl::a0378191-74de-4d59-9b37-aa421303daba" providerId="AD" clId="Web-{5461AD91-4DC6-F1D6-9408-7F40BAD260BC}" dt="2021-04-15T15:49:32.722" v="17" actId="1076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5461AD91-4DC6-F1D6-9408-7F40BAD260BC}" dt="2021-04-15T15:49:11.439" v="10" actId="1076"/>
          <ac:spMkLst>
            <pc:docMk/>
            <pc:sldMk cId="2155997825" sldId="375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18.424" v="11" actId="1076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18.502" v="12" actId="1076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32.612" v="13" actId="1076"/>
          <ac:spMkLst>
            <pc:docMk/>
            <pc:sldMk cId="2155997825" sldId="375"/>
            <ac:spMk id="29" creationId="{FFED319F-853F-4E15-92EB-438E69BFF0AB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32.644" v="14" actId="1076"/>
          <ac:spMkLst>
            <pc:docMk/>
            <pc:sldMk cId="2155997825" sldId="37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32.675" v="15" actId="1076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32.691" v="16" actId="1076"/>
          <ac:spMkLst>
            <pc:docMk/>
            <pc:sldMk cId="2155997825" sldId="375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32.722" v="17" actId="1076"/>
          <ac:spMkLst>
            <pc:docMk/>
            <pc:sldMk cId="2155997825" sldId="375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5461AD91-4DC6-F1D6-9408-7F40BAD260BC}" dt="2021-04-15T15:49:06.939" v="9" actId="1076"/>
          <ac:spMkLst>
            <pc:docMk/>
            <pc:sldMk cId="2155997825" sldId="375"/>
            <ac:spMk id="40" creationId="{80DA0721-0F90-4A6D-AB10-DE73BA9A477C}"/>
          </ac:spMkLst>
        </pc:spChg>
      </pc:sldChg>
      <pc:sldChg chg="modSp">
        <pc:chgData name="Mery Carrasco Mauricio (Codelco-Casa Matriz)" userId="S::mmery004@codelco.cl::a0378191-74de-4d59-9b37-aa421303daba" providerId="AD" clId="Web-{5461AD91-4DC6-F1D6-9408-7F40BAD260BC}" dt="2021-04-15T15:46:07.756" v="3" actId="2057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5461AD91-4DC6-F1D6-9408-7F40BAD260BC}" dt="2021-04-15T15:46:07.756" v="3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Mery Carrasco Mauricio (Codelco-Casa Matriz)" userId="S::mmery004@codelco.cl::a0378191-74de-4d59-9b37-aa421303daba" providerId="AD" clId="Web-{5461AD91-4DC6-F1D6-9408-7F40BAD260BC}" dt="2021-04-15T15:47:30.511" v="5"/>
        <pc:sldMkLst>
          <pc:docMk/>
          <pc:sldMk cId="3214154555" sldId="453"/>
        </pc:sldMkLst>
      </pc:sldChg>
      <pc:sldChg chg="ord">
        <pc:chgData name="Mery Carrasco Mauricio (Codelco-Casa Matriz)" userId="S::mmery004@codelco.cl::a0378191-74de-4d59-9b37-aa421303daba" providerId="AD" clId="Web-{5461AD91-4DC6-F1D6-9408-7F40BAD260BC}" dt="2021-04-15T15:48:22.358" v="6"/>
        <pc:sldMkLst>
          <pc:docMk/>
          <pc:sldMk cId="3704017336" sldId="460"/>
        </pc:sldMkLst>
      </pc:sldChg>
      <pc:sldChg chg="ord">
        <pc:chgData name="Mery Carrasco Mauricio (Codelco-Casa Matriz)" userId="S::mmery004@codelco.cl::a0378191-74de-4d59-9b37-aa421303daba" providerId="AD" clId="Web-{5461AD91-4DC6-F1D6-9408-7F40BAD260BC}" dt="2021-04-15T15:48:54.282" v="8"/>
        <pc:sldMkLst>
          <pc:docMk/>
          <pc:sldMk cId="907356848" sldId="461"/>
        </pc:sldMkLst>
      </pc:sldChg>
      <pc:sldChg chg="modSp">
        <pc:chgData name="Mery Carrasco Mauricio (Codelco-Casa Matriz)" userId="S::mmery004@codelco.cl::a0378191-74de-4d59-9b37-aa421303daba" providerId="AD" clId="Web-{5461AD91-4DC6-F1D6-9408-7F40BAD260BC}" dt="2021-04-15T15:53:47.659" v="18" actId="20577"/>
        <pc:sldMkLst>
          <pc:docMk/>
          <pc:sldMk cId="2685714109" sldId="472"/>
        </pc:sldMkLst>
        <pc:spChg chg="mod">
          <ac:chgData name="Mery Carrasco Mauricio (Codelco-Casa Matriz)" userId="S::mmery004@codelco.cl::a0378191-74de-4d59-9b37-aa421303daba" providerId="AD" clId="Web-{5461AD91-4DC6-F1D6-9408-7F40BAD260BC}" dt="2021-04-15T15:53:47.659" v="18" actId="20577"/>
          <ac:spMkLst>
            <pc:docMk/>
            <pc:sldMk cId="2685714109" sldId="472"/>
            <ac:spMk id="214" creationId="{AF78D2C8-2382-4C29-B4E9-EA45955FC7FF}"/>
          </ac:spMkLst>
        </pc:spChg>
      </pc:sldChg>
      <pc:sldChg chg="ord">
        <pc:chgData name="Mery Carrasco Mauricio (Codelco-Casa Matriz)" userId="S::mmery004@codelco.cl::a0378191-74de-4d59-9b37-aa421303daba" providerId="AD" clId="Web-{5461AD91-4DC6-F1D6-9408-7F40BAD260BC}" dt="2021-04-15T15:46:25.663" v="4"/>
        <pc:sldMkLst>
          <pc:docMk/>
          <pc:sldMk cId="1139246217" sldId="482"/>
        </pc:sldMkLst>
      </pc:sldChg>
      <pc:sldChg chg="ord">
        <pc:chgData name="Mery Carrasco Mauricio (Codelco-Casa Matriz)" userId="S::mmery004@codelco.cl::a0378191-74de-4d59-9b37-aa421303daba" providerId="AD" clId="Web-{5461AD91-4DC6-F1D6-9408-7F40BAD260BC}" dt="2021-04-15T15:48:46.797" v="7"/>
        <pc:sldMkLst>
          <pc:docMk/>
          <pc:sldMk cId="4168263200" sldId="487"/>
        </pc:sldMkLst>
      </pc:sldChg>
    </pc:docChg>
  </pc:docChgLst>
  <pc:docChgLst>
    <pc:chgData name="Hasche Henriquez Juan (Codelco-Casa Matriz)" userId="S::jhasc001@codelco.cl::3c6fd06c-6148-4623-afa3-6f26df7f9780" providerId="AD" clId="Web-{1A2462BA-6C72-BB76-EEB9-414588CDEE0A}"/>
    <pc:docChg chg="modSld">
      <pc:chgData name="Hasche Henriquez Juan (Codelco-Casa Matriz)" userId="S::jhasc001@codelco.cl::3c6fd06c-6148-4623-afa3-6f26df7f9780" providerId="AD" clId="Web-{1A2462BA-6C72-BB76-EEB9-414588CDEE0A}" dt="2021-08-03T20:17:47.255" v="0" actId="20577"/>
      <pc:docMkLst>
        <pc:docMk/>
      </pc:docMkLst>
      <pc:sldChg chg="modSp">
        <pc:chgData name="Hasche Henriquez Juan (Codelco-Casa Matriz)" userId="S::jhasc001@codelco.cl::3c6fd06c-6148-4623-afa3-6f26df7f9780" providerId="AD" clId="Web-{1A2462BA-6C72-BB76-EEB9-414588CDEE0A}" dt="2021-08-03T20:17:47.255" v="0" actId="20577"/>
        <pc:sldMkLst>
          <pc:docMk/>
          <pc:sldMk cId="1775339418" sldId="440"/>
        </pc:sldMkLst>
        <pc:spChg chg="mod">
          <ac:chgData name="Hasche Henriquez Juan (Codelco-Casa Matriz)" userId="S::jhasc001@codelco.cl::3c6fd06c-6148-4623-afa3-6f26df7f9780" providerId="AD" clId="Web-{1A2462BA-6C72-BB76-EEB9-414588CDEE0A}" dt="2021-08-03T20:17:47.255" v="0" actId="20577"/>
          <ac:spMkLst>
            <pc:docMk/>
            <pc:sldMk cId="1775339418" sldId="440"/>
            <ac:spMk id="19" creationId="{488562D1-4154-4B20-8682-0B484D7B4DCB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06385F2B-365A-7196-F625-973B6FE85929}"/>
    <pc:docChg chg="modSld">
      <pc:chgData name="Paillacar Oyarzo Paulo Ignacio (Codelco-Casa Matriz)" userId="S::ppail001@codelco.cl::3f9c4ec0-dfff-4bc5-ba03-192dd672e537" providerId="AD" clId="Web-{06385F2B-365A-7196-F625-973B6FE85929}" dt="2020-11-05T13:14:47.227" v="86"/>
      <pc:docMkLst>
        <pc:docMk/>
      </pc:docMkLst>
      <pc:sldChg chg="delSp modSp mod modShow">
        <pc:chgData name="Paillacar Oyarzo Paulo Ignacio (Codelco-Casa Matriz)" userId="S::ppail001@codelco.cl::3f9c4ec0-dfff-4bc5-ba03-192dd672e537" providerId="AD" clId="Web-{06385F2B-365A-7196-F625-973B6FE85929}" dt="2020-11-05T13:14:47.227" v="86"/>
        <pc:sldMkLst>
          <pc:docMk/>
          <pc:sldMk cId="131058556" sldId="410"/>
        </pc:sldMkLst>
        <pc:spChg chg="mod">
          <ac:chgData name="Paillacar Oyarzo Paulo Ignacio (Codelco-Casa Matriz)" userId="S::ppail001@codelco.cl::3f9c4ec0-dfff-4bc5-ba03-192dd672e537" providerId="AD" clId="Web-{06385F2B-365A-7196-F625-973B6FE85929}" dt="2020-11-05T13:12:39.146" v="47" actId="20577"/>
          <ac:spMkLst>
            <pc:docMk/>
            <pc:sldMk cId="131058556" sldId="410"/>
            <ac:spMk id="3" creationId="{E73EE9E8-A3BD-4DC0-BF96-29D33E6230AE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33" v="77"/>
          <ac:spMkLst>
            <pc:docMk/>
            <pc:sldMk cId="131058556" sldId="410"/>
            <ac:spMk id="5" creationId="{B6107020-9226-4C2B-A336-84BC2ABD17DB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68"/>
          <ac:spMkLst>
            <pc:docMk/>
            <pc:sldMk cId="131058556" sldId="410"/>
            <ac:spMk id="7" creationId="{088AE933-1C0B-46F3-93D8-39AF36E937A4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33" v="76"/>
          <ac:spMkLst>
            <pc:docMk/>
            <pc:sldMk cId="131058556" sldId="410"/>
            <ac:spMk id="42" creationId="{0D92A1DC-86C3-4906-A145-E3857FFB792E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33" v="75"/>
          <ac:spMkLst>
            <pc:docMk/>
            <pc:sldMk cId="131058556" sldId="410"/>
            <ac:spMk id="47" creationId="{5261C3D2-7498-4A49-9857-4EFE444DEF34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8.337" v="78"/>
          <ac:spMkLst>
            <pc:docMk/>
            <pc:sldMk cId="131058556" sldId="410"/>
            <ac:spMk id="55" creationId="{03B20D38-7518-4D7E-B264-8DF68060C22D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8.446" v="79"/>
          <ac:spMkLst>
            <pc:docMk/>
            <pc:sldMk cId="131058556" sldId="410"/>
            <ac:spMk id="56" creationId="{FE09E130-5383-4F13-9B68-C9DC339618B5}"/>
          </ac:spMkLst>
        </pc:spChg>
        <pc:spChg chg="del mod">
          <ac:chgData name="Paillacar Oyarzo Paulo Ignacio (Codelco-Casa Matriz)" userId="S::ppail001@codelco.cl::3f9c4ec0-dfff-4bc5-ba03-192dd672e537" providerId="AD" clId="Web-{06385F2B-365A-7196-F625-973B6FE85929}" dt="2020-11-05T13:14:42.649" v="83"/>
          <ac:spMkLst>
            <pc:docMk/>
            <pc:sldMk cId="131058556" sldId="410"/>
            <ac:spMk id="57" creationId="{34A55F5F-F23A-46A4-B2EE-9567DCD7739F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40.493" v="81"/>
          <ac:spMkLst>
            <pc:docMk/>
            <pc:sldMk cId="131058556" sldId="410"/>
            <ac:spMk id="59" creationId="{CA5C4D75-3027-4330-B481-764B00235CE6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65"/>
          <ac:spMkLst>
            <pc:docMk/>
            <pc:sldMk cId="131058556" sldId="410"/>
            <ac:spMk id="70" creationId="{C79DD3EB-1F96-43DC-B5E6-F7639182F8B5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64"/>
          <ac:spMkLst>
            <pc:docMk/>
            <pc:sldMk cId="131058556" sldId="410"/>
            <ac:spMk id="71" creationId="{0AB91C27-965B-4E92-81CC-031614C3752E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60"/>
          <ac:spMkLst>
            <pc:docMk/>
            <pc:sldMk cId="131058556" sldId="410"/>
            <ac:spMk id="77" creationId="{52642F24-FC68-4B08-A328-D3F56DDA5F80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59"/>
          <ac:spMkLst>
            <pc:docMk/>
            <pc:sldMk cId="131058556" sldId="410"/>
            <ac:spMk id="87" creationId="{EF455B18-767D-4AFF-9945-A01C3085FF7D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56"/>
          <ac:spMkLst>
            <pc:docMk/>
            <pc:sldMk cId="131058556" sldId="410"/>
            <ac:spMk id="102" creationId="{B16C9279-F258-4BED-AAAE-35F14387386D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18" v="55"/>
          <ac:spMkLst>
            <pc:docMk/>
            <pc:sldMk cId="131058556" sldId="410"/>
            <ac:spMk id="103" creationId="{B91BFF22-683D-4A2E-991F-3EE0F2081840}"/>
          </ac:spMkLst>
        </pc:spChg>
        <pc:spChg chg="del">
          <ac:chgData name="Paillacar Oyarzo Paulo Ignacio (Codelco-Casa Matriz)" userId="S::ppail001@codelco.cl::3f9c4ec0-dfff-4bc5-ba03-192dd672e537" providerId="AD" clId="Web-{06385F2B-365A-7196-F625-973B6FE85929}" dt="2020-11-05T13:14:36.602" v="52"/>
          <ac:spMkLst>
            <pc:docMk/>
            <pc:sldMk cId="131058556" sldId="410"/>
            <ac:spMk id="119" creationId="{89244015-A3C3-4326-BE34-57117F800297}"/>
          </ac:spMkLst>
        </pc:spChg>
        <pc:grpChg chg="del">
          <ac:chgData name="Paillacar Oyarzo Paulo Ignacio (Codelco-Casa Matriz)" userId="S::ppail001@codelco.cl::3f9c4ec0-dfff-4bc5-ba03-192dd672e537" providerId="AD" clId="Web-{06385F2B-365A-7196-F625-973B6FE85929}" dt="2020-11-05T13:14:36.618" v="67"/>
          <ac:grpSpMkLst>
            <pc:docMk/>
            <pc:sldMk cId="131058556" sldId="410"/>
            <ac:grpSpMk id="46" creationId="{04D694AC-42F1-4F38-A566-6AA7DF837F94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18" v="66"/>
          <ac:grpSpMkLst>
            <pc:docMk/>
            <pc:sldMk cId="131058556" sldId="410"/>
            <ac:grpSpMk id="50" creationId="{0A9256C9-7E63-4F3F-A960-D0A4C8AE74A7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02" v="51"/>
          <ac:grpSpMkLst>
            <pc:docMk/>
            <pc:sldMk cId="131058556" sldId="410"/>
            <ac:grpSpMk id="66" creationId="{F364CDA7-E1E5-40BF-8618-E8C6EB12F7AE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02" v="50"/>
          <ac:grpSpMkLst>
            <pc:docMk/>
            <pc:sldMk cId="131058556" sldId="410"/>
            <ac:grpSpMk id="69" creationId="{EFA13BFD-8FA1-485F-B1D6-492819C5CD89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18" v="63"/>
          <ac:grpSpMkLst>
            <pc:docMk/>
            <pc:sldMk cId="131058556" sldId="410"/>
            <ac:grpSpMk id="72" creationId="{2A25FD10-2EE3-4B4F-818B-400539E7F27A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33" v="74"/>
          <ac:grpSpMkLst>
            <pc:docMk/>
            <pc:sldMk cId="131058556" sldId="410"/>
            <ac:grpSpMk id="78" creationId="{540F1593-67A5-4303-9863-025D9D8F7FFA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33" v="73"/>
          <ac:grpSpMkLst>
            <pc:docMk/>
            <pc:sldMk cId="131058556" sldId="410"/>
            <ac:grpSpMk id="81" creationId="{6FA4B873-5F97-4AAC-A250-5ECCFFB50564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18" v="58"/>
          <ac:grpSpMkLst>
            <pc:docMk/>
            <pc:sldMk cId="131058556" sldId="410"/>
            <ac:grpSpMk id="88" creationId="{88103017-0D8F-4123-AA27-39D1E1788120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18" v="72"/>
          <ac:grpSpMkLst>
            <pc:docMk/>
            <pc:sldMk cId="131058556" sldId="410"/>
            <ac:grpSpMk id="90" creationId="{0D5EF86A-B89A-42BC-BEE3-17E259B0AD66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18" v="57"/>
          <ac:grpSpMkLst>
            <pc:docMk/>
            <pc:sldMk cId="131058556" sldId="410"/>
            <ac:grpSpMk id="94" creationId="{B786FC84-695C-4A50-AE45-DE57F84A45E7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02" v="54"/>
          <ac:grpSpMkLst>
            <pc:docMk/>
            <pc:sldMk cId="131058556" sldId="410"/>
            <ac:grpSpMk id="104" creationId="{F635E588-2E44-4FA7-AC4E-B77AA9010125}"/>
          </ac:grpSpMkLst>
        </pc:grpChg>
        <pc:grpChg chg="del">
          <ac:chgData name="Paillacar Oyarzo Paulo Ignacio (Codelco-Casa Matriz)" userId="S::ppail001@codelco.cl::3f9c4ec0-dfff-4bc5-ba03-192dd672e537" providerId="AD" clId="Web-{06385F2B-365A-7196-F625-973B6FE85929}" dt="2020-11-05T13:14:36.602" v="53"/>
          <ac:grpSpMkLst>
            <pc:docMk/>
            <pc:sldMk cId="131058556" sldId="410"/>
            <ac:grpSpMk id="107" creationId="{4B93A529-11AD-4245-B9EA-419FE8B83585}"/>
          </ac:grpSpMkLst>
        </pc:grpChg>
        <pc:cxnChg chg="del">
          <ac:chgData name="Paillacar Oyarzo Paulo Ignacio (Codelco-Casa Matriz)" userId="S::ppail001@codelco.cl::3f9c4ec0-dfff-4bc5-ba03-192dd672e537" providerId="AD" clId="Web-{06385F2B-365A-7196-F625-973B6FE85929}" dt="2020-11-05T13:14:45.024" v="84"/>
          <ac:cxnSpMkLst>
            <pc:docMk/>
            <pc:sldMk cId="131058556" sldId="410"/>
            <ac:cxnSpMk id="26" creationId="{48127700-712D-4F6D-AD42-8AE5DFFC735E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36.618" v="62"/>
          <ac:cxnSpMkLst>
            <pc:docMk/>
            <pc:sldMk cId="131058556" sldId="410"/>
            <ac:cxnSpMk id="75" creationId="{E0C9190F-D86E-4878-BA5B-0C8B8C541179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36.618" v="61"/>
          <ac:cxnSpMkLst>
            <pc:docMk/>
            <pc:sldMk cId="131058556" sldId="410"/>
            <ac:cxnSpMk id="76" creationId="{8660C89E-C222-4BB4-945C-65ADABD726AE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45.602" v="85"/>
          <ac:cxnSpMkLst>
            <pc:docMk/>
            <pc:sldMk cId="131058556" sldId="410"/>
            <ac:cxnSpMk id="149" creationId="{1F14AD00-130F-436D-958E-A8764904FC3A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40.680" v="82"/>
          <ac:cxnSpMkLst>
            <pc:docMk/>
            <pc:sldMk cId="131058556" sldId="410"/>
            <ac:cxnSpMk id="150" creationId="{34852A50-A898-4F93-9D03-CBEDE8CE43DF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47.227" v="86"/>
          <ac:cxnSpMkLst>
            <pc:docMk/>
            <pc:sldMk cId="131058556" sldId="410"/>
            <ac:cxnSpMk id="151" creationId="{DA1E4472-DA8C-4CBB-92E9-89067F718A2C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36.618" v="71"/>
          <ac:cxnSpMkLst>
            <pc:docMk/>
            <pc:sldMk cId="131058556" sldId="410"/>
            <ac:cxnSpMk id="153" creationId="{AFE44AFE-5331-4D01-8D8A-78B12E12194F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36.618" v="70"/>
          <ac:cxnSpMkLst>
            <pc:docMk/>
            <pc:sldMk cId="131058556" sldId="410"/>
            <ac:cxnSpMk id="181" creationId="{488C72B0-CFD6-4604-B7A7-224A3E9E296B}"/>
          </ac:cxnSpMkLst>
        </pc:cxnChg>
        <pc:cxnChg chg="del">
          <ac:chgData name="Paillacar Oyarzo Paulo Ignacio (Codelco-Casa Matriz)" userId="S::ppail001@codelco.cl::3f9c4ec0-dfff-4bc5-ba03-192dd672e537" providerId="AD" clId="Web-{06385F2B-365A-7196-F625-973B6FE85929}" dt="2020-11-05T13:14:36.618" v="69"/>
          <ac:cxnSpMkLst>
            <pc:docMk/>
            <pc:sldMk cId="131058556" sldId="410"/>
            <ac:cxnSpMk id="182" creationId="{D967EABF-790C-434F-8DC0-20FCAB222D5B}"/>
          </ac:cxnSpMkLst>
        </pc:cxnChg>
      </pc:sldChg>
    </pc:docChg>
  </pc:docChgLst>
  <pc:docChgLst>
    <pc:chgData name="Allende Bustamante Jose (Codelco-Casa Matriz)" userId="S::jalle011@codelco.cl::54345eee-8770-43bf-b080-e3e333067d62" providerId="AD" clId="Web-{41D2A14C-6769-0B9A-9C3F-ABB83DCA14A0}"/>
    <pc:docChg chg="addSld delSld modSld addMainMaster">
      <pc:chgData name="Allende Bustamante Jose (Codelco-Casa Matriz)" userId="S::jalle011@codelco.cl::54345eee-8770-43bf-b080-e3e333067d62" providerId="AD" clId="Web-{41D2A14C-6769-0B9A-9C3F-ABB83DCA14A0}" dt="2020-10-22T13:55:57.347" v="143"/>
      <pc:docMkLst>
        <pc:docMk/>
      </pc:docMkLst>
      <pc:sldChg chg="delSp">
        <pc:chgData name="Allende Bustamante Jose (Codelco-Casa Matriz)" userId="S::jalle011@codelco.cl::54345eee-8770-43bf-b080-e3e333067d62" providerId="AD" clId="Web-{41D2A14C-6769-0B9A-9C3F-ABB83DCA14A0}" dt="2020-10-22T13:25:33.110" v="2"/>
        <pc:sldMkLst>
          <pc:docMk/>
          <pc:sldMk cId="2155997825" sldId="375"/>
        </pc:sldMkLst>
        <pc:spChg chg="del">
          <ac:chgData name="Allende Bustamante Jose (Codelco-Casa Matriz)" userId="S::jalle011@codelco.cl::54345eee-8770-43bf-b080-e3e333067d62" providerId="AD" clId="Web-{41D2A14C-6769-0B9A-9C3F-ABB83DCA14A0}" dt="2020-10-22T13:25:33.110" v="2"/>
          <ac:spMkLst>
            <pc:docMk/>
            <pc:sldMk cId="2155997825" sldId="375"/>
            <ac:spMk id="44" creationId="{67C741BE-AAD1-40F9-B87F-1022AB85BEB4}"/>
          </ac:spMkLst>
        </pc:spChg>
      </pc:sldChg>
      <pc:sldChg chg="del">
        <pc:chgData name="Allende Bustamante Jose (Codelco-Casa Matriz)" userId="S::jalle011@codelco.cl::54345eee-8770-43bf-b080-e3e333067d62" providerId="AD" clId="Web-{41D2A14C-6769-0B9A-9C3F-ABB83DCA14A0}" dt="2020-10-22T13:25:43.220" v="4"/>
        <pc:sldMkLst>
          <pc:docMk/>
          <pc:sldMk cId="567141785" sldId="404"/>
        </pc:sldMkLst>
      </pc:sldChg>
      <pc:sldChg chg="del">
        <pc:chgData name="Allende Bustamante Jose (Codelco-Casa Matriz)" userId="S::jalle011@codelco.cl::54345eee-8770-43bf-b080-e3e333067d62" providerId="AD" clId="Web-{41D2A14C-6769-0B9A-9C3F-ABB83DCA14A0}" dt="2020-10-22T13:25:37.282" v="3"/>
        <pc:sldMkLst>
          <pc:docMk/>
          <pc:sldMk cId="3962564727" sldId="405"/>
        </pc:sldMkLst>
      </pc:sldChg>
      <pc:sldChg chg="del">
        <pc:chgData name="Allende Bustamante Jose (Codelco-Casa Matriz)" userId="S::jalle011@codelco.cl::54345eee-8770-43bf-b080-e3e333067d62" providerId="AD" clId="Web-{41D2A14C-6769-0B9A-9C3F-ABB83DCA14A0}" dt="2020-10-22T13:25:46.282" v="5"/>
        <pc:sldMkLst>
          <pc:docMk/>
          <pc:sldMk cId="138167879" sldId="414"/>
        </pc:sldMkLst>
      </pc:sldChg>
      <pc:sldChg chg="add">
        <pc:chgData name="Allende Bustamante Jose (Codelco-Casa Matriz)" userId="S::jalle011@codelco.cl::54345eee-8770-43bf-b080-e3e333067d62" providerId="AD" clId="Web-{41D2A14C-6769-0B9A-9C3F-ABB83DCA14A0}" dt="2020-10-22T13:22:55.577" v="0"/>
        <pc:sldMkLst>
          <pc:docMk/>
          <pc:sldMk cId="1176872818" sldId="419"/>
        </pc:sldMkLst>
      </pc:sldChg>
      <pc:sldChg chg="add">
        <pc:chgData name="Allende Bustamante Jose (Codelco-Casa Matriz)" userId="S::jalle011@codelco.cl::54345eee-8770-43bf-b080-e3e333067d62" providerId="AD" clId="Web-{41D2A14C-6769-0B9A-9C3F-ABB83DCA14A0}" dt="2020-10-22T13:22:56.108" v="1"/>
        <pc:sldMkLst>
          <pc:docMk/>
          <pc:sldMk cId="1101719943" sldId="420"/>
        </pc:sldMkLst>
      </pc:sldChg>
      <pc:sldChg chg="addSp delSp modSp add replId">
        <pc:chgData name="Allende Bustamante Jose (Codelco-Casa Matriz)" userId="S::jalle011@codelco.cl::54345eee-8770-43bf-b080-e3e333067d62" providerId="AD" clId="Web-{41D2A14C-6769-0B9A-9C3F-ABB83DCA14A0}" dt="2020-10-22T13:55:57.347" v="143"/>
        <pc:sldMkLst>
          <pc:docMk/>
          <pc:sldMk cId="3508652071" sldId="423"/>
        </pc:sldMkLst>
        <pc:spChg chg="mod">
          <ac:chgData name="Allende Bustamante Jose (Codelco-Casa Matriz)" userId="S::jalle011@codelco.cl::54345eee-8770-43bf-b080-e3e333067d62" providerId="AD" clId="Web-{41D2A14C-6769-0B9A-9C3F-ABB83DCA14A0}" dt="2020-10-22T13:48:43.624" v="69" actId="20577"/>
          <ac:spMkLst>
            <pc:docMk/>
            <pc:sldMk cId="3508652071" sldId="423"/>
            <ac:spMk id="6" creationId="{CEC036D1-36BF-2B47-B38D-37C36728233F}"/>
          </ac:spMkLst>
        </pc:spChg>
        <pc:spChg chg="del">
          <ac:chgData name="Allende Bustamante Jose (Codelco-Casa Matriz)" userId="S::jalle011@codelco.cl::54345eee-8770-43bf-b080-e3e333067d62" providerId="AD" clId="Web-{41D2A14C-6769-0B9A-9C3F-ABB83DCA14A0}" dt="2020-10-22T13:48:57.890" v="77"/>
          <ac:spMkLst>
            <pc:docMk/>
            <pc:sldMk cId="3508652071" sldId="423"/>
            <ac:spMk id="8" creationId="{61D82CDF-3F77-7A41-BBCD-D2AB3B47778C}"/>
          </ac:spMkLst>
        </pc:spChg>
        <pc:spChg chg="del">
          <ac:chgData name="Allende Bustamante Jose (Codelco-Casa Matriz)" userId="S::jalle011@codelco.cl::54345eee-8770-43bf-b080-e3e333067d62" providerId="AD" clId="Web-{41D2A14C-6769-0B9A-9C3F-ABB83DCA14A0}" dt="2020-10-22T13:48:53.812" v="75"/>
          <ac:spMkLst>
            <pc:docMk/>
            <pc:sldMk cId="3508652071" sldId="423"/>
            <ac:spMk id="11" creationId="{F6B0A56C-2240-EE42-914A-291CD1682B80}"/>
          </ac:spMkLst>
        </pc:spChg>
        <pc:spChg chg="del">
          <ac:chgData name="Allende Bustamante Jose (Codelco-Casa Matriz)" userId="S::jalle011@codelco.cl::54345eee-8770-43bf-b080-e3e333067d62" providerId="AD" clId="Web-{41D2A14C-6769-0B9A-9C3F-ABB83DCA14A0}" dt="2020-10-22T13:49:01.203" v="78"/>
          <ac:spMkLst>
            <pc:docMk/>
            <pc:sldMk cId="3508652071" sldId="423"/>
            <ac:spMk id="13" creationId="{45E94C62-0796-5946-9E38-B6BBF5DC778C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29.785" v="89" actId="1076"/>
          <ac:spMkLst>
            <pc:docMk/>
            <pc:sldMk cId="3508652071" sldId="423"/>
            <ac:spMk id="14" creationId="{519D816D-4912-4906-A22E-C80B53EF49B9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0.675" v="105" actId="1076"/>
          <ac:spMkLst>
            <pc:docMk/>
            <pc:sldMk cId="3508652071" sldId="423"/>
            <ac:spMk id="15" creationId="{5C0DFE7C-1D01-486A-BA9E-D87632A6687C}"/>
          </ac:spMkLst>
        </pc:spChg>
        <pc:spChg chg="del">
          <ac:chgData name="Allende Bustamante Jose (Codelco-Casa Matriz)" userId="S::jalle011@codelco.cl::54345eee-8770-43bf-b080-e3e333067d62" providerId="AD" clId="Web-{41D2A14C-6769-0B9A-9C3F-ABB83DCA14A0}" dt="2020-10-22T13:48:57.734" v="76"/>
          <ac:spMkLst>
            <pc:docMk/>
            <pc:sldMk cId="3508652071" sldId="423"/>
            <ac:spMk id="16" creationId="{C6EB2752-E419-234A-AC67-B40EB96DD8A8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0.738" v="106" actId="1076"/>
          <ac:spMkLst>
            <pc:docMk/>
            <pc:sldMk cId="3508652071" sldId="423"/>
            <ac:spMk id="19" creationId="{8BEF4686-7CC4-452F-B38E-34CC825444CD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29.832" v="90" actId="1076"/>
          <ac:spMkLst>
            <pc:docMk/>
            <pc:sldMk cId="3508652071" sldId="423"/>
            <ac:spMk id="20" creationId="{A3A7C56F-B033-4D59-A281-5EC0628F2353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0.785" v="107" actId="1076"/>
          <ac:spMkLst>
            <pc:docMk/>
            <pc:sldMk cId="3508652071" sldId="423"/>
            <ac:spMk id="21" creationId="{F415A23B-44B3-4A85-A4A8-CF64B4397A99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29.878" v="91" actId="1076"/>
          <ac:spMkLst>
            <pc:docMk/>
            <pc:sldMk cId="3508652071" sldId="423"/>
            <ac:spMk id="22" creationId="{EB2AD27F-BCAC-4A40-A5AD-2D89B3FBADE2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29.988" v="92" actId="1076"/>
          <ac:spMkLst>
            <pc:docMk/>
            <pc:sldMk cId="3508652071" sldId="423"/>
            <ac:spMk id="23" creationId="{C971E1A4-FF60-4634-8FAB-27F65175AFA2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0.847" v="108" actId="1076"/>
          <ac:spMkLst>
            <pc:docMk/>
            <pc:sldMk cId="3508652071" sldId="423"/>
            <ac:spMk id="24" creationId="{B9885213-1128-4F86-AC92-F505E59F269F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0.894" v="109" actId="1076"/>
          <ac:spMkLst>
            <pc:docMk/>
            <pc:sldMk cId="3508652071" sldId="423"/>
            <ac:spMk id="25" creationId="{C9A639A9-ED13-49C2-8BD3-BC8A26CF64B2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0.957" v="110" actId="1076"/>
          <ac:spMkLst>
            <pc:docMk/>
            <pc:sldMk cId="3508652071" sldId="423"/>
            <ac:spMk id="26" creationId="{1BE58804-78CD-40BA-8406-494A4623F43D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050" v="93" actId="1076"/>
          <ac:spMkLst>
            <pc:docMk/>
            <pc:sldMk cId="3508652071" sldId="423"/>
            <ac:spMk id="27" creationId="{80D4C727-4A11-41DC-9C16-C5A7FF88DFCE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003" v="111" actId="1076"/>
          <ac:spMkLst>
            <pc:docMk/>
            <pc:sldMk cId="3508652071" sldId="423"/>
            <ac:spMk id="28" creationId="{56A74CBE-0643-46A1-B225-CE5E0243B253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066" v="112" actId="1076"/>
          <ac:spMkLst>
            <pc:docMk/>
            <pc:sldMk cId="3508652071" sldId="423"/>
            <ac:spMk id="29" creationId="{F7496045-F31D-4A07-8741-9F3ABCDF2176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097" v="94" actId="1076"/>
          <ac:spMkLst>
            <pc:docMk/>
            <pc:sldMk cId="3508652071" sldId="423"/>
            <ac:spMk id="30" creationId="{52CD808C-BFC5-429A-BD1E-B2A7D9D1C79F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144" v="95" actId="1076"/>
          <ac:spMkLst>
            <pc:docMk/>
            <pc:sldMk cId="3508652071" sldId="423"/>
            <ac:spMk id="31" creationId="{A2196AD3-08DE-4F06-B435-BCDD6D514791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113" v="113" actId="1076"/>
          <ac:spMkLst>
            <pc:docMk/>
            <pc:sldMk cId="3508652071" sldId="423"/>
            <ac:spMk id="32" creationId="{9C17EA18-D059-495F-85C4-52C2C2F219C3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175" v="114" actId="1076"/>
          <ac:spMkLst>
            <pc:docMk/>
            <pc:sldMk cId="3508652071" sldId="423"/>
            <ac:spMk id="33" creationId="{A7F74104-E067-47F5-9BAD-693E0A9A93FE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222" v="115" actId="1076"/>
          <ac:spMkLst>
            <pc:docMk/>
            <pc:sldMk cId="3508652071" sldId="423"/>
            <ac:spMk id="34" creationId="{A2C4E765-EF3C-4704-AE19-949949DCAAA9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269" v="116" actId="1076"/>
          <ac:spMkLst>
            <pc:docMk/>
            <pc:sldMk cId="3508652071" sldId="423"/>
            <ac:spMk id="35" creationId="{254E45BF-8905-4BDF-B6A5-B73A52F68470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332" v="117" actId="1076"/>
          <ac:spMkLst>
            <pc:docMk/>
            <pc:sldMk cId="3508652071" sldId="423"/>
            <ac:spMk id="36" creationId="{C294A6A8-00B0-40DF-9C18-EBEE9FE013FE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378" v="118" actId="1076"/>
          <ac:spMkLst>
            <pc:docMk/>
            <pc:sldMk cId="3508652071" sldId="423"/>
            <ac:spMk id="37" creationId="{CE9045E3-E70C-423D-B200-FF433C52212A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207" v="96" actId="1076"/>
          <ac:spMkLst>
            <pc:docMk/>
            <pc:sldMk cId="3508652071" sldId="423"/>
            <ac:spMk id="38" creationId="{BCEA2886-3316-4C4F-8581-00F6C2CB680E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425" v="119" actId="1076"/>
          <ac:spMkLst>
            <pc:docMk/>
            <pc:sldMk cId="3508652071" sldId="423"/>
            <ac:spMk id="39" creationId="{C18BE55E-E271-4D04-8EEF-1AB52A819565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488" v="120" actId="1076"/>
          <ac:spMkLst>
            <pc:docMk/>
            <pc:sldMk cId="3508652071" sldId="423"/>
            <ac:spMk id="40" creationId="{71F7F110-A2EF-43A3-812A-2BE3F47D0AD8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535" v="121" actId="1076"/>
          <ac:spMkLst>
            <pc:docMk/>
            <pc:sldMk cId="3508652071" sldId="423"/>
            <ac:spMk id="41" creationId="{83735470-7185-4CC9-9EDA-964B01826FD5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582" v="122" actId="1076"/>
          <ac:spMkLst>
            <pc:docMk/>
            <pc:sldMk cId="3508652071" sldId="423"/>
            <ac:spMk id="42" creationId="{6DE32043-5A17-4031-BD5F-BC28580CDF47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644" v="123" actId="1076"/>
          <ac:spMkLst>
            <pc:docMk/>
            <pc:sldMk cId="3508652071" sldId="423"/>
            <ac:spMk id="43" creationId="{A116808D-F7B7-44B5-A7AC-AE67507428C7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253" v="97" actId="1076"/>
          <ac:spMkLst>
            <pc:docMk/>
            <pc:sldMk cId="3508652071" sldId="423"/>
            <ac:spMk id="44" creationId="{8A93CB7F-CE6F-40CB-A005-6CEBF1F1C0FB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300" v="98" actId="1076"/>
          <ac:spMkLst>
            <pc:docMk/>
            <pc:sldMk cId="3508652071" sldId="423"/>
            <ac:spMk id="45" creationId="{96432B00-2734-4BC3-A762-C876EDBC7FA8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707" v="124" actId="1076"/>
          <ac:spMkLst>
            <pc:docMk/>
            <pc:sldMk cId="3508652071" sldId="423"/>
            <ac:spMk id="46" creationId="{B15E857E-3952-412F-8C3B-8095C7B74A3D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1.769" v="125" actId="1076"/>
          <ac:spMkLst>
            <pc:docMk/>
            <pc:sldMk cId="3508652071" sldId="423"/>
            <ac:spMk id="47" creationId="{624EE964-C42A-495E-886D-563E3BCF2220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363" v="99" actId="1076"/>
          <ac:spMkLst>
            <pc:docMk/>
            <pc:sldMk cId="3508652071" sldId="423"/>
            <ac:spMk id="48" creationId="{E8E4B03A-5AEE-4079-BBF2-2C01FA254D12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2.363" v="135" actId="1076"/>
          <ac:spMkLst>
            <pc:docMk/>
            <pc:sldMk cId="3508652071" sldId="423"/>
            <ac:spMk id="58" creationId="{E6E16D34-A6F4-4533-8B86-BB29DA80ABAC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472" v="101" actId="1076"/>
          <ac:spMkLst>
            <pc:docMk/>
            <pc:sldMk cId="3508652071" sldId="423"/>
            <ac:spMk id="60" creationId="{9F5709B7-424E-4404-A6CE-E95B3E1F9099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2.410" v="136" actId="1076"/>
          <ac:spMkLst>
            <pc:docMk/>
            <pc:sldMk cId="3508652071" sldId="423"/>
            <ac:spMk id="61" creationId="{0B770B83-BECE-465A-860A-343662877901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2.472" v="137" actId="1076"/>
          <ac:spMkLst>
            <pc:docMk/>
            <pc:sldMk cId="3508652071" sldId="423"/>
            <ac:spMk id="62" creationId="{C252E9F6-A399-4E9A-9DB5-BF6588493092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2.519" v="138" actId="1076"/>
          <ac:spMkLst>
            <pc:docMk/>
            <pc:sldMk cId="3508652071" sldId="423"/>
            <ac:spMk id="63" creationId="{B31C2152-6970-4EEA-89F3-CCBCA1C02134}"/>
          </ac:spMkLst>
        </pc:spChg>
        <pc:spChg chg="add mod topLvl">
          <ac:chgData name="Allende Bustamante Jose (Codelco-Casa Matriz)" userId="S::jalle011@codelco.cl::54345eee-8770-43bf-b080-e3e333067d62" providerId="AD" clId="Web-{41D2A14C-6769-0B9A-9C3F-ABB83DCA14A0}" dt="2020-10-22T13:55:32.566" v="139" actId="1076"/>
          <ac:spMkLst>
            <pc:docMk/>
            <pc:sldMk cId="3508652071" sldId="423"/>
            <ac:spMk id="64" creationId="{F14C3CC6-452D-49CC-AAE7-CF2F92A36D5C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519" v="102" actId="1076"/>
          <ac:spMkLst>
            <pc:docMk/>
            <pc:sldMk cId="3508652071" sldId="423"/>
            <ac:spMk id="65" creationId="{40BC2274-C7B8-4DC4-9010-AEA3B87C0CF6}"/>
          </ac:spMkLst>
        </pc:spChg>
        <pc:spChg chg="add mod">
          <ac:chgData name="Allende Bustamante Jose (Codelco-Casa Matriz)" userId="S::jalle011@codelco.cl::54345eee-8770-43bf-b080-e3e333067d62" providerId="AD" clId="Web-{41D2A14C-6769-0B9A-9C3F-ABB83DCA14A0}" dt="2020-10-22T13:55:30.582" v="103" actId="1076"/>
          <ac:spMkLst>
            <pc:docMk/>
            <pc:sldMk cId="3508652071" sldId="423"/>
            <ac:spMk id="66" creationId="{62897A70-F5EC-4EC6-900F-8D008F48B059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71" creationId="{8FF2041B-6526-4A59-8E05-B226DD03AFBF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72" creationId="{F3478F69-EAF3-414E-8DA5-186BD47117E9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75" creationId="{35CD90FE-E8A2-4522-AC43-2AA83F66CEB3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76" creationId="{B10B0ACE-42AF-4817-91EB-795C23F88C35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77" creationId="{6251CD51-26FC-420C-A5AB-EA6938A2E12E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79" creationId="{90568FF4-EFB6-4BE1-875E-1C1267BAC2F3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0" creationId="{CFD4878B-FB52-4436-A066-9BF4E216A7AD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1" creationId="{4AD8857C-F8A6-40EA-AF62-D755B0697684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4" creationId="{AC67FD6E-C86C-479F-8776-8C883F08B142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5" creationId="{A63644E6-4417-46C8-B709-C583CAC8D7B8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6" creationId="{EABBECD9-656B-4A3F-87D7-0A08E53DA367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8" creationId="{255648B2-599C-42A5-87CA-D09F942E0B7E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89" creationId="{0D3971D4-6263-493E-A76A-5EA33FF06C83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0" creationId="{A852979C-E240-4C77-A275-FD30C779F1F8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3" creationId="{ED3D7D87-8763-4935-8007-1AB5DEC82804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4" creationId="{D3283CD3-6F09-4CB7-8E0D-C2663457DF7A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5" creationId="{952CF2A7-660D-4C81-9E6B-78492426AECD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7" creationId="{0E7340B7-68D8-40B3-B578-0634921CD329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8" creationId="{63ADEAD0-D8CF-4AA0-8254-76C5F2866C8A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99" creationId="{7655280F-47A6-412B-B524-3859C362F517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0" creationId="{84978B80-CCFE-4830-BF74-3F9B9E76596A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1" creationId="{641411DA-6D59-4523-9AC3-030D463BE85F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2" creationId="{3B238F8E-7A33-4602-9977-3723D0F9C60E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3" creationId="{68BB883B-4C5C-4D72-9C44-4ABD41534789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4" creationId="{23BFD8C3-8EF7-47A4-8D5D-8D3A720EC85B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5" creationId="{CEEFFC71-AC3E-4BB9-B62A-444EF0F3113C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6" creationId="{6DA5822B-1FC7-49D6-91DB-E67587F7441B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7" creationId="{A079880B-05F5-4896-9149-AEB7790CDF13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8" creationId="{DA4698E4-30FC-45FA-A411-DCCB6C9D1736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09" creationId="{1FB1AB21-3AA3-43FC-AEBB-FB56BB9BA276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10" creationId="{A7037B77-8466-4554-93E9-CB23336F246D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11" creationId="{5E8B7076-CBFF-4B3F-A43F-96F78F1062D6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12" creationId="{8DED92D8-2F77-4540-B9E2-16AE197F19D9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13" creationId="{18AFA216-DA3E-424E-8F8B-FE6622BEBB0B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14" creationId="{7BE60413-C2FC-4013-BB70-989EAE1FC812}"/>
          </ac:spMkLst>
        </pc:spChg>
        <pc:spChg chg="add">
          <ac:chgData name="Allende Bustamante Jose (Codelco-Casa Matriz)" userId="S::jalle011@codelco.cl::54345eee-8770-43bf-b080-e3e333067d62" providerId="AD" clId="Web-{41D2A14C-6769-0B9A-9C3F-ABB83DCA14A0}" dt="2020-10-22T13:54:14.331" v="82"/>
          <ac:spMkLst>
            <pc:docMk/>
            <pc:sldMk cId="3508652071" sldId="423"/>
            <ac:spMk id="115" creationId="{8C5293F2-3F13-4222-BD7E-0C782E061990}"/>
          </ac:spMkLst>
        </pc:spChg>
        <pc:grpChg chg="add del mod">
          <ac:chgData name="Allende Bustamante Jose (Codelco-Casa Matriz)" userId="S::jalle011@codelco.cl::54345eee-8770-43bf-b080-e3e333067d62" providerId="AD" clId="Web-{41D2A14C-6769-0B9A-9C3F-ABB83DCA14A0}" dt="2020-10-22T13:55:08.066" v="88"/>
          <ac:grpSpMkLst>
            <pc:docMk/>
            <pc:sldMk cId="3508652071" sldId="423"/>
            <ac:grpSpMk id="3" creationId="{F1226BCA-9EAF-481B-A2A0-F0BDD4332A9C}"/>
          </ac:grpSpMkLst>
        </pc:grpChg>
        <pc:grpChg chg="add">
          <ac:chgData name="Allende Bustamante Jose (Codelco-Casa Matriz)" userId="S::jalle011@codelco.cl::54345eee-8770-43bf-b080-e3e333067d62" providerId="AD" clId="Web-{41D2A14C-6769-0B9A-9C3F-ABB83DCA14A0}" dt="2020-10-22T13:55:57.347" v="143"/>
          <ac:grpSpMkLst>
            <pc:docMk/>
            <pc:sldMk cId="3508652071" sldId="423"/>
            <ac:grpSpMk id="4" creationId="{651C81DE-5A32-485B-BE7B-692C50C40765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1.816" v="126" actId="1076"/>
          <ac:grpSpMkLst>
            <pc:docMk/>
            <pc:sldMk cId="3508652071" sldId="423"/>
            <ac:grpSpMk id="49" creationId="{D2D24CA2-B380-4A5A-8025-C0A561743BF1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1.878" v="127" actId="1076"/>
          <ac:grpSpMkLst>
            <pc:docMk/>
            <pc:sldMk cId="3508652071" sldId="423"/>
            <ac:grpSpMk id="50" creationId="{1482CA4C-C269-43B3-BC22-607518800CE5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1.941" v="128" actId="1076"/>
          <ac:grpSpMkLst>
            <pc:docMk/>
            <pc:sldMk cId="3508652071" sldId="423"/>
            <ac:grpSpMk id="51" creationId="{DF7FA746-3E77-41F7-95D1-3C6249F79380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003" v="129" actId="1076"/>
          <ac:grpSpMkLst>
            <pc:docMk/>
            <pc:sldMk cId="3508652071" sldId="423"/>
            <ac:grpSpMk id="52" creationId="{E5F4C540-4018-4623-B06C-28EFFA80FB60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066" v="130" actId="1076"/>
          <ac:grpSpMkLst>
            <pc:docMk/>
            <pc:sldMk cId="3508652071" sldId="423"/>
            <ac:grpSpMk id="53" creationId="{DC1BF6C2-A26A-4E5E-B597-E1F5D972081C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128" v="131" actId="1076"/>
          <ac:grpSpMkLst>
            <pc:docMk/>
            <pc:sldMk cId="3508652071" sldId="423"/>
            <ac:grpSpMk id="54" creationId="{A6AA594A-DB61-491C-BB36-095D0FB6F144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191" v="132" actId="1076"/>
          <ac:grpSpMkLst>
            <pc:docMk/>
            <pc:sldMk cId="3508652071" sldId="423"/>
            <ac:grpSpMk id="55" creationId="{B20111C2-AE76-4EF2-9B26-B8C430A4A6E9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253" v="133" actId="1076"/>
          <ac:grpSpMkLst>
            <pc:docMk/>
            <pc:sldMk cId="3508652071" sldId="423"/>
            <ac:grpSpMk id="56" creationId="{AF85EDA0-943D-46F9-85AA-B65A7C7C66F6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300" v="134" actId="1076"/>
          <ac:grpSpMkLst>
            <pc:docMk/>
            <pc:sldMk cId="3508652071" sldId="423"/>
            <ac:grpSpMk id="57" creationId="{5CF6B96A-8F95-4104-B73C-1EE2C03BA15C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644" v="140" actId="1076"/>
          <ac:grpSpMkLst>
            <pc:docMk/>
            <pc:sldMk cId="3508652071" sldId="423"/>
            <ac:grpSpMk id="68" creationId="{68819A69-6796-47DB-B703-A5B69B5C535C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769" v="141" actId="1076"/>
          <ac:grpSpMkLst>
            <pc:docMk/>
            <pc:sldMk cId="3508652071" sldId="423"/>
            <ac:grpSpMk id="69" creationId="{2A9EB1E3-F439-4B58-A879-C1C681E39E17}"/>
          </ac:grpSpMkLst>
        </pc:grpChg>
        <pc:grpChg chg="add mod topLvl">
          <ac:chgData name="Allende Bustamante Jose (Codelco-Casa Matriz)" userId="S::jalle011@codelco.cl::54345eee-8770-43bf-b080-e3e333067d62" providerId="AD" clId="Web-{41D2A14C-6769-0B9A-9C3F-ABB83DCA14A0}" dt="2020-10-22T13:55:32.847" v="142" actId="1076"/>
          <ac:grpSpMkLst>
            <pc:docMk/>
            <pc:sldMk cId="3508652071" sldId="423"/>
            <ac:grpSpMk id="70" creationId="{40678304-DDF7-4EEF-B0F4-DF880C2D0FFD}"/>
          </ac:grpSpMkLst>
        </pc:grpChg>
        <pc:picChg chg="add del mod">
          <ac:chgData name="Allende Bustamante Jose (Codelco-Casa Matriz)" userId="S::jalle011@codelco.cl::54345eee-8770-43bf-b080-e3e333067d62" providerId="AD" clId="Web-{41D2A14C-6769-0B9A-9C3F-ABB83DCA14A0}" dt="2020-10-22T13:50:51.782" v="81"/>
          <ac:picMkLst>
            <pc:docMk/>
            <pc:sldMk cId="3508652071" sldId="423"/>
            <ac:picMk id="2" creationId="{4E196369-4322-4B67-9048-A506357C8E4E}"/>
          </ac:picMkLst>
        </pc:picChg>
        <pc:picChg chg="del">
          <ac:chgData name="Allende Bustamante Jose (Codelco-Casa Matriz)" userId="S::jalle011@codelco.cl::54345eee-8770-43bf-b080-e3e333067d62" providerId="AD" clId="Web-{41D2A14C-6769-0B9A-9C3F-ABB83DCA14A0}" dt="2020-10-22T13:48:47.515" v="72"/>
          <ac:picMkLst>
            <pc:docMk/>
            <pc:sldMk cId="3508652071" sldId="423"/>
            <ac:picMk id="17" creationId="{9DFD8EDC-EE41-B843-8A27-99FC6CCFF01E}"/>
          </ac:picMkLst>
        </pc:picChg>
        <pc:picChg chg="del">
          <ac:chgData name="Allende Bustamante Jose (Codelco-Casa Matriz)" userId="S::jalle011@codelco.cl::54345eee-8770-43bf-b080-e3e333067d62" providerId="AD" clId="Web-{41D2A14C-6769-0B9A-9C3F-ABB83DCA14A0}" dt="2020-10-22T13:48:47.515" v="71"/>
          <ac:picMkLst>
            <pc:docMk/>
            <pc:sldMk cId="3508652071" sldId="423"/>
            <ac:picMk id="18" creationId="{60EF0445-F234-6F48-80D9-6F6F27EEF6E1}"/>
          </ac:picMkLst>
        </pc:picChg>
        <pc:picChg chg="del">
          <ac:chgData name="Allende Bustamante Jose (Codelco-Casa Matriz)" userId="S::jalle011@codelco.cl::54345eee-8770-43bf-b080-e3e333067d62" providerId="AD" clId="Web-{41D2A14C-6769-0B9A-9C3F-ABB83DCA14A0}" dt="2020-10-22T13:48:47.515" v="74"/>
          <ac:picMkLst>
            <pc:docMk/>
            <pc:sldMk cId="3508652071" sldId="423"/>
            <ac:picMk id="384002" creationId="{0FA5691E-3F11-744E-8EE8-6D6A5EB34C04}"/>
          </ac:picMkLst>
        </pc:picChg>
        <pc:picChg chg="del">
          <ac:chgData name="Allende Bustamante Jose (Codelco-Casa Matriz)" userId="S::jalle011@codelco.cl::54345eee-8770-43bf-b080-e3e333067d62" providerId="AD" clId="Web-{41D2A14C-6769-0B9A-9C3F-ABB83DCA14A0}" dt="2020-10-22T13:48:47.515" v="73"/>
          <ac:picMkLst>
            <pc:docMk/>
            <pc:sldMk cId="3508652071" sldId="423"/>
            <ac:picMk id="384008" creationId="{FF4A603F-1086-644A-AC6F-3EE4FBE990C1}"/>
          </ac:picMkLst>
        </pc:picChg>
        <pc:cxnChg chg="add mod">
          <ac:chgData name="Allende Bustamante Jose (Codelco-Casa Matriz)" userId="S::jalle011@codelco.cl::54345eee-8770-43bf-b080-e3e333067d62" providerId="AD" clId="Web-{41D2A14C-6769-0B9A-9C3F-ABB83DCA14A0}" dt="2020-10-22T13:55:30.425" v="100" actId="1076"/>
          <ac:cxnSpMkLst>
            <pc:docMk/>
            <pc:sldMk cId="3508652071" sldId="423"/>
            <ac:cxnSpMk id="59" creationId="{BDC61972-5463-46E0-963B-D0C909F97D99}"/>
          </ac:cxnSpMkLst>
        </pc:cxnChg>
        <pc:cxnChg chg="add mod">
          <ac:chgData name="Allende Bustamante Jose (Codelco-Casa Matriz)" userId="S::jalle011@codelco.cl::54345eee-8770-43bf-b080-e3e333067d62" providerId="AD" clId="Web-{41D2A14C-6769-0B9A-9C3F-ABB83DCA14A0}" dt="2020-10-22T13:55:30.628" v="104" actId="1076"/>
          <ac:cxnSpMkLst>
            <pc:docMk/>
            <pc:sldMk cId="3508652071" sldId="423"/>
            <ac:cxnSpMk id="67" creationId="{A40CB2F7-3768-4E15-A1A0-9481850F37E9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73" creationId="{F6EC20B4-3A14-4371-9ED2-3435561FAA68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74" creationId="{E466B03B-A535-4206-B85C-88B2AB10EB2C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78" creationId="{D35C1021-0967-490B-888D-932D18B3A3DF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82" creationId="{0577600B-323C-4F55-977C-6803051AF542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83" creationId="{AAAEEFA2-5B48-4E55-BC84-09916A277C3F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87" creationId="{368418C2-B728-49B3-8074-3843BEF5F0CD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91" creationId="{514F5304-8D6A-4AAE-9C99-A8EADA24176A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92" creationId="{40D28FCE-75AD-4A20-92AF-1C7CFA27E977}"/>
          </ac:cxnSpMkLst>
        </pc:cxnChg>
        <pc:cxnChg chg="add">
          <ac:chgData name="Allende Bustamante Jose (Codelco-Casa Matriz)" userId="S::jalle011@codelco.cl::54345eee-8770-43bf-b080-e3e333067d62" providerId="AD" clId="Web-{41D2A14C-6769-0B9A-9C3F-ABB83DCA14A0}" dt="2020-10-22T13:54:14.331" v="82"/>
          <ac:cxnSpMkLst>
            <pc:docMk/>
            <pc:sldMk cId="3508652071" sldId="423"/>
            <ac:cxnSpMk id="96" creationId="{2B5EBEF5-2AE5-466E-98C5-3E0663B1950D}"/>
          </ac:cxnSpMkLst>
        </pc:cxnChg>
      </pc:sldChg>
      <pc:sldMasterChg chg="add addSldLayout">
        <pc:chgData name="Allende Bustamante Jose (Codelco-Casa Matriz)" userId="S::jalle011@codelco.cl::54345eee-8770-43bf-b080-e3e333067d62" providerId="AD" clId="Web-{41D2A14C-6769-0B9A-9C3F-ABB83DCA14A0}" dt="2020-10-22T13:22:55.577" v="0"/>
        <pc:sldMasterMkLst>
          <pc:docMk/>
          <pc:sldMasterMk cId="2969229741" sldId="2147484134"/>
        </pc:sldMasterMkLst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543058118" sldId="2147484135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2612411629" sldId="2147484136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543058118" sldId="2147484137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2612411629" sldId="2147484138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1608224328" sldId="2147484139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852498680" sldId="2147484140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079707490" sldId="2147484141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2497063147" sldId="2147484142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2411697666" sldId="2147484143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2470369557" sldId="2147484144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2692910053" sldId="2147484145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605467897" sldId="2147484146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911390954" sldId="2147484147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1470861532" sldId="2147484148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977499301" sldId="2147484149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86300755" sldId="2147484150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618327159" sldId="2147484151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466470504" sldId="2147484152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106709850" sldId="2147484153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554729717" sldId="2147484202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960843776" sldId="2147484203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7610835" sldId="2147484204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684205832" sldId="2147484208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392851952" sldId="2147484209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554729717" sldId="2147484222"/>
          </pc:sldLayoutMkLst>
        </pc:sldLayoutChg>
        <pc:sldLayoutChg chg="add">
          <pc:chgData name="Allende Bustamante Jose (Codelco-Casa Matriz)" userId="S::jalle011@codelco.cl::54345eee-8770-43bf-b080-e3e333067d62" providerId="AD" clId="Web-{41D2A14C-6769-0B9A-9C3F-ABB83DCA14A0}" dt="2020-10-22T13:22:55.577" v="0"/>
          <pc:sldLayoutMkLst>
            <pc:docMk/>
            <pc:sldMasterMk cId="2969229741" sldId="2147484134"/>
            <pc:sldLayoutMk cId="1746498062" sldId="2147484224"/>
          </pc:sldLayoutMkLst>
        </pc:sldLayoutChg>
      </pc:sldMasterChg>
    </pc:docChg>
  </pc:docChgLst>
  <pc:docChgLst>
    <pc:chgData name="Cecilia De Brun" userId="S::cecilia_de_brun_mckinsey.com#ext#@codelcochile.onmicrosoft.com::9cf74694-5392-472f-a1fc-6533900a07f4" providerId="AD" clId="Web-{8488D8B2-B4D9-6273-B0B5-4F56B552E1F5}"/>
    <pc:docChg chg="addSld delSld modSld addMainMaster modMainMaster">
      <pc:chgData name="Cecilia De Brun" userId="S::cecilia_de_brun_mckinsey.com#ext#@codelcochile.onmicrosoft.com::9cf74694-5392-472f-a1fc-6533900a07f4" providerId="AD" clId="Web-{8488D8B2-B4D9-6273-B0B5-4F56B552E1F5}" dt="2021-04-29T14:37:37.113" v="47"/>
      <pc:docMkLst>
        <pc:docMk/>
      </pc:docMkLst>
      <pc:sldChg chg="addSp modSp new">
        <pc:chgData name="Cecilia De Brun" userId="S::cecilia_de_brun_mckinsey.com#ext#@codelcochile.onmicrosoft.com::9cf74694-5392-472f-a1fc-6533900a07f4" providerId="AD" clId="Web-{8488D8B2-B4D9-6273-B0B5-4F56B552E1F5}" dt="2021-04-29T14:37:37.051" v="46" actId="1076"/>
        <pc:sldMkLst>
          <pc:docMk/>
          <pc:sldMk cId="3625393472" sldId="502"/>
        </pc:sldMkLst>
        <pc:spChg chg="mod">
          <ac:chgData name="Cecilia De Brun" userId="S::cecilia_de_brun_mckinsey.com#ext#@codelcochile.onmicrosoft.com::9cf74694-5392-472f-a1fc-6533900a07f4" providerId="AD" clId="Web-{8488D8B2-B4D9-6273-B0B5-4F56B552E1F5}" dt="2021-04-29T14:34:40.360" v="30" actId="20577"/>
          <ac:spMkLst>
            <pc:docMk/>
            <pc:sldMk cId="3625393472" sldId="502"/>
            <ac:spMk id="2" creationId="{F78D297F-EE81-4E7A-B1DC-B9EB1BA2A14E}"/>
          </ac:spMkLst>
        </pc:sp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00.019" v="35"/>
          <ac:picMkLst>
            <pc:docMk/>
            <pc:sldMk cId="3625393472" sldId="502"/>
            <ac:picMk id="5" creationId="{60E96DE7-B2CA-44EA-8618-04AE88409B53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00.675" v="36"/>
          <ac:picMkLst>
            <pc:docMk/>
            <pc:sldMk cId="3625393472" sldId="502"/>
            <ac:picMk id="6" creationId="{C6EE50F9-1F1E-453F-AF93-5291410B097B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09.738" v="37"/>
          <ac:picMkLst>
            <pc:docMk/>
            <pc:sldMk cId="3625393472" sldId="502"/>
            <ac:picMk id="7" creationId="{51F0365A-E5C8-4A50-B30C-A0ACF1225272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10.144" v="38"/>
          <ac:picMkLst>
            <pc:docMk/>
            <pc:sldMk cId="3625393472" sldId="502"/>
            <ac:picMk id="8" creationId="{FF565F86-BF64-46E1-82C2-D566F71252C0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10.441" v="39"/>
          <ac:picMkLst>
            <pc:docMk/>
            <pc:sldMk cId="3625393472" sldId="502"/>
            <ac:picMk id="9" creationId="{B64253CF-6916-421F-9256-B9FA0E4BFCEA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10.753" v="40"/>
          <ac:picMkLst>
            <pc:docMk/>
            <pc:sldMk cId="3625393472" sldId="502"/>
            <ac:picMk id="10" creationId="{FF2776C5-7AF1-4C4C-867A-7D1C1B582628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10.831" v="41"/>
          <ac:picMkLst>
            <pc:docMk/>
            <pc:sldMk cId="3625393472" sldId="502"/>
            <ac:picMk id="11" creationId="{B0F909AE-9F0E-4D04-BF04-E19C8021A058}"/>
          </ac:picMkLst>
        </pc:picChg>
        <pc:picChg chg="add mod">
          <ac:chgData name="Cecilia De Brun" userId="S::cecilia_de_brun_mckinsey.com#ext#@codelcochile.onmicrosoft.com::9cf74694-5392-472f-a1fc-6533900a07f4" providerId="AD" clId="Web-{8488D8B2-B4D9-6273-B0B5-4F56B552E1F5}" dt="2021-04-29T14:37:37.051" v="46" actId="1076"/>
          <ac:picMkLst>
            <pc:docMk/>
            <pc:sldMk cId="3625393472" sldId="502"/>
            <ac:picMk id="12" creationId="{F445299A-7B83-4664-8E58-5742F6EE6043}"/>
          </ac:picMkLst>
        </pc:picChg>
      </pc:sldChg>
      <pc:sldChg chg="modSp add del">
        <pc:chgData name="Cecilia De Brun" userId="S::cecilia_de_brun_mckinsey.com#ext#@codelcochile.onmicrosoft.com::9cf74694-5392-472f-a1fc-6533900a07f4" providerId="AD" clId="Web-{8488D8B2-B4D9-6273-B0B5-4F56B552E1F5}" dt="2021-04-29T14:37:37.113" v="47"/>
        <pc:sldMkLst>
          <pc:docMk/>
          <pc:sldMk cId="2375252781" sldId="503"/>
        </pc:sldMkLst>
        <pc:spChg chg="mod">
          <ac:chgData name="Cecilia De Brun" userId="S::cecilia_de_brun_mckinsey.com#ext#@codelcochile.onmicrosoft.com::9cf74694-5392-472f-a1fc-6533900a07f4" providerId="AD" clId="Web-{8488D8B2-B4D9-6273-B0B5-4F56B552E1F5}" dt="2021-04-29T14:36:06.455" v="34" actId="20577"/>
          <ac:spMkLst>
            <pc:docMk/>
            <pc:sldMk cId="2375252781" sldId="503"/>
            <ac:spMk id="6" creationId="{00000000-0000-0000-0000-000000000000}"/>
          </ac:spMkLst>
        </pc:spChg>
      </pc:sldChg>
      <pc:sldMasterChg chg="add addSldLayout">
        <pc:chgData name="Cecilia De Brun" userId="S::cecilia_de_brun_mckinsey.com#ext#@codelcochile.onmicrosoft.com::9cf74694-5392-472f-a1fc-6533900a07f4" providerId="AD" clId="Web-{8488D8B2-B4D9-6273-B0B5-4F56B552E1F5}" dt="2021-04-29T14:35:20.017" v="31"/>
        <pc:sldMasterMkLst>
          <pc:docMk/>
          <pc:sldMasterMk cId="3790197275" sldId="2147483648"/>
        </pc:sldMasterMkLst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3729286793" sldId="2147483649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2788058552" sldId="2147483650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1967227318" sldId="2147483651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2382663995" sldId="2147483652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4084748980" sldId="2147483653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462867809" sldId="2147483654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4079348352" sldId="2147483655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892475163" sldId="2147483656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27260824" sldId="2147483657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2516741600" sldId="2147483658"/>
          </pc:sldLayoutMkLst>
        </pc:sldLayoutChg>
        <pc:sldLayoutChg chg="ad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3790197275" sldId="2147483648"/>
            <pc:sldLayoutMk cId="628976372" sldId="2147483659"/>
          </pc:sldLayoutMkLst>
        </pc:sldLayoutChg>
      </pc:sldMasterChg>
      <pc:sldMasterChg chg="replId modSldLayout">
        <pc:chgData name="Cecilia De Brun" userId="S::cecilia_de_brun_mckinsey.com#ext#@codelcochile.onmicrosoft.com::9cf74694-5392-472f-a1fc-6533900a07f4" providerId="AD" clId="Web-{8488D8B2-B4D9-6273-B0B5-4F56B552E1F5}" dt="2021-04-29T14:35:20.017" v="31"/>
        <pc:sldMasterMkLst>
          <pc:docMk/>
          <pc:sldMasterMk cId="2969229741" sldId="2147484423"/>
        </pc:sldMasterMkLst>
        <pc:sldLayoutChg chg="replI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2969229741" sldId="2147484423"/>
            <pc:sldLayoutMk cId="1608224328" sldId="2147484424"/>
          </pc:sldLayoutMkLst>
        </pc:sldLayoutChg>
        <pc:sldLayoutChg chg="replId">
          <pc:chgData name="Cecilia De Brun" userId="S::cecilia_de_brun_mckinsey.com#ext#@codelcochile.onmicrosoft.com::9cf74694-5392-472f-a1fc-6533900a07f4" providerId="AD" clId="Web-{8488D8B2-B4D9-6273-B0B5-4F56B552E1F5}" dt="2021-04-29T14:35:20.017" v="31"/>
          <pc:sldLayoutMkLst>
            <pc:docMk/>
            <pc:sldMasterMk cId="2969229741" sldId="2147484423"/>
            <pc:sldLayoutMk cId="2497063147" sldId="2147484425"/>
          </pc:sldLayoutMkLst>
        </pc:sldLayoutChg>
      </pc:sldMasterChg>
    </pc:docChg>
  </pc:docChgLst>
  <pc:docChgLst>
    <pc:chgData name="Mery Carrasco Mauricio (Codelco-Casa Matriz)" userId="S::mmery004@codelco.cl::a0378191-74de-4d59-9b37-aa421303daba" providerId="AD" clId="Web-{3C0CCF60-A724-9EEB-3BD0-0005EBA51C5F}"/>
    <pc:docChg chg="">
      <pc:chgData name="Mery Carrasco Mauricio (Codelco-Casa Matriz)" userId="S::mmery004@codelco.cl::a0378191-74de-4d59-9b37-aa421303daba" providerId="AD" clId="Web-{3C0CCF60-A724-9EEB-3BD0-0005EBA51C5F}" dt="2021-05-20T13:57:30.594" v="1"/>
      <pc:docMkLst>
        <pc:docMk/>
      </pc:docMkLst>
      <pc:sldChg chg="addCm">
        <pc:chgData name="Mery Carrasco Mauricio (Codelco-Casa Matriz)" userId="S::mmery004@codelco.cl::a0378191-74de-4d59-9b37-aa421303daba" providerId="AD" clId="Web-{3C0CCF60-A724-9EEB-3BD0-0005EBA51C5F}" dt="2021-05-20T13:56:59.453" v="0"/>
        <pc:sldMkLst>
          <pc:docMk/>
          <pc:sldMk cId="3254988731" sldId="526"/>
        </pc:sldMkLst>
      </pc:sldChg>
      <pc:sldChg chg="addCm">
        <pc:chgData name="Mery Carrasco Mauricio (Codelco-Casa Matriz)" userId="S::mmery004@codelco.cl::a0378191-74de-4d59-9b37-aa421303daba" providerId="AD" clId="Web-{3C0CCF60-A724-9EEB-3BD0-0005EBA51C5F}" dt="2021-05-20T13:57:30.594" v="1"/>
        <pc:sldMkLst>
          <pc:docMk/>
          <pc:sldMk cId="1869297631" sldId="528"/>
        </pc:sldMkLst>
      </pc:sldChg>
    </pc:docChg>
  </pc:docChgLst>
  <pc:docChgLst>
    <pc:chgData name="Quezada Castaneda Rene (Codelco-Chuquicamata)" userId="S::fquez002@codelco.cl::ef8fb00d-8882-4f44-b64d-1ed74a02736c" providerId="AD" clId="Web-{551A99E4-CCC9-FAE0-277D-3B6A11A8DBA0}"/>
    <pc:docChg chg="modSld">
      <pc:chgData name="Quezada Castaneda Rene (Codelco-Chuquicamata)" userId="S::fquez002@codelco.cl::ef8fb00d-8882-4f44-b64d-1ed74a02736c" providerId="AD" clId="Web-{551A99E4-CCC9-FAE0-277D-3B6A11A8DBA0}" dt="2021-05-20T14:25:18" v="71"/>
      <pc:docMkLst>
        <pc:docMk/>
      </pc:docMkLst>
      <pc:sldChg chg="addSp modSp">
        <pc:chgData name="Quezada Castaneda Rene (Codelco-Chuquicamata)" userId="S::fquez002@codelco.cl::ef8fb00d-8882-4f44-b64d-1ed74a02736c" providerId="AD" clId="Web-{551A99E4-CCC9-FAE0-277D-3B6A11A8DBA0}" dt="2021-05-20T14:25:18" v="71"/>
        <pc:sldMkLst>
          <pc:docMk/>
          <pc:sldMk cId="3254988731" sldId="526"/>
        </pc:sldMkLst>
        <pc:spChg chg="add mod">
          <ac:chgData name="Quezada Castaneda Rene (Codelco-Chuquicamata)" userId="S::fquez002@codelco.cl::ef8fb00d-8882-4f44-b64d-1ed74a02736c" providerId="AD" clId="Web-{551A99E4-CCC9-FAE0-277D-3B6A11A8DBA0}" dt="2021-05-20T14:25:18" v="71"/>
          <ac:spMkLst>
            <pc:docMk/>
            <pc:sldMk cId="3254988731" sldId="526"/>
            <ac:spMk id="5" creationId="{3BF7CA37-3EF5-4A58-A531-38DD3870C504}"/>
          </ac:spMkLst>
        </pc:spChg>
        <pc:picChg chg="mod">
          <ac:chgData name="Quezada Castaneda Rene (Codelco-Chuquicamata)" userId="S::fquez002@codelco.cl::ef8fb00d-8882-4f44-b64d-1ed74a02736c" providerId="AD" clId="Web-{551A99E4-CCC9-FAE0-277D-3B6A11A8DBA0}" dt="2021-05-20T14:23:32.373" v="2" actId="1076"/>
          <ac:picMkLst>
            <pc:docMk/>
            <pc:sldMk cId="3254988731" sldId="526"/>
            <ac:picMk id="7" creationId="{C5F5BB1A-624F-45D5-9F02-0F474F94C19B}"/>
          </ac:picMkLst>
        </pc:picChg>
        <pc:picChg chg="mod">
          <ac:chgData name="Quezada Castaneda Rene (Codelco-Chuquicamata)" userId="S::fquez002@codelco.cl::ef8fb00d-8882-4f44-b64d-1ed74a02736c" providerId="AD" clId="Web-{551A99E4-CCC9-FAE0-277D-3B6A11A8DBA0}" dt="2021-05-20T14:23:32.389" v="3" actId="1076"/>
          <ac:picMkLst>
            <pc:docMk/>
            <pc:sldMk cId="3254988731" sldId="526"/>
            <ac:picMk id="8" creationId="{DF732C2F-0A8C-4597-8D88-ED91EE526C47}"/>
          </ac:picMkLst>
        </pc:picChg>
        <pc:picChg chg="mod">
          <ac:chgData name="Quezada Castaneda Rene (Codelco-Chuquicamata)" userId="S::fquez002@codelco.cl::ef8fb00d-8882-4f44-b64d-1ed74a02736c" providerId="AD" clId="Web-{551A99E4-CCC9-FAE0-277D-3B6A11A8DBA0}" dt="2021-05-20T14:23:32.404" v="4" actId="1076"/>
          <ac:picMkLst>
            <pc:docMk/>
            <pc:sldMk cId="3254988731" sldId="526"/>
            <ac:picMk id="9" creationId="{A44AD5A9-43EC-497E-A044-8A82CC114D4E}"/>
          </ac:picMkLst>
        </pc:picChg>
        <pc:picChg chg="mod">
          <ac:chgData name="Quezada Castaneda Rene (Codelco-Chuquicamata)" userId="S::fquez002@codelco.cl::ef8fb00d-8882-4f44-b64d-1ed74a02736c" providerId="AD" clId="Web-{551A99E4-CCC9-FAE0-277D-3B6A11A8DBA0}" dt="2021-05-20T14:23:32.420" v="5" actId="1076"/>
          <ac:picMkLst>
            <pc:docMk/>
            <pc:sldMk cId="3254988731" sldId="526"/>
            <ac:picMk id="10" creationId="{828B5E7C-33FD-4100-9219-64EBE1D7DDA9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E34A8199-94DA-FDCB-83E5-13D6BD837ECD}"/>
    <pc:docChg chg="modSld">
      <pc:chgData name="Paillacar Oyarzo Paulo Ignacio (Codelco-Casa Matriz)" userId="S::ppail001@codelco.cl::3f9c4ec0-dfff-4bc5-ba03-192dd672e537" providerId="AD" clId="Web-{E34A8199-94DA-FDCB-83E5-13D6BD837ECD}" dt="2021-06-30T18:58:20.588" v="335" actId="1076"/>
      <pc:docMkLst>
        <pc:docMk/>
      </pc:docMkLst>
      <pc:sldChg chg="addSp delSp modSp addCm">
        <pc:chgData name="Paillacar Oyarzo Paulo Ignacio (Codelco-Casa Matriz)" userId="S::ppail001@codelco.cl::3f9c4ec0-dfff-4bc5-ba03-192dd672e537" providerId="AD" clId="Web-{E34A8199-94DA-FDCB-83E5-13D6BD837ECD}" dt="2021-06-30T18:58:20.588" v="335" actId="1076"/>
        <pc:sldMkLst>
          <pc:docMk/>
          <pc:sldMk cId="3660273785" sldId="533"/>
        </pc:sldMkLst>
        <pc:spChg chg="mod">
          <ac:chgData name="Paillacar Oyarzo Paulo Ignacio (Codelco-Casa Matriz)" userId="S::ppail001@codelco.cl::3f9c4ec0-dfff-4bc5-ba03-192dd672e537" providerId="AD" clId="Web-{E34A8199-94DA-FDCB-83E5-13D6BD837ECD}" dt="2021-06-30T18:05:29.205" v="48" actId="20577"/>
          <ac:spMkLst>
            <pc:docMk/>
            <pc:sldMk cId="3660273785" sldId="533"/>
            <ac:spMk id="2" creationId="{93CD3BA4-8C19-4BF4-A9CC-A0989BCA9850}"/>
          </ac:spMkLst>
        </pc:spChg>
        <pc:spChg chg="mod">
          <ac:chgData name="Paillacar Oyarzo Paulo Ignacio (Codelco-Casa Matriz)" userId="S::ppail001@codelco.cl::3f9c4ec0-dfff-4bc5-ba03-192dd672e537" providerId="AD" clId="Web-{E34A8199-94DA-FDCB-83E5-13D6BD837ECD}" dt="2021-06-30T18:07:29.882" v="79" actId="20577"/>
          <ac:spMkLst>
            <pc:docMk/>
            <pc:sldMk cId="3660273785" sldId="533"/>
            <ac:spMk id="3" creationId="{73731382-712D-4713-AA60-5F9A81586785}"/>
          </ac:spMkLst>
        </pc:spChg>
        <pc:spChg chg="add mod">
          <ac:chgData name="Paillacar Oyarzo Paulo Ignacio (Codelco-Casa Matriz)" userId="S::ppail001@codelco.cl::3f9c4ec0-dfff-4bc5-ba03-192dd672e537" providerId="AD" clId="Web-{E34A8199-94DA-FDCB-83E5-13D6BD837ECD}" dt="2021-06-30T18:12:49.800" v="122" actId="1076"/>
          <ac:spMkLst>
            <pc:docMk/>
            <pc:sldMk cId="3660273785" sldId="533"/>
            <ac:spMk id="11" creationId="{C1545860-27CD-4564-9EC8-D601E90FB475}"/>
          </ac:spMkLst>
        </pc:spChg>
        <pc:spChg chg="add mod">
          <ac:chgData name="Paillacar Oyarzo Paulo Ignacio (Codelco-Casa Matriz)" userId="S::ppail001@codelco.cl::3f9c4ec0-dfff-4bc5-ba03-192dd672e537" providerId="AD" clId="Web-{E34A8199-94DA-FDCB-83E5-13D6BD837ECD}" dt="2021-06-30T18:31:49.170" v="251" actId="1076"/>
          <ac:spMkLst>
            <pc:docMk/>
            <pc:sldMk cId="3660273785" sldId="533"/>
            <ac:spMk id="12" creationId="{C8E06216-BBE3-428E-9C13-D937203EFCB0}"/>
          </ac:spMkLst>
        </pc:spChg>
        <pc:spChg chg="add mod">
          <ac:chgData name="Paillacar Oyarzo Paulo Ignacio (Codelco-Casa Matriz)" userId="S::ppail001@codelco.cl::3f9c4ec0-dfff-4bc5-ba03-192dd672e537" providerId="AD" clId="Web-{E34A8199-94DA-FDCB-83E5-13D6BD837ECD}" dt="2021-06-30T18:31:33.451" v="250" actId="1076"/>
          <ac:spMkLst>
            <pc:docMk/>
            <pc:sldMk cId="3660273785" sldId="533"/>
            <ac:spMk id="22" creationId="{B9B7C595-C5B6-4FEC-B945-B1C8124C7B87}"/>
          </ac:spMkLst>
        </pc:spChg>
        <pc:spChg chg="add mod">
          <ac:chgData name="Paillacar Oyarzo Paulo Ignacio (Codelco-Casa Matriz)" userId="S::ppail001@codelco.cl::3f9c4ec0-dfff-4bc5-ba03-192dd672e537" providerId="AD" clId="Web-{E34A8199-94DA-FDCB-83E5-13D6BD837ECD}" dt="2021-06-30T18:40:56.159" v="325" actId="1076"/>
          <ac:spMkLst>
            <pc:docMk/>
            <pc:sldMk cId="3660273785" sldId="533"/>
            <ac:spMk id="25" creationId="{30E51C1E-2836-4CC7-8AFD-487DEE36BF12}"/>
          </ac:spMkLst>
        </pc:spChg>
        <pc:picChg chg="add mod">
          <ac:chgData name="Paillacar Oyarzo Paulo Ignacio (Codelco-Casa Matriz)" userId="S::ppail001@codelco.cl::3f9c4ec0-dfff-4bc5-ba03-192dd672e537" providerId="AD" clId="Web-{E34A8199-94DA-FDCB-83E5-13D6BD837ECD}" dt="2021-06-30T18:11:22" v="112" actId="1076"/>
          <ac:picMkLst>
            <pc:docMk/>
            <pc:sldMk cId="3660273785" sldId="533"/>
            <ac:picMk id="5" creationId="{BEFD082C-7D97-4163-B873-BF9F8C44C1C3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11:22.031" v="113" actId="1076"/>
          <ac:picMkLst>
            <pc:docMk/>
            <pc:sldMk cId="3660273785" sldId="533"/>
            <ac:picMk id="6" creationId="{9CE0A802-3BB0-456F-9F79-AF6A2DF2FE1C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11:22.062" v="114" actId="1076"/>
          <ac:picMkLst>
            <pc:docMk/>
            <pc:sldMk cId="3660273785" sldId="533"/>
            <ac:picMk id="7" creationId="{7B81526E-F6C3-4E79-829D-DAE7A35D86D1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11:22.109" v="115" actId="1076"/>
          <ac:picMkLst>
            <pc:docMk/>
            <pc:sldMk cId="3660273785" sldId="533"/>
            <ac:picMk id="8" creationId="{314CE3AF-8165-4906-B0CA-B9F9E9FCB190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11:22.109" v="116" actId="1076"/>
          <ac:picMkLst>
            <pc:docMk/>
            <pc:sldMk cId="3660273785" sldId="533"/>
            <ac:picMk id="9" creationId="{4F7F69E1-D34A-49BD-A03B-D4B78E8AE756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12:55.769" v="124" actId="1076"/>
          <ac:picMkLst>
            <pc:docMk/>
            <pc:sldMk cId="3660273785" sldId="533"/>
            <ac:picMk id="10" creationId="{38E45F64-EE46-487D-88FC-6A2D31CEE2C6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22:27.899" v="195"/>
          <ac:picMkLst>
            <pc:docMk/>
            <pc:sldMk cId="3660273785" sldId="533"/>
            <ac:picMk id="13" creationId="{505D2E55-98F9-4E3C-9AA8-3360A9B64B7D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22:38.806" v="198" actId="1076"/>
          <ac:picMkLst>
            <pc:docMk/>
            <pc:sldMk cId="3660273785" sldId="533"/>
            <ac:picMk id="14" creationId="{1FAD47E8-1A28-4C47-A871-17D09C1CB463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24:01.106" v="214" actId="1076"/>
          <ac:picMkLst>
            <pc:docMk/>
            <pc:sldMk cId="3660273785" sldId="533"/>
            <ac:picMk id="15" creationId="{EF097012-AC9B-4CFF-9E2D-C4699CDE6C7E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30:57.621" v="244" actId="1076"/>
          <ac:picMkLst>
            <pc:docMk/>
            <pc:sldMk cId="3660273785" sldId="533"/>
            <ac:picMk id="16" creationId="{891B87A2-16F9-4B05-A550-E705685B3C1C}"/>
          </ac:picMkLst>
        </pc:picChg>
        <pc:picChg chg="add del">
          <ac:chgData name="Paillacar Oyarzo Paulo Ignacio (Codelco-Casa Matriz)" userId="S::ppail001@codelco.cl::3f9c4ec0-dfff-4bc5-ba03-192dd672e537" providerId="AD" clId="Web-{E34A8199-94DA-FDCB-83E5-13D6BD837ECD}" dt="2021-06-30T18:24:14.106" v="217"/>
          <ac:picMkLst>
            <pc:docMk/>
            <pc:sldMk cId="3660273785" sldId="533"/>
            <ac:picMk id="17" creationId="{0152F7C3-4BBB-4F56-84B7-8AEC8074B0A1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25:11.015" v="228"/>
          <ac:picMkLst>
            <pc:docMk/>
            <pc:sldMk cId="3660273785" sldId="533"/>
            <ac:picMk id="18" creationId="{02EAF6AD-77A9-48A4-B8AD-19FB6E171AB8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30:41.214" v="239" actId="1076"/>
          <ac:picMkLst>
            <pc:docMk/>
            <pc:sldMk cId="3660273785" sldId="533"/>
            <ac:picMk id="19" creationId="{D5EF3DDD-6251-4B7B-99E5-542633A0151D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30:47.652" v="241" actId="1076"/>
          <ac:picMkLst>
            <pc:docMk/>
            <pc:sldMk cId="3660273785" sldId="533"/>
            <ac:picMk id="20" creationId="{4E9202B8-B49B-4DFD-BC52-FFF9A5E3B186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31:07.012" v="247" actId="1076"/>
          <ac:picMkLst>
            <pc:docMk/>
            <pc:sldMk cId="3660273785" sldId="533"/>
            <ac:picMk id="21" creationId="{6860D51A-3678-4DFC-B0A3-A86CDF714996}"/>
          </ac:picMkLst>
        </pc:picChg>
        <pc:picChg chg="add del mod">
          <ac:chgData name="Paillacar Oyarzo Paulo Ignacio (Codelco-Casa Matriz)" userId="S::ppail001@codelco.cl::3f9c4ec0-dfff-4bc5-ba03-192dd672e537" providerId="AD" clId="Web-{E34A8199-94DA-FDCB-83E5-13D6BD837ECD}" dt="2021-06-30T18:56:24.834" v="329"/>
          <ac:picMkLst>
            <pc:docMk/>
            <pc:sldMk cId="3660273785" sldId="533"/>
            <ac:picMk id="24" creationId="{9AF856E0-7169-46E0-A7B9-658F3B9B31B4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39:29.562" v="323" actId="1076"/>
          <ac:picMkLst>
            <pc:docMk/>
            <pc:sldMk cId="3660273785" sldId="533"/>
            <ac:picMk id="26" creationId="{FEE05167-FF01-4511-BFDE-6C5E344B9F01}"/>
          </ac:picMkLst>
        </pc:picChg>
        <pc:picChg chg="add mod">
          <ac:chgData name="Paillacar Oyarzo Paulo Ignacio (Codelco-Casa Matriz)" userId="S::ppail001@codelco.cl::3f9c4ec0-dfff-4bc5-ba03-192dd672e537" providerId="AD" clId="Web-{E34A8199-94DA-FDCB-83E5-13D6BD837ECD}" dt="2021-06-30T18:58:20.588" v="335" actId="1076"/>
          <ac:picMkLst>
            <pc:docMk/>
            <pc:sldMk cId="3660273785" sldId="533"/>
            <ac:picMk id="29" creationId="{19AC4C6B-28B7-4434-93BB-F5730A8EEF1B}"/>
          </ac:picMkLst>
        </pc:picChg>
        <pc:cxnChg chg="add mod">
          <ac:chgData name="Paillacar Oyarzo Paulo Ignacio (Codelco-Casa Matriz)" userId="S::ppail001@codelco.cl::3f9c4ec0-dfff-4bc5-ba03-192dd672e537" providerId="AD" clId="Web-{E34A8199-94DA-FDCB-83E5-13D6BD837ECD}" dt="2021-06-30T18:33:08.532" v="258" actId="14100"/>
          <ac:cxnSpMkLst>
            <pc:docMk/>
            <pc:sldMk cId="3660273785" sldId="533"/>
            <ac:cxnSpMk id="23" creationId="{B027A9C1-8BF6-4209-897A-80AAB7F39FD9}"/>
          </ac:cxnSpMkLst>
        </pc:cxnChg>
      </pc:sldChg>
    </pc:docChg>
  </pc:docChgLst>
  <pc:docChgLst>
    <pc:chgData name="Allende Bustamante Jose (Codelco-Casa Matriz)" userId="S::jalle011@codelco.cl::54345eee-8770-43bf-b080-e3e333067d62" providerId="AD" clId="Web-{B264E7C4-0487-B17C-5ABD-3A477576D1E4}"/>
    <pc:docChg chg="modSld">
      <pc:chgData name="Allende Bustamante Jose (Codelco-Casa Matriz)" userId="S::jalle011@codelco.cl::54345eee-8770-43bf-b080-e3e333067d62" providerId="AD" clId="Web-{B264E7C4-0487-B17C-5ABD-3A477576D1E4}" dt="2021-06-30T19:22:31.189" v="156" actId="20577"/>
      <pc:docMkLst>
        <pc:docMk/>
      </pc:docMkLst>
      <pc:sldChg chg="modSp delCm">
        <pc:chgData name="Allende Bustamante Jose (Codelco-Casa Matriz)" userId="S::jalle011@codelco.cl::54345eee-8770-43bf-b080-e3e333067d62" providerId="AD" clId="Web-{B264E7C4-0487-B17C-5ABD-3A477576D1E4}" dt="2021-06-30T19:22:31.189" v="156" actId="20577"/>
        <pc:sldMkLst>
          <pc:docMk/>
          <pc:sldMk cId="1775339418" sldId="440"/>
        </pc:sldMkLst>
        <pc:spChg chg="mod">
          <ac:chgData name="Allende Bustamante Jose (Codelco-Casa Matriz)" userId="S::jalle011@codelco.cl::54345eee-8770-43bf-b080-e3e333067d62" providerId="AD" clId="Web-{B264E7C4-0487-B17C-5ABD-3A477576D1E4}" dt="2021-06-30T19:22:31.189" v="156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Allende Bustamante Jose (Codelco-Casa Matriz)" userId="S::jalle011@codelco.cl::54345eee-8770-43bf-b080-e3e333067d62" providerId="AD" clId="Web-{B264E7C4-0487-B17C-5ABD-3A477576D1E4}" dt="2021-06-30T19:18:54.119" v="126" actId="20577"/>
          <ac:spMkLst>
            <pc:docMk/>
            <pc:sldMk cId="1775339418" sldId="440"/>
            <ac:spMk id="19" creationId="{488562D1-4154-4B20-8682-0B484D7B4DCB}"/>
          </ac:spMkLst>
        </pc:spChg>
      </pc:sldChg>
    </pc:docChg>
  </pc:docChgLst>
  <pc:docChgLst>
    <pc:chgData name="Vasquez Orellana Guillermo (Codelco-Chuquicamata)" userId="S::gvasq012@codelco.cl::9f5aa95e-ae50-4127-8a08-ebd100a60690" providerId="AD" clId="Web-{32A27CE9-D144-4AB4-A983-AEA259EE4BB6}"/>
    <pc:docChg chg="modSld">
      <pc:chgData name="Vasquez Orellana Guillermo (Codelco-Chuquicamata)" userId="S::gvasq012@codelco.cl::9f5aa95e-ae50-4127-8a08-ebd100a60690" providerId="AD" clId="Web-{32A27CE9-D144-4AB4-A983-AEA259EE4BB6}" dt="2021-04-14T16:46:06.316" v="2" actId="1076"/>
      <pc:docMkLst>
        <pc:docMk/>
      </pc:docMkLst>
      <pc:sldChg chg="modSp">
        <pc:chgData name="Vasquez Orellana Guillermo (Codelco-Chuquicamata)" userId="S::gvasq012@codelco.cl::9f5aa95e-ae50-4127-8a08-ebd100a60690" providerId="AD" clId="Web-{32A27CE9-D144-4AB4-A983-AEA259EE4BB6}" dt="2021-04-14T16:41:40.764" v="0" actId="1076"/>
        <pc:sldMkLst>
          <pc:docMk/>
          <pc:sldMk cId="2592077390" sldId="450"/>
        </pc:sldMkLst>
        <pc:graphicFrameChg chg="mod">
          <ac:chgData name="Vasquez Orellana Guillermo (Codelco-Chuquicamata)" userId="S::gvasq012@codelco.cl::9f5aa95e-ae50-4127-8a08-ebd100a60690" providerId="AD" clId="Web-{32A27CE9-D144-4AB4-A983-AEA259EE4BB6}" dt="2021-04-14T16:41:40.764" v="0" actId="1076"/>
          <ac:graphicFrameMkLst>
            <pc:docMk/>
            <pc:sldMk cId="2592077390" sldId="450"/>
            <ac:graphicFrameMk id="82" creationId="{82BBBAF3-A93F-48F8-BE3A-F3CB56E16347}"/>
          </ac:graphicFrameMkLst>
        </pc:graphicFrameChg>
      </pc:sldChg>
      <pc:sldChg chg="modSp">
        <pc:chgData name="Vasquez Orellana Guillermo (Codelco-Chuquicamata)" userId="S::gvasq012@codelco.cl::9f5aa95e-ae50-4127-8a08-ebd100a60690" providerId="AD" clId="Web-{32A27CE9-D144-4AB4-A983-AEA259EE4BB6}" dt="2021-04-14T16:46:06.316" v="2" actId="1076"/>
        <pc:sldMkLst>
          <pc:docMk/>
          <pc:sldMk cId="2297803984" sldId="457"/>
        </pc:sldMkLst>
        <pc:spChg chg="mod">
          <ac:chgData name="Vasquez Orellana Guillermo (Codelco-Chuquicamata)" userId="S::gvasq012@codelco.cl::9f5aa95e-ae50-4127-8a08-ebd100a60690" providerId="AD" clId="Web-{32A27CE9-D144-4AB4-A983-AEA259EE4BB6}" dt="2021-04-14T16:44:36.971" v="1" actId="1076"/>
          <ac:spMkLst>
            <pc:docMk/>
            <pc:sldMk cId="2297803984" sldId="457"/>
            <ac:spMk id="24" creationId="{00000000-0000-0000-0000-000000000000}"/>
          </ac:spMkLst>
        </pc:spChg>
        <pc:picChg chg="mod">
          <ac:chgData name="Vasquez Orellana Guillermo (Codelco-Chuquicamata)" userId="S::gvasq012@codelco.cl::9f5aa95e-ae50-4127-8a08-ebd100a60690" providerId="AD" clId="Web-{32A27CE9-D144-4AB4-A983-AEA259EE4BB6}" dt="2021-04-14T16:46:06.316" v="2" actId="1076"/>
          <ac:picMkLst>
            <pc:docMk/>
            <pc:sldMk cId="2297803984" sldId="457"/>
            <ac:picMk id="19" creationId="{00000000-0000-0000-0000-000000000000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6EDA0A9A-6279-8D96-0A41-64A49A820092}"/>
    <pc:docChg chg="addSld delSld modSld sldOrd">
      <pc:chgData name="Mery Carrasco Mauricio (Codelco-Casa Matriz)" userId="S::mmery004@codelco.cl::a0378191-74de-4d59-9b37-aa421303daba" providerId="AD" clId="Web-{6EDA0A9A-6279-8D96-0A41-64A49A820092}" dt="2021-08-04T18:00:26.459" v="325" actId="14100"/>
      <pc:docMkLst>
        <pc:docMk/>
      </pc:docMkLst>
      <pc:sldChg chg="ord">
        <pc:chgData name="Mery Carrasco Mauricio (Codelco-Casa Matriz)" userId="S::mmery004@codelco.cl::a0378191-74de-4d59-9b37-aa421303daba" providerId="AD" clId="Web-{6EDA0A9A-6279-8D96-0A41-64A49A820092}" dt="2021-08-04T17:56:17.499" v="287"/>
        <pc:sldMkLst>
          <pc:docMk/>
          <pc:sldMk cId="3763758550" sldId="557"/>
        </pc:sldMkLst>
      </pc:sldChg>
      <pc:sldChg chg="addSp delSp modSp addCm">
        <pc:chgData name="Mery Carrasco Mauricio (Codelco-Casa Matriz)" userId="S::mmery004@codelco.cl::a0378191-74de-4d59-9b37-aa421303daba" providerId="AD" clId="Web-{6EDA0A9A-6279-8D96-0A41-64A49A820092}" dt="2021-08-04T17:38:00.157" v="122"/>
        <pc:sldMkLst>
          <pc:docMk/>
          <pc:sldMk cId="513596260" sldId="564"/>
        </pc:sldMkLst>
        <pc:spChg chg="del mod">
          <ac:chgData name="Mery Carrasco Mauricio (Codelco-Casa Matriz)" userId="S::mmery004@codelco.cl::a0378191-74de-4d59-9b37-aa421303daba" providerId="AD" clId="Web-{6EDA0A9A-6279-8D96-0A41-64A49A820092}" dt="2021-08-04T17:24:47.479" v="63"/>
          <ac:spMkLst>
            <pc:docMk/>
            <pc:sldMk cId="513596260" sldId="564"/>
            <ac:spMk id="3" creationId="{55BD6A77-E381-42C4-BC01-0615CFD7C15D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31:27.224" v="113" actId="20577"/>
          <ac:spMkLst>
            <pc:docMk/>
            <pc:sldMk cId="513596260" sldId="564"/>
            <ac:spMk id="5" creationId="{6E202F75-82D1-44E2-A328-2E5CD666D060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26:19.669" v="69" actId="1076"/>
          <ac:spMkLst>
            <pc:docMk/>
            <pc:sldMk cId="513596260" sldId="564"/>
            <ac:spMk id="7" creationId="{C3997CBD-50D0-4D3D-AE6B-32170D4A1A86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27:28.140" v="81" actId="1076"/>
          <ac:spMkLst>
            <pc:docMk/>
            <pc:sldMk cId="513596260" sldId="564"/>
            <ac:spMk id="11" creationId="{22A88F45-1C71-4F62-872F-F7E66E0928CA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32:09.679" v="118" actId="1076"/>
          <ac:spMkLst>
            <pc:docMk/>
            <pc:sldMk cId="513596260" sldId="564"/>
            <ac:spMk id="13" creationId="{E7174DCA-C9E9-4AF7-B4C6-51CBF23CCEAB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32:09.929" v="119" actId="1076"/>
          <ac:spMkLst>
            <pc:docMk/>
            <pc:sldMk cId="513596260" sldId="564"/>
            <ac:spMk id="15" creationId="{A9CA1BFA-49B8-4621-8151-B24FB854E927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32:28.945" v="121" actId="14100"/>
          <ac:spMkLst>
            <pc:docMk/>
            <pc:sldMk cId="513596260" sldId="564"/>
            <ac:spMk id="20" creationId="{D195E85E-BA4A-4CB0-BC76-BCC420FFED10}"/>
          </ac:spMkLst>
        </pc:spChg>
        <pc:spChg chg="add del mod">
          <ac:chgData name="Mery Carrasco Mauricio (Codelco-Casa Matriz)" userId="S::mmery004@codelco.cl::a0378191-74de-4d59-9b37-aa421303daba" providerId="AD" clId="Web-{6EDA0A9A-6279-8D96-0A41-64A49A820092}" dt="2021-08-04T17:25:05.901" v="66"/>
          <ac:spMkLst>
            <pc:docMk/>
            <pc:sldMk cId="513596260" sldId="564"/>
            <ac:spMk id="22" creationId="{7FE255E1-F4F6-49C2-9DF3-41FCA6C7C27B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31:07.036" v="110" actId="20577"/>
          <ac:spMkLst>
            <pc:docMk/>
            <pc:sldMk cId="513596260" sldId="564"/>
            <ac:spMk id="23" creationId="{248A79D3-5DCC-43A3-BEE4-08A8EEE222A8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30:39.801" v="99"/>
          <ac:spMkLst>
            <pc:docMk/>
            <pc:sldMk cId="513596260" sldId="564"/>
            <ac:spMk id="24" creationId="{8465D0C5-BD8F-4470-983C-254313DC693E}"/>
          </ac:spMkLst>
        </pc:spChg>
        <pc:picChg chg="mod">
          <ac:chgData name="Mery Carrasco Mauricio (Codelco-Casa Matriz)" userId="S::mmery004@codelco.cl::a0378191-74de-4d59-9b37-aa421303daba" providerId="AD" clId="Web-{6EDA0A9A-6279-8D96-0A41-64A49A820092}" dt="2021-08-04T17:25:01.058" v="65" actId="1076"/>
          <ac:picMkLst>
            <pc:docMk/>
            <pc:sldMk cId="513596260" sldId="564"/>
            <ac:picMk id="9" creationId="{75F5CDB7-219A-4EBE-9BA7-3FC5094497D7}"/>
          </ac:picMkLst>
        </pc:picChg>
        <pc:cxnChg chg="add mod">
          <ac:chgData name="Mery Carrasco Mauricio (Codelco-Casa Matriz)" userId="S::mmery004@codelco.cl::a0378191-74de-4d59-9b37-aa421303daba" providerId="AD" clId="Web-{6EDA0A9A-6279-8D96-0A41-64A49A820092}" dt="2021-08-04T17:26:19.685" v="70" actId="1076"/>
          <ac:cxnSpMkLst>
            <pc:docMk/>
            <pc:sldMk cId="513596260" sldId="564"/>
            <ac:cxnSpMk id="17" creationId="{BD374C22-A29B-4619-AE00-CE159B709642}"/>
          </ac:cxnSpMkLst>
        </pc:cxnChg>
        <pc:cxnChg chg="add mod">
          <ac:chgData name="Mery Carrasco Mauricio (Codelco-Casa Matriz)" userId="S::mmery004@codelco.cl::a0378191-74de-4d59-9b37-aa421303daba" providerId="AD" clId="Web-{6EDA0A9A-6279-8D96-0A41-64A49A820092}" dt="2021-08-04T17:30:48.645" v="101" actId="1076"/>
          <ac:cxnSpMkLst>
            <pc:docMk/>
            <pc:sldMk cId="513596260" sldId="564"/>
            <ac:cxnSpMk id="19" creationId="{33385C1D-DA48-477F-BEAB-9AD9668B5386}"/>
          </ac:cxnSpMkLst>
        </pc:cxnChg>
        <pc:cxnChg chg="add mod">
          <ac:chgData name="Mery Carrasco Mauricio (Codelco-Casa Matriz)" userId="S::mmery004@codelco.cl::a0378191-74de-4d59-9b37-aa421303daba" providerId="AD" clId="Web-{6EDA0A9A-6279-8D96-0A41-64A49A820092}" dt="2021-08-04T17:31:54.022" v="116" actId="14100"/>
          <ac:cxnSpMkLst>
            <pc:docMk/>
            <pc:sldMk cId="513596260" sldId="564"/>
            <ac:cxnSpMk id="25" creationId="{CF1E97E4-52F7-449A-AF5E-EE67C91FF995}"/>
          </ac:cxnSpMkLst>
        </pc:cxnChg>
      </pc:sldChg>
      <pc:sldChg chg="ord">
        <pc:chgData name="Mery Carrasco Mauricio (Codelco-Casa Matriz)" userId="S::mmery004@codelco.cl::a0378191-74de-4d59-9b37-aa421303daba" providerId="AD" clId="Web-{6EDA0A9A-6279-8D96-0A41-64A49A820092}" dt="2021-08-04T17:56:35.577" v="289"/>
        <pc:sldMkLst>
          <pc:docMk/>
          <pc:sldMk cId="4263088292" sldId="580"/>
        </pc:sldMkLst>
      </pc:sldChg>
      <pc:sldChg chg="ord">
        <pc:chgData name="Mery Carrasco Mauricio (Codelco-Casa Matriz)" userId="S::mmery004@codelco.cl::a0378191-74de-4d59-9b37-aa421303daba" providerId="AD" clId="Web-{6EDA0A9A-6279-8D96-0A41-64A49A820092}" dt="2021-08-04T17:56:26.015" v="288"/>
        <pc:sldMkLst>
          <pc:docMk/>
          <pc:sldMk cId="2801281709" sldId="585"/>
        </pc:sldMkLst>
      </pc:sldChg>
      <pc:sldChg chg="add del">
        <pc:chgData name="Mery Carrasco Mauricio (Codelco-Casa Matriz)" userId="S::mmery004@codelco.cl::a0378191-74de-4d59-9b37-aa421303daba" providerId="AD" clId="Web-{6EDA0A9A-6279-8D96-0A41-64A49A820092}" dt="2021-08-04T17:42:07.320" v="149"/>
        <pc:sldMkLst>
          <pc:docMk/>
          <pc:sldMk cId="1083017771" sldId="586"/>
        </pc:sldMkLst>
      </pc:sldChg>
      <pc:sldChg chg="addSp delSp modSp add replId">
        <pc:chgData name="Mery Carrasco Mauricio (Codelco-Casa Matriz)" userId="S::mmery004@codelco.cl::a0378191-74de-4d59-9b37-aa421303daba" providerId="AD" clId="Web-{6EDA0A9A-6279-8D96-0A41-64A49A820092}" dt="2021-08-04T18:00:26.459" v="325" actId="14100"/>
        <pc:sldMkLst>
          <pc:docMk/>
          <pc:sldMk cId="779277174" sldId="587"/>
        </pc:sldMkLst>
        <pc:spChg chg="mod">
          <ac:chgData name="Mery Carrasco Mauricio (Codelco-Casa Matriz)" userId="S::mmery004@codelco.cl::a0378191-74de-4d59-9b37-aa421303daba" providerId="AD" clId="Web-{6EDA0A9A-6279-8D96-0A41-64A49A820092}" dt="2021-08-04T17:41:54.616" v="147" actId="14100"/>
          <ac:spMkLst>
            <pc:docMk/>
            <pc:sldMk cId="779277174" sldId="587"/>
            <ac:spMk id="2" creationId="{755F471E-EC70-4A1D-A048-321F54208221}"/>
          </ac:spMkLst>
        </pc:spChg>
        <pc:spChg chg="del">
          <ac:chgData name="Mery Carrasco Mauricio (Codelco-Casa Matriz)" userId="S::mmery004@codelco.cl::a0378191-74de-4d59-9b37-aa421303daba" providerId="AD" clId="Web-{6EDA0A9A-6279-8D96-0A41-64A49A820092}" dt="2021-08-04T17:42:00.444" v="148"/>
          <ac:spMkLst>
            <pc:docMk/>
            <pc:sldMk cId="779277174" sldId="587"/>
            <ac:spMk id="3" creationId="{DAEF287D-DD16-4855-A8C9-507614F83874}"/>
          </ac:spMkLst>
        </pc:spChg>
        <pc:spChg chg="add del mod">
          <ac:chgData name="Mery Carrasco Mauricio (Codelco-Casa Matriz)" userId="S::mmery004@codelco.cl::a0378191-74de-4d59-9b37-aa421303daba" providerId="AD" clId="Web-{6EDA0A9A-6279-8D96-0A41-64A49A820092}" dt="2021-08-04T17:49:31.253" v="245"/>
          <ac:spMkLst>
            <pc:docMk/>
            <pc:sldMk cId="779277174" sldId="587"/>
            <ac:spMk id="6" creationId="{7FA1D72F-E219-4709-8EEF-E03819B535D3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3:20.712" v="167" actId="20577"/>
          <ac:spMkLst>
            <pc:docMk/>
            <pc:sldMk cId="779277174" sldId="587"/>
            <ac:spMk id="8" creationId="{0111A88B-2E99-4E3F-8CB5-DBDE84A2DD06}"/>
          </ac:spMkLst>
        </pc:spChg>
        <pc:spChg chg="add">
          <ac:chgData name="Mery Carrasco Mauricio (Codelco-Casa Matriz)" userId="S::mmery004@codelco.cl::a0378191-74de-4d59-9b37-aa421303daba" providerId="AD" clId="Web-{6EDA0A9A-6279-8D96-0A41-64A49A820092}" dt="2021-08-04T17:42:46.321" v="153"/>
          <ac:spMkLst>
            <pc:docMk/>
            <pc:sldMk cId="779277174" sldId="587"/>
            <ac:spMk id="12" creationId="{9D625A0C-9F78-4145-98D1-362678C1B232}"/>
          </ac:spMkLst>
        </pc:spChg>
        <pc:spChg chg="del">
          <ac:chgData name="Mery Carrasco Mauricio (Codelco-Casa Matriz)" userId="S::mmery004@codelco.cl::a0378191-74de-4d59-9b37-aa421303daba" providerId="AD" clId="Web-{6EDA0A9A-6279-8D96-0A41-64A49A820092}" dt="2021-08-04T17:39:29.956" v="124"/>
          <ac:spMkLst>
            <pc:docMk/>
            <pc:sldMk cId="779277174" sldId="587"/>
            <ac:spMk id="13" creationId="{84A2816A-DD67-468E-B74B-28CD6723B796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7:13.797" v="223" actId="1076"/>
          <ac:spMkLst>
            <pc:docMk/>
            <pc:sldMk cId="779277174" sldId="587"/>
            <ac:spMk id="16" creationId="{AA65D7B2-688E-459B-A749-7DE05120A286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5:18.997" v="199" actId="20577"/>
          <ac:spMkLst>
            <pc:docMk/>
            <pc:sldMk cId="779277174" sldId="587"/>
            <ac:spMk id="18" creationId="{2A5488C6-E0CA-4984-B6A5-01CF1EDF92AD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7:19.437" v="224" actId="1076"/>
          <ac:spMkLst>
            <pc:docMk/>
            <pc:sldMk cId="779277174" sldId="587"/>
            <ac:spMk id="20" creationId="{4C56F546-B70F-4047-B185-3462352D4B5C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8:04.048" v="232" actId="14100"/>
          <ac:spMkLst>
            <pc:docMk/>
            <pc:sldMk cId="779277174" sldId="587"/>
            <ac:spMk id="26" creationId="{78739219-A9B5-4219-8179-85DF49CB5D30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3:25.087" v="168" actId="20577"/>
          <ac:spMkLst>
            <pc:docMk/>
            <pc:sldMk cId="779277174" sldId="587"/>
            <ac:spMk id="28" creationId="{FCF66038-D907-40C7-8E70-B2230DF61C41}"/>
          </ac:spMkLst>
        </pc:spChg>
        <pc:spChg chg="add del mod">
          <ac:chgData name="Mery Carrasco Mauricio (Codelco-Casa Matriz)" userId="S::mmery004@codelco.cl::a0378191-74de-4d59-9b37-aa421303daba" providerId="AD" clId="Web-{6EDA0A9A-6279-8D96-0A41-64A49A820092}" dt="2021-08-04T17:48:22.283" v="236"/>
          <ac:spMkLst>
            <pc:docMk/>
            <pc:sldMk cId="779277174" sldId="587"/>
            <ac:spMk id="30" creationId="{962906AB-74CE-4D6C-A519-A8FBA442197A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6:21.311" v="211" actId="20577"/>
          <ac:spMkLst>
            <pc:docMk/>
            <pc:sldMk cId="779277174" sldId="587"/>
            <ac:spMk id="33" creationId="{4EFD6DB3-FB5B-4C4B-A97F-11BF802E13AE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6:40.546" v="213"/>
          <ac:spMkLst>
            <pc:docMk/>
            <pc:sldMk cId="779277174" sldId="587"/>
            <ac:spMk id="34" creationId="{8AC52933-E87F-4CAB-A604-BFB9D78A43F6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8:13.454" v="234" actId="1076"/>
          <ac:spMkLst>
            <pc:docMk/>
            <pc:sldMk cId="779277174" sldId="587"/>
            <ac:spMk id="36" creationId="{CDD7FBEF-BCAC-40BC-BB2A-B430C3A41408}"/>
          </ac:spMkLst>
        </pc:spChg>
        <pc:spChg chg="add del">
          <ac:chgData name="Mery Carrasco Mauricio (Codelco-Casa Matriz)" userId="S::mmery004@codelco.cl::a0378191-74de-4d59-9b37-aa421303daba" providerId="AD" clId="Web-{6EDA0A9A-6279-8D96-0A41-64A49A820092}" dt="2021-08-04T17:48:31.033" v="238"/>
          <ac:spMkLst>
            <pc:docMk/>
            <pc:sldMk cId="779277174" sldId="587"/>
            <ac:spMk id="37" creationId="{918B7E9F-506C-44CC-8C3C-10CDF4288366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48:41.049" v="240" actId="1076"/>
          <ac:spMkLst>
            <pc:docMk/>
            <pc:sldMk cId="779277174" sldId="587"/>
            <ac:spMk id="38" creationId="{AC442001-9989-4C75-9EC0-D6D7E8E17EE5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53:45.698" v="284" actId="14100"/>
          <ac:spMkLst>
            <pc:docMk/>
            <pc:sldMk cId="779277174" sldId="587"/>
            <ac:spMk id="46" creationId="{8D08E2EE-02B8-4BA2-B6B2-6D74F569399B}"/>
          </ac:spMkLst>
        </pc:spChg>
        <pc:spChg chg="add mod">
          <ac:chgData name="Mery Carrasco Mauricio (Codelco-Casa Matriz)" userId="S::mmery004@codelco.cl::a0378191-74de-4d59-9b37-aa421303daba" providerId="AD" clId="Web-{6EDA0A9A-6279-8D96-0A41-64A49A820092}" dt="2021-08-04T17:53:50.229" v="286" actId="20577"/>
          <ac:spMkLst>
            <pc:docMk/>
            <pc:sldMk cId="779277174" sldId="587"/>
            <ac:spMk id="47" creationId="{DBD0D6C5-1946-41F3-835A-4A0D46F36677}"/>
          </ac:spMkLst>
        </pc:spChg>
        <pc:grpChg chg="add mod">
          <ac:chgData name="Mery Carrasco Mauricio (Codelco-Casa Matriz)" userId="S::mmery004@codelco.cl::a0378191-74de-4d59-9b37-aa421303daba" providerId="AD" clId="Web-{6EDA0A9A-6279-8D96-0A41-64A49A820092}" dt="2021-08-04T17:51:06.193" v="250" actId="1076"/>
          <ac:grpSpMkLst>
            <pc:docMk/>
            <pc:sldMk cId="779277174" sldId="587"/>
            <ac:grpSpMk id="44" creationId="{ED5B506F-63F0-4CAE-9A53-65CED79D195C}"/>
          </ac:grpSpMkLst>
        </pc:grpChg>
        <pc:picChg chg="del">
          <ac:chgData name="Mery Carrasco Mauricio (Codelco-Casa Matriz)" userId="S::mmery004@codelco.cl::a0378191-74de-4d59-9b37-aa421303daba" providerId="AD" clId="Web-{6EDA0A9A-6279-8D96-0A41-64A49A820092}" dt="2021-08-04T17:42:34.586" v="150"/>
          <ac:picMkLst>
            <pc:docMk/>
            <pc:sldMk cId="779277174" sldId="587"/>
            <ac:picMk id="7" creationId="{0F39D98B-B4C9-41E7-A442-B19154323780}"/>
          </ac:picMkLst>
        </pc:picChg>
        <pc:picChg chg="del">
          <ac:chgData name="Mery Carrasco Mauricio (Codelco-Casa Matriz)" userId="S::mmery004@codelco.cl::a0378191-74de-4d59-9b37-aa421303daba" providerId="AD" clId="Web-{6EDA0A9A-6279-8D96-0A41-64A49A820092}" dt="2021-08-04T17:42:39.524" v="151"/>
          <ac:picMkLst>
            <pc:docMk/>
            <pc:sldMk cId="779277174" sldId="587"/>
            <ac:picMk id="9" creationId="{EBD8A08F-696A-4FEE-9F8A-A0318E033442}"/>
          </ac:picMkLst>
        </pc:picChg>
        <pc:picChg chg="mod">
          <ac:chgData name="Mery Carrasco Mauricio (Codelco-Casa Matriz)" userId="S::mmery004@codelco.cl::a0378191-74de-4d59-9b37-aa421303daba" providerId="AD" clId="Web-{6EDA0A9A-6279-8D96-0A41-64A49A820092}" dt="2021-08-04T17:58:44.768" v="307" actId="14100"/>
          <ac:picMkLst>
            <pc:docMk/>
            <pc:sldMk cId="779277174" sldId="587"/>
            <ac:picMk id="10" creationId="{9D7A8B70-8D7C-4E14-9040-0C9CD558A737}"/>
          </ac:picMkLst>
        </pc:picChg>
        <pc:picChg chg="add mod">
          <ac:chgData name="Mery Carrasco Mauricio (Codelco-Casa Matriz)" userId="S::mmery004@codelco.cl::a0378191-74de-4d59-9b37-aa421303daba" providerId="AD" clId="Web-{6EDA0A9A-6279-8D96-0A41-64A49A820092}" dt="2021-08-04T17:58:50.628" v="308" actId="1076"/>
          <ac:picMkLst>
            <pc:docMk/>
            <pc:sldMk cId="779277174" sldId="587"/>
            <ac:picMk id="49" creationId="{39DFFE22-DCED-48A5-8572-6C94B52F4728}"/>
          </ac:picMkLst>
        </pc:picChg>
        <pc:picChg chg="add mod">
          <ac:chgData name="Mery Carrasco Mauricio (Codelco-Casa Matriz)" userId="S::mmery004@codelco.cl::a0378191-74de-4d59-9b37-aa421303daba" providerId="AD" clId="Web-{6EDA0A9A-6279-8D96-0A41-64A49A820092}" dt="2021-08-04T17:58:55.362" v="309" actId="14100"/>
          <ac:picMkLst>
            <pc:docMk/>
            <pc:sldMk cId="779277174" sldId="587"/>
            <ac:picMk id="51" creationId="{1343DB57-ACFC-44BD-99C4-FCBA1F118B3B}"/>
          </ac:picMkLst>
        </pc:picChg>
        <pc:picChg chg="add mod">
          <ac:chgData name="Mery Carrasco Mauricio (Codelco-Casa Matriz)" userId="S::mmery004@codelco.cl::a0378191-74de-4d59-9b37-aa421303daba" providerId="AD" clId="Web-{6EDA0A9A-6279-8D96-0A41-64A49A820092}" dt="2021-08-04T17:58:55.456" v="310" actId="14100"/>
          <ac:picMkLst>
            <pc:docMk/>
            <pc:sldMk cId="779277174" sldId="587"/>
            <ac:picMk id="53" creationId="{4AD91447-E4A7-4065-88CE-46E343C8DDF4}"/>
          </ac:picMkLst>
        </pc:picChg>
        <pc:picChg chg="add mod">
          <ac:chgData name="Mery Carrasco Mauricio (Codelco-Casa Matriz)" userId="S::mmery004@codelco.cl::a0378191-74de-4d59-9b37-aa421303daba" providerId="AD" clId="Web-{6EDA0A9A-6279-8D96-0A41-64A49A820092}" dt="2021-08-04T17:59:49.583" v="316" actId="1076"/>
          <ac:picMkLst>
            <pc:docMk/>
            <pc:sldMk cId="779277174" sldId="587"/>
            <ac:picMk id="54" creationId="{525CE8EF-D1C0-4759-95AA-9B96AB85B1D1}"/>
          </ac:picMkLst>
        </pc:picChg>
        <pc:picChg chg="add mod">
          <ac:chgData name="Mery Carrasco Mauricio (Codelco-Casa Matriz)" userId="S::mmery004@codelco.cl::a0378191-74de-4d59-9b37-aa421303daba" providerId="AD" clId="Web-{6EDA0A9A-6279-8D96-0A41-64A49A820092}" dt="2021-08-04T18:00:12.958" v="321" actId="1076"/>
          <ac:picMkLst>
            <pc:docMk/>
            <pc:sldMk cId="779277174" sldId="587"/>
            <ac:picMk id="55" creationId="{5892684E-C0BF-40F6-82D0-49E47B19826C}"/>
          </ac:picMkLst>
        </pc:picChg>
        <pc:picChg chg="add mod">
          <ac:chgData name="Mery Carrasco Mauricio (Codelco-Casa Matriz)" userId="S::mmery004@codelco.cl::a0378191-74de-4d59-9b37-aa421303daba" providerId="AD" clId="Web-{6EDA0A9A-6279-8D96-0A41-64A49A820092}" dt="2021-08-04T18:00:26.459" v="325" actId="14100"/>
          <ac:picMkLst>
            <pc:docMk/>
            <pc:sldMk cId="779277174" sldId="587"/>
            <ac:picMk id="56" creationId="{9FDF1709-C09A-4355-9AAD-919D2521E683}"/>
          </ac:picMkLst>
        </pc:picChg>
        <pc:cxnChg chg="add mod">
          <ac:chgData name="Mery Carrasco Mauricio (Codelco-Casa Matriz)" userId="S::mmery004@codelco.cl::a0378191-74de-4d59-9b37-aa421303daba" providerId="AD" clId="Web-{6EDA0A9A-6279-8D96-0A41-64A49A820092}" dt="2021-08-04T17:45:24.294" v="200" actId="14100"/>
          <ac:cxnSpMkLst>
            <pc:docMk/>
            <pc:sldMk cId="779277174" sldId="587"/>
            <ac:cxnSpMk id="22" creationId="{CC6AD7E0-93DD-450F-A2B5-24F0C5A6C2DB}"/>
          </ac:cxnSpMkLst>
        </pc:cxnChg>
        <pc:cxnChg chg="add mod">
          <ac:chgData name="Mery Carrasco Mauricio (Codelco-Casa Matriz)" userId="S::mmery004@codelco.cl::a0378191-74de-4d59-9b37-aa421303daba" providerId="AD" clId="Web-{6EDA0A9A-6279-8D96-0A41-64A49A820092}" dt="2021-08-04T17:49:21.456" v="244" actId="14100"/>
          <ac:cxnSpMkLst>
            <pc:docMk/>
            <pc:sldMk cId="779277174" sldId="587"/>
            <ac:cxnSpMk id="24" creationId="{2F71B07F-7BF9-4C03-AA58-53B50C4D83AC}"/>
          </ac:cxnSpMkLst>
        </pc:cxnChg>
        <pc:cxnChg chg="add mod">
          <ac:chgData name="Mery Carrasco Mauricio (Codelco-Casa Matriz)" userId="S::mmery004@codelco.cl::a0378191-74de-4d59-9b37-aa421303daba" providerId="AD" clId="Web-{6EDA0A9A-6279-8D96-0A41-64A49A820092}" dt="2021-08-04T17:48:55.909" v="243" actId="14100"/>
          <ac:cxnSpMkLst>
            <pc:docMk/>
            <pc:sldMk cId="779277174" sldId="587"/>
            <ac:cxnSpMk id="32" creationId="{B10D3FB9-F861-485B-AD93-BDC1CB277DD7}"/>
          </ac:cxnSpMkLst>
        </pc:cxnChg>
        <pc:cxnChg chg="add mod">
          <ac:chgData name="Mery Carrasco Mauricio (Codelco-Casa Matriz)" userId="S::mmery004@codelco.cl::a0378191-74de-4d59-9b37-aa421303daba" providerId="AD" clId="Web-{6EDA0A9A-6279-8D96-0A41-64A49A820092}" dt="2021-08-04T17:46:05.685" v="208" actId="1076"/>
          <ac:cxnSpMkLst>
            <pc:docMk/>
            <pc:sldMk cId="779277174" sldId="587"/>
            <ac:cxnSpMk id="35" creationId="{9F1A60CA-4183-40CD-AA70-911F981A9E04}"/>
          </ac:cxnSpMkLst>
        </pc:cxnChg>
        <pc:cxnChg chg="add mod">
          <ac:chgData name="Mery Carrasco Mauricio (Codelco-Casa Matriz)" userId="S::mmery004@codelco.cl::a0378191-74de-4d59-9b37-aa421303daba" providerId="AD" clId="Web-{6EDA0A9A-6279-8D96-0A41-64A49A820092}" dt="2021-08-04T17:59:10.769" v="311" actId="14100"/>
          <ac:cxnSpMkLst>
            <pc:docMk/>
            <pc:sldMk cId="779277174" sldId="587"/>
            <ac:cxnSpMk id="40" creationId="{F2D6B240-287F-4771-A005-4BA28418706B}"/>
          </ac:cxnSpMkLst>
        </pc:cxnChg>
      </pc:sldChg>
    </pc:docChg>
  </pc:docChgLst>
  <pc:docChgLst>
    <pc:chgData name="Allende Bustamante Jose (Codelco-Casa Matriz)" userId="S::jalle011@codelco.cl::54345eee-8770-43bf-b080-e3e333067d62" providerId="AD" clId="Web-{97225CDB-7E5E-FA4A-3F66-7359BCEA7054}"/>
    <pc:docChg chg="addSld modSld">
      <pc:chgData name="Allende Bustamante Jose (Codelco-Casa Matriz)" userId="S::jalle011@codelco.cl::54345eee-8770-43bf-b080-e3e333067d62" providerId="AD" clId="Web-{97225CDB-7E5E-FA4A-3F66-7359BCEA7054}" dt="2021-01-14T13:52:11.695" v="56" actId="14100"/>
      <pc:docMkLst>
        <pc:docMk/>
      </pc:docMkLst>
      <pc:sldChg chg="addSp modSp add">
        <pc:chgData name="Allende Bustamante Jose (Codelco-Casa Matriz)" userId="S::jalle011@codelco.cl::54345eee-8770-43bf-b080-e3e333067d62" providerId="AD" clId="Web-{97225CDB-7E5E-FA4A-3F66-7359BCEA7054}" dt="2021-01-14T13:52:11.695" v="56" actId="14100"/>
        <pc:sldMkLst>
          <pc:docMk/>
          <pc:sldMk cId="3440923093" sldId="435"/>
        </pc:sldMkLst>
        <pc:spChg chg="add mod ord">
          <ac:chgData name="Allende Bustamante Jose (Codelco-Casa Matriz)" userId="S::jalle011@codelco.cl::54345eee-8770-43bf-b080-e3e333067d62" providerId="AD" clId="Web-{97225CDB-7E5E-FA4A-3F66-7359BCEA7054}" dt="2021-01-14T13:52:11.695" v="56" actId="14100"/>
          <ac:spMkLst>
            <pc:docMk/>
            <pc:sldMk cId="3440923093" sldId="435"/>
            <ac:spMk id="8" creationId="{AE87E3E9-47AD-44E3-A57F-4697928A84D0}"/>
          </ac:spMkLst>
        </pc:spChg>
        <pc:spChg chg="mod">
          <ac:chgData name="Allende Bustamante Jose (Codelco-Casa Matriz)" userId="S::jalle011@codelco.cl::54345eee-8770-43bf-b080-e3e333067d62" providerId="AD" clId="Web-{97225CDB-7E5E-FA4A-3F66-7359BCEA7054}" dt="2021-01-14T13:52:00.117" v="55" actId="20577"/>
          <ac:spMkLst>
            <pc:docMk/>
            <pc:sldMk cId="3440923093" sldId="435"/>
            <ac:spMk id="10" creationId="{00000000-0000-0000-0000-000000000000}"/>
          </ac:spMkLst>
        </pc:spChg>
        <pc:spChg chg="mod">
          <ac:chgData name="Allende Bustamante Jose (Codelco-Casa Matriz)" userId="S::jalle011@codelco.cl::54345eee-8770-43bf-b080-e3e333067d62" providerId="AD" clId="Web-{97225CDB-7E5E-FA4A-3F66-7359BCEA7054}" dt="2021-01-14T13:51:56.945" v="54" actId="20577"/>
          <ac:spMkLst>
            <pc:docMk/>
            <pc:sldMk cId="3440923093" sldId="435"/>
            <ac:spMk id="62" creationId="{00000000-0000-0000-0000-000000000000}"/>
          </ac:spMkLst>
        </pc:spChg>
        <pc:spChg chg="mod">
          <ac:chgData name="Allende Bustamante Jose (Codelco-Casa Matriz)" userId="S::jalle011@codelco.cl::54345eee-8770-43bf-b080-e3e333067d62" providerId="AD" clId="Web-{97225CDB-7E5E-FA4A-3F66-7359BCEA7054}" dt="2021-01-14T13:51:53.445" v="53" actId="20577"/>
          <ac:spMkLst>
            <pc:docMk/>
            <pc:sldMk cId="3440923093" sldId="435"/>
            <ac:spMk id="63" creationId="{00000000-0000-0000-0000-000000000000}"/>
          </ac:spMkLst>
        </pc:spChg>
      </pc:sldChg>
      <pc:sldChg chg="add">
        <pc:chgData name="Allende Bustamante Jose (Codelco-Casa Matriz)" userId="S::jalle011@codelco.cl::54345eee-8770-43bf-b080-e3e333067d62" providerId="AD" clId="Web-{97225CDB-7E5E-FA4A-3F66-7359BCEA7054}" dt="2021-01-14T13:47:42.470" v="1"/>
        <pc:sldMkLst>
          <pc:docMk/>
          <pc:sldMk cId="3736281506" sldId="436"/>
        </pc:sldMkLst>
      </pc:sldChg>
      <pc:sldChg chg="addSp delSp modSp add">
        <pc:chgData name="Allende Bustamante Jose (Codelco-Casa Matriz)" userId="S::jalle011@codelco.cl::54345eee-8770-43bf-b080-e3e333067d62" providerId="AD" clId="Web-{97225CDB-7E5E-FA4A-3F66-7359BCEA7054}" dt="2021-01-14T13:51:16.616" v="48" actId="1076"/>
        <pc:sldMkLst>
          <pc:docMk/>
          <pc:sldMk cId="3973668108" sldId="437"/>
        </pc:sldMkLst>
        <pc:spChg chg="mod">
          <ac:chgData name="Allende Bustamante Jose (Codelco-Casa Matriz)" userId="S::jalle011@codelco.cl::54345eee-8770-43bf-b080-e3e333067d62" providerId="AD" clId="Web-{97225CDB-7E5E-FA4A-3F66-7359BCEA7054}" dt="2021-01-14T13:50:30.912" v="40" actId="14100"/>
          <ac:spMkLst>
            <pc:docMk/>
            <pc:sldMk cId="3973668108" sldId="437"/>
            <ac:spMk id="6" creationId="{00000000-0000-0000-0000-000000000000}"/>
          </ac:spMkLst>
        </pc:spChg>
        <pc:spChg chg="mod">
          <ac:chgData name="Allende Bustamante Jose (Codelco-Casa Matriz)" userId="S::jalle011@codelco.cl::54345eee-8770-43bf-b080-e3e333067d62" providerId="AD" clId="Web-{97225CDB-7E5E-FA4A-3F66-7359BCEA7054}" dt="2021-01-14T13:51:16.616" v="48" actId="1076"/>
          <ac:spMkLst>
            <pc:docMk/>
            <pc:sldMk cId="3973668108" sldId="437"/>
            <ac:spMk id="7" creationId="{00000000-0000-0000-0000-000000000000}"/>
          </ac:spMkLst>
        </pc:spChg>
        <pc:spChg chg="del">
          <ac:chgData name="Allende Bustamante Jose (Codelco-Casa Matriz)" userId="S::jalle011@codelco.cl::54345eee-8770-43bf-b080-e3e333067d62" providerId="AD" clId="Web-{97225CDB-7E5E-FA4A-3F66-7359BCEA7054}" dt="2021-01-14T13:49:22.988" v="24"/>
          <ac:spMkLst>
            <pc:docMk/>
            <pc:sldMk cId="3973668108" sldId="437"/>
            <ac:spMk id="8" creationId="{00000000-0000-0000-0000-000000000000}"/>
          </ac:spMkLst>
        </pc:spChg>
        <pc:spChg chg="del">
          <ac:chgData name="Allende Bustamante Jose (Codelco-Casa Matriz)" userId="S::jalle011@codelco.cl::54345eee-8770-43bf-b080-e3e333067d62" providerId="AD" clId="Web-{97225CDB-7E5E-FA4A-3F66-7359BCEA7054}" dt="2021-01-14T13:49:27.551" v="25"/>
          <ac:spMkLst>
            <pc:docMk/>
            <pc:sldMk cId="3973668108" sldId="437"/>
            <ac:spMk id="9" creationId="{00000000-0000-0000-0000-000000000000}"/>
          </ac:spMkLst>
        </pc:spChg>
        <pc:spChg chg="mod">
          <ac:chgData name="Allende Bustamante Jose (Codelco-Casa Matriz)" userId="S::jalle011@codelco.cl::54345eee-8770-43bf-b080-e3e333067d62" providerId="AD" clId="Web-{97225CDB-7E5E-FA4A-3F66-7359BCEA7054}" dt="2021-01-14T13:48:33.065" v="9" actId="20577"/>
          <ac:spMkLst>
            <pc:docMk/>
            <pc:sldMk cId="3973668108" sldId="437"/>
            <ac:spMk id="10" creationId="{00000000-0000-0000-0000-000000000000}"/>
          </ac:spMkLst>
        </pc:spChg>
        <pc:spChg chg="add mod">
          <ac:chgData name="Allende Bustamante Jose (Codelco-Casa Matriz)" userId="S::jalle011@codelco.cl::54345eee-8770-43bf-b080-e3e333067d62" providerId="AD" clId="Web-{97225CDB-7E5E-FA4A-3F66-7359BCEA7054}" dt="2021-01-14T13:51:00.522" v="46" actId="1076"/>
          <ac:spMkLst>
            <pc:docMk/>
            <pc:sldMk cId="3973668108" sldId="437"/>
            <ac:spMk id="13" creationId="{51347814-0756-45E0-ABDD-8CCA0DC06B9B}"/>
          </ac:spMkLst>
        </pc:spChg>
        <pc:spChg chg="add mod">
          <ac:chgData name="Allende Bustamante Jose (Codelco-Casa Matriz)" userId="S::jalle011@codelco.cl::54345eee-8770-43bf-b080-e3e333067d62" providerId="AD" clId="Web-{97225CDB-7E5E-FA4A-3F66-7359BCEA7054}" dt="2021-01-14T13:51:02.162" v="47" actId="1076"/>
          <ac:spMkLst>
            <pc:docMk/>
            <pc:sldMk cId="3973668108" sldId="437"/>
            <ac:spMk id="15" creationId="{B9C16D27-59E2-4493-88DB-7693371EC078}"/>
          </ac:spMkLst>
        </pc:spChg>
        <pc:grpChg chg="mod">
          <ac:chgData name="Allende Bustamante Jose (Codelco-Casa Matriz)" userId="S::jalle011@codelco.cl::54345eee-8770-43bf-b080-e3e333067d62" providerId="AD" clId="Web-{97225CDB-7E5E-FA4A-3F66-7359BCEA7054}" dt="2021-01-14T13:48:45.659" v="13" actId="1076"/>
          <ac:grpSpMkLst>
            <pc:docMk/>
            <pc:sldMk cId="3973668108" sldId="437"/>
            <ac:grpSpMk id="11" creationId="{00000000-0000-0000-0000-000000000000}"/>
          </ac:grpSpMkLst>
        </pc:grpChg>
        <pc:picChg chg="mod">
          <ac:chgData name="Allende Bustamante Jose (Codelco-Casa Matriz)" userId="S::jalle011@codelco.cl::54345eee-8770-43bf-b080-e3e333067d62" providerId="AD" clId="Web-{97225CDB-7E5E-FA4A-3F66-7359BCEA7054}" dt="2021-01-14T13:48:16.877" v="5" actId="14100"/>
          <ac:picMkLst>
            <pc:docMk/>
            <pc:sldMk cId="3973668108" sldId="437"/>
            <ac:picMk id="5" creationId="{00000000-0000-0000-0000-000000000000}"/>
          </ac:picMkLst>
        </pc:picChg>
      </pc:sldChg>
      <pc:sldChg chg="add">
        <pc:chgData name="Allende Bustamante Jose (Codelco-Casa Matriz)" userId="S::jalle011@codelco.cl::54345eee-8770-43bf-b080-e3e333067d62" providerId="AD" clId="Web-{97225CDB-7E5E-FA4A-3F66-7359BCEA7054}" dt="2021-01-14T13:47:42.861" v="3"/>
        <pc:sldMkLst>
          <pc:docMk/>
          <pc:sldMk cId="2341050607" sldId="438"/>
        </pc:sldMkLst>
      </pc:sldChg>
      <pc:sldChg chg="add">
        <pc:chgData name="Allende Bustamante Jose (Codelco-Casa Matriz)" userId="S::jalle011@codelco.cl::54345eee-8770-43bf-b080-e3e333067d62" providerId="AD" clId="Web-{97225CDB-7E5E-FA4A-3F66-7359BCEA7054}" dt="2021-01-14T13:47:42.970" v="4"/>
        <pc:sldMkLst>
          <pc:docMk/>
          <pc:sldMk cId="1552965294" sldId="439"/>
        </pc:sldMkLst>
      </pc:sldChg>
    </pc:docChg>
  </pc:docChgLst>
  <pc:docChgLst>
    <pc:chgData name="Delpino Corrales Esteban (Codelco-Casa Matriz)" userId="S::edelp001@codelco.cl::ff2471f2-e58a-4f56-9381-412d9482f71d" providerId="AD" clId="Web-{0125D4BD-CFFE-A801-95F8-90A7FDDC1CA7}"/>
    <pc:docChg chg="addSld delSld modSld">
      <pc:chgData name="Delpino Corrales Esteban (Codelco-Casa Matriz)" userId="S::edelp001@codelco.cl::ff2471f2-e58a-4f56-9381-412d9482f71d" providerId="AD" clId="Web-{0125D4BD-CFFE-A801-95F8-90A7FDDC1CA7}" dt="2021-08-04T14:54:57.738" v="504"/>
      <pc:docMkLst>
        <pc:docMk/>
      </pc:docMkLst>
      <pc:sldChg chg="addSp delSp modSp">
        <pc:chgData name="Delpino Corrales Esteban (Codelco-Casa Matriz)" userId="S::edelp001@codelco.cl::ff2471f2-e58a-4f56-9381-412d9482f71d" providerId="AD" clId="Web-{0125D4BD-CFFE-A801-95F8-90A7FDDC1CA7}" dt="2021-08-04T14:54:32.659" v="501" actId="14100"/>
        <pc:sldMkLst>
          <pc:docMk/>
          <pc:sldMk cId="3763758550" sldId="557"/>
        </pc:sldMkLst>
        <pc:spChg chg="mod">
          <ac:chgData name="Delpino Corrales Esteban (Codelco-Casa Matriz)" userId="S::edelp001@codelco.cl::ff2471f2-e58a-4f56-9381-412d9482f71d" providerId="AD" clId="Web-{0125D4BD-CFFE-A801-95F8-90A7FDDC1CA7}" dt="2021-08-04T12:31:10.646" v="12" actId="20577"/>
          <ac:spMkLst>
            <pc:docMk/>
            <pc:sldMk cId="3763758550" sldId="557"/>
            <ac:spMk id="2" creationId="{755F471E-EC70-4A1D-A048-321F54208221}"/>
          </ac:spMkLst>
        </pc:spChg>
        <pc:spChg chg="mod">
          <ac:chgData name="Delpino Corrales Esteban (Codelco-Casa Matriz)" userId="S::edelp001@codelco.cl::ff2471f2-e58a-4f56-9381-412d9482f71d" providerId="AD" clId="Web-{0125D4BD-CFFE-A801-95F8-90A7FDDC1CA7}" dt="2021-08-04T12:52:28.514" v="60" actId="20577"/>
          <ac:spMkLst>
            <pc:docMk/>
            <pc:sldMk cId="3763758550" sldId="557"/>
            <ac:spMk id="3" creationId="{DAEF287D-DD16-4855-A8C9-507614F83874}"/>
          </ac:spMkLst>
        </pc:spChg>
        <pc:spChg chg="add del mod">
          <ac:chgData name="Delpino Corrales Esteban (Codelco-Casa Matriz)" userId="S::edelp001@codelco.cl::ff2471f2-e58a-4f56-9381-412d9482f71d" providerId="AD" clId="Web-{0125D4BD-CFFE-A801-95F8-90A7FDDC1CA7}" dt="2021-08-04T13:24:57.022" v="323"/>
          <ac:spMkLst>
            <pc:docMk/>
            <pc:sldMk cId="3763758550" sldId="557"/>
            <ac:spMk id="11" creationId="{CA6BFC66-FB8E-4EBD-8A97-ED0A9B099765}"/>
          </ac:spMkLst>
        </pc:spChg>
        <pc:spChg chg="add del mod">
          <ac:chgData name="Delpino Corrales Esteban (Codelco-Casa Matriz)" userId="S::edelp001@codelco.cl::ff2471f2-e58a-4f56-9381-412d9482f71d" providerId="AD" clId="Web-{0125D4BD-CFFE-A801-95F8-90A7FDDC1CA7}" dt="2021-08-04T14:11:04.303" v="434"/>
          <ac:spMkLst>
            <pc:docMk/>
            <pc:sldMk cId="3763758550" sldId="557"/>
            <ac:spMk id="13" creationId="{84A2816A-DD67-468E-B74B-28CD6723B796}"/>
          </ac:spMkLst>
        </pc:spChg>
        <pc:spChg chg="add del mod">
          <ac:chgData name="Delpino Corrales Esteban (Codelco-Casa Matriz)" userId="S::edelp001@codelco.cl::ff2471f2-e58a-4f56-9381-412d9482f71d" providerId="AD" clId="Web-{0125D4BD-CFFE-A801-95F8-90A7FDDC1CA7}" dt="2021-08-04T14:09:02.909" v="430"/>
          <ac:spMkLst>
            <pc:docMk/>
            <pc:sldMk cId="3763758550" sldId="557"/>
            <ac:spMk id="14" creationId="{A50E7312-7796-4FA1-BABE-E349147D937B}"/>
          </ac:spMkLst>
        </pc:spChg>
        <pc:spChg chg="add del mod">
          <ac:chgData name="Delpino Corrales Esteban (Codelco-Casa Matriz)" userId="S::edelp001@codelco.cl::ff2471f2-e58a-4f56-9381-412d9482f71d" providerId="AD" clId="Web-{0125D4BD-CFFE-A801-95F8-90A7FDDC1CA7}" dt="2021-08-04T14:15:43.873" v="443"/>
          <ac:spMkLst>
            <pc:docMk/>
            <pc:sldMk cId="3763758550" sldId="557"/>
            <ac:spMk id="16" creationId="{5AFD37D2-C4A8-4E13-9084-963CB58CB5C2}"/>
          </ac:spMkLst>
        </pc:spChg>
        <pc:spChg chg="add mod">
          <ac:chgData name="Delpino Corrales Esteban (Codelco-Casa Matriz)" userId="S::edelp001@codelco.cl::ff2471f2-e58a-4f56-9381-412d9482f71d" providerId="AD" clId="Web-{0125D4BD-CFFE-A801-95F8-90A7FDDC1CA7}" dt="2021-08-04T14:16:11.765" v="447" actId="1076"/>
          <ac:spMkLst>
            <pc:docMk/>
            <pc:sldMk cId="3763758550" sldId="557"/>
            <ac:spMk id="18" creationId="{D6D62127-2CF6-43F0-A0D7-A369B8CE8B53}"/>
          </ac:spMkLst>
        </pc:spChg>
        <pc:spChg chg="add mod">
          <ac:chgData name="Delpino Corrales Esteban (Codelco-Casa Matriz)" userId="S::edelp001@codelco.cl::ff2471f2-e58a-4f56-9381-412d9482f71d" providerId="AD" clId="Web-{0125D4BD-CFFE-A801-95F8-90A7FDDC1CA7}" dt="2021-08-04T14:19:48.083" v="457" actId="14100"/>
          <ac:spMkLst>
            <pc:docMk/>
            <pc:sldMk cId="3763758550" sldId="557"/>
            <ac:spMk id="21" creationId="{6D298672-96E6-4C98-9851-1CD94AAFBE24}"/>
          </ac:spMkLst>
        </pc:spChg>
        <pc:picChg chg="add del mod">
          <ac:chgData name="Delpino Corrales Esteban (Codelco-Casa Matriz)" userId="S::edelp001@codelco.cl::ff2471f2-e58a-4f56-9381-412d9482f71d" providerId="AD" clId="Web-{0125D4BD-CFFE-A801-95F8-90A7FDDC1CA7}" dt="2021-08-04T12:37:20.765" v="17"/>
          <ac:picMkLst>
            <pc:docMk/>
            <pc:sldMk cId="3763758550" sldId="557"/>
            <ac:picMk id="5" creationId="{26EC563C-998C-45FC-BA48-E7F7703EF014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2:44:14.391" v="19"/>
          <ac:picMkLst>
            <pc:docMk/>
            <pc:sldMk cId="3763758550" sldId="557"/>
            <ac:picMk id="6" creationId="{E95BCEF4-E9F1-4EBE-9687-5A54594B4481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2:45:47.035" v="23"/>
          <ac:picMkLst>
            <pc:docMk/>
            <pc:sldMk cId="3763758550" sldId="557"/>
            <ac:picMk id="7" creationId="{EC0E61BE-F64F-44C6-ABAE-FF1CD8C231A0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2:48:44.024" v="53"/>
          <ac:picMkLst>
            <pc:docMk/>
            <pc:sldMk cId="3763758550" sldId="557"/>
            <ac:picMk id="8" creationId="{DED8D1FB-DB0B-4E11-8F39-69AC93296E91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2:56:44.537" v="105"/>
          <ac:picMkLst>
            <pc:docMk/>
            <pc:sldMk cId="3763758550" sldId="557"/>
            <ac:picMk id="9" creationId="{A96784DA-F77E-433F-B4DC-5A1EE081D47F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4:15:59.639" v="446" actId="1076"/>
          <ac:picMkLst>
            <pc:docMk/>
            <pc:sldMk cId="3763758550" sldId="557"/>
            <ac:picMk id="10" creationId="{9D7A8B70-8D7C-4E14-9040-0C9CD558A737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3:55:51.495" v="408"/>
          <ac:picMkLst>
            <pc:docMk/>
            <pc:sldMk cId="3763758550" sldId="557"/>
            <ac:picMk id="12" creationId="{B69124BA-4657-497A-972B-9E231CD0C6F1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4:10:52.443" v="433"/>
          <ac:picMkLst>
            <pc:docMk/>
            <pc:sldMk cId="3763758550" sldId="557"/>
            <ac:picMk id="15" creationId="{2E59C881-F08E-4308-BA83-1F9BF863808C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4:45:01.580" v="482"/>
          <ac:picMkLst>
            <pc:docMk/>
            <pc:sldMk cId="3763758550" sldId="557"/>
            <ac:picMk id="19" creationId="{6983C164-6561-46F6-BAF6-588ABD119EB1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4:54:14.940" v="499"/>
          <ac:picMkLst>
            <pc:docMk/>
            <pc:sldMk cId="3763758550" sldId="557"/>
            <ac:picMk id="20" creationId="{7A5DB4EE-8EB0-4739-9BD2-CEA864CF67C9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4:35:11.360" v="462"/>
          <ac:picMkLst>
            <pc:docMk/>
            <pc:sldMk cId="3763758550" sldId="557"/>
            <ac:picMk id="22" creationId="{41D522BA-2A47-40F1-8DDD-ECE79833614E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4:36:27.550" v="467"/>
          <ac:picMkLst>
            <pc:docMk/>
            <pc:sldMk cId="3763758550" sldId="557"/>
            <ac:picMk id="23" creationId="{79147FB3-F317-48E3-A526-0D6DBA0E736B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4:37:12.223" v="471"/>
          <ac:picMkLst>
            <pc:docMk/>
            <pc:sldMk cId="3763758550" sldId="557"/>
            <ac:picMk id="24" creationId="{8D4706CF-8B85-40D3-9147-0478884E6AC9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4:54:32.659" v="501" actId="14100"/>
          <ac:picMkLst>
            <pc:docMk/>
            <pc:sldMk cId="3763758550" sldId="557"/>
            <ac:picMk id="25" creationId="{42E9B05C-5A52-43E8-B648-8D2CB9ABCC9F}"/>
          </ac:picMkLst>
        </pc:picChg>
      </pc:sldChg>
      <pc:sldChg chg="addSp delSp modSp new">
        <pc:chgData name="Delpino Corrales Esteban (Codelco-Casa Matriz)" userId="S::edelp001@codelco.cl::ff2471f2-e58a-4f56-9381-412d9482f71d" providerId="AD" clId="Web-{0125D4BD-CFFE-A801-95F8-90A7FDDC1CA7}" dt="2021-08-04T14:03:48.400" v="417"/>
        <pc:sldMkLst>
          <pc:docMk/>
          <pc:sldMk cId="4263088292" sldId="580"/>
        </pc:sldMkLst>
        <pc:spChg chg="mod">
          <ac:chgData name="Delpino Corrales Esteban (Codelco-Casa Matriz)" userId="S::edelp001@codelco.cl::ff2471f2-e58a-4f56-9381-412d9482f71d" providerId="AD" clId="Web-{0125D4BD-CFFE-A801-95F8-90A7FDDC1CA7}" dt="2021-08-04T12:54:15.892" v="92" actId="20577"/>
          <ac:spMkLst>
            <pc:docMk/>
            <pc:sldMk cId="4263088292" sldId="580"/>
            <ac:spMk id="2" creationId="{8D13494E-C715-4DF6-94AC-8556BAB07802}"/>
          </ac:spMkLst>
        </pc:spChg>
        <pc:spChg chg="mod">
          <ac:chgData name="Delpino Corrales Esteban (Codelco-Casa Matriz)" userId="S::edelp001@codelco.cl::ff2471f2-e58a-4f56-9381-412d9482f71d" providerId="AD" clId="Web-{0125D4BD-CFFE-A801-95F8-90A7FDDC1CA7}" dt="2021-08-04T12:54:46.440" v="104" actId="20577"/>
          <ac:spMkLst>
            <pc:docMk/>
            <pc:sldMk cId="4263088292" sldId="580"/>
            <ac:spMk id="3" creationId="{61409101-412C-48D5-8DF3-7B3DECCEE70C}"/>
          </ac:spMkLst>
        </pc:spChg>
        <pc:spChg chg="add mod">
          <ac:chgData name="Delpino Corrales Esteban (Codelco-Casa Matriz)" userId="S::edelp001@codelco.cl::ff2471f2-e58a-4f56-9381-412d9482f71d" providerId="AD" clId="Web-{0125D4BD-CFFE-A801-95F8-90A7FDDC1CA7}" dt="2021-08-04T13:36:21.119" v="383" actId="20577"/>
          <ac:spMkLst>
            <pc:docMk/>
            <pc:sldMk cId="4263088292" sldId="580"/>
            <ac:spMk id="5" creationId="{56DBDFA4-E3D7-4997-9517-3638926C8BF7}"/>
          </ac:spMkLst>
        </pc:spChg>
        <pc:spChg chg="add del">
          <ac:chgData name="Delpino Corrales Esteban (Codelco-Casa Matriz)" userId="S::edelp001@codelco.cl::ff2471f2-e58a-4f56-9381-412d9482f71d" providerId="AD" clId="Web-{0125D4BD-CFFE-A801-95F8-90A7FDDC1CA7}" dt="2021-08-04T13:10:47.123" v="183"/>
          <ac:spMkLst>
            <pc:docMk/>
            <pc:sldMk cId="4263088292" sldId="580"/>
            <ac:spMk id="6" creationId="{E53722FF-E498-443F-98DC-19CA40823423}"/>
          </ac:spMkLst>
        </pc:spChg>
        <pc:spChg chg="add del mod">
          <ac:chgData name="Delpino Corrales Esteban (Codelco-Casa Matriz)" userId="S::edelp001@codelco.cl::ff2471f2-e58a-4f56-9381-412d9482f71d" providerId="AD" clId="Web-{0125D4BD-CFFE-A801-95F8-90A7FDDC1CA7}" dt="2021-08-04T14:03:48.400" v="417"/>
          <ac:spMkLst>
            <pc:docMk/>
            <pc:sldMk cId="4263088292" sldId="580"/>
            <ac:spMk id="7" creationId="{940524C9-8FA9-4BDF-9B21-040655844C72}"/>
          </ac:spMkLst>
        </pc:spChg>
      </pc:sldChg>
      <pc:sldChg chg="addSp delSp modSp new del">
        <pc:chgData name="Delpino Corrales Esteban (Codelco-Casa Matriz)" userId="S::edelp001@codelco.cl::ff2471f2-e58a-4f56-9381-412d9482f71d" providerId="AD" clId="Web-{0125D4BD-CFFE-A801-95F8-90A7FDDC1CA7}" dt="2021-08-04T13:40:17.954" v="389"/>
        <pc:sldMkLst>
          <pc:docMk/>
          <pc:sldMk cId="789291393" sldId="582"/>
        </pc:sldMkLst>
        <pc:spChg chg="mod">
          <ac:chgData name="Delpino Corrales Esteban (Codelco-Casa Matriz)" userId="S::edelp001@codelco.cl::ff2471f2-e58a-4f56-9381-412d9482f71d" providerId="AD" clId="Web-{0125D4BD-CFFE-A801-95F8-90A7FDDC1CA7}" dt="2021-08-04T12:52:51.031" v="63" actId="20577"/>
          <ac:spMkLst>
            <pc:docMk/>
            <pc:sldMk cId="789291393" sldId="582"/>
            <ac:spMk id="2" creationId="{F27443C7-00F5-45FF-82F7-FFE7026E82F2}"/>
          </ac:spMkLst>
        </pc:spChg>
        <pc:spChg chg="mod">
          <ac:chgData name="Delpino Corrales Esteban (Codelco-Casa Matriz)" userId="S::edelp001@codelco.cl::ff2471f2-e58a-4f56-9381-412d9482f71d" providerId="AD" clId="Web-{0125D4BD-CFFE-A801-95F8-90A7FDDC1CA7}" dt="2021-08-04T12:53:53.001" v="89" actId="20577"/>
          <ac:spMkLst>
            <pc:docMk/>
            <pc:sldMk cId="789291393" sldId="582"/>
            <ac:spMk id="3" creationId="{D908195C-7C3F-4CA2-9A6F-3FA6C1AF2E65}"/>
          </ac:spMkLst>
        </pc:spChg>
        <pc:spChg chg="add mod">
          <ac:chgData name="Delpino Corrales Esteban (Codelco-Casa Matriz)" userId="S::edelp001@codelco.cl::ff2471f2-e58a-4f56-9381-412d9482f71d" providerId="AD" clId="Web-{0125D4BD-CFFE-A801-95F8-90A7FDDC1CA7}" dt="2021-08-04T13:33:27.348" v="372" actId="1076"/>
          <ac:spMkLst>
            <pc:docMk/>
            <pc:sldMk cId="789291393" sldId="582"/>
            <ac:spMk id="7" creationId="{40B56E0D-2340-49D4-A6F9-3AD0BFCB7F61}"/>
          </ac:spMkLst>
        </pc:spChg>
        <pc:spChg chg="add mod">
          <ac:chgData name="Delpino Corrales Esteban (Codelco-Casa Matriz)" userId="S::edelp001@codelco.cl::ff2471f2-e58a-4f56-9381-412d9482f71d" providerId="AD" clId="Web-{0125D4BD-CFFE-A801-95F8-90A7FDDC1CA7}" dt="2021-08-04T13:33:47.896" v="380" actId="1076"/>
          <ac:spMkLst>
            <pc:docMk/>
            <pc:sldMk cId="789291393" sldId="582"/>
            <ac:spMk id="8" creationId="{DA6FAA4F-A8AD-46B4-80AC-6B611D33126B}"/>
          </ac:spMkLst>
        </pc:spChg>
        <pc:picChg chg="add del mod">
          <ac:chgData name="Delpino Corrales Esteban (Codelco-Casa Matriz)" userId="S::edelp001@codelco.cl::ff2471f2-e58a-4f56-9381-412d9482f71d" providerId="AD" clId="Web-{0125D4BD-CFFE-A801-95F8-90A7FDDC1CA7}" dt="2021-08-04T13:28:22.277" v="334"/>
          <ac:picMkLst>
            <pc:docMk/>
            <pc:sldMk cId="789291393" sldId="582"/>
            <ac:picMk id="5" creationId="{846515C3-33E5-4C73-9679-DC4D092E77D5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3:33:21.895" v="371" actId="1076"/>
          <ac:picMkLst>
            <pc:docMk/>
            <pc:sldMk cId="789291393" sldId="582"/>
            <ac:picMk id="6" creationId="{E9E578EE-E74A-4522-A174-3ED4FF1A7632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3:32:09.112" v="365"/>
          <ac:picMkLst>
            <pc:docMk/>
            <pc:sldMk cId="789291393" sldId="582"/>
            <ac:picMk id="9" creationId="{9E7529ED-4326-49DA-96FD-2FCCAC658C6E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3:33:47.974" v="381" actId="1076"/>
          <ac:picMkLst>
            <pc:docMk/>
            <pc:sldMk cId="789291393" sldId="582"/>
            <ac:picMk id="10" creationId="{9D80F383-E906-4CCA-B60D-65128BB06A61}"/>
          </ac:picMkLst>
        </pc:picChg>
      </pc:sldChg>
      <pc:sldChg chg="add del replId">
        <pc:chgData name="Delpino Corrales Esteban (Codelco-Casa Matriz)" userId="S::edelp001@codelco.cl::ff2471f2-e58a-4f56-9381-412d9482f71d" providerId="AD" clId="Web-{0125D4BD-CFFE-A801-95F8-90A7FDDC1CA7}" dt="2021-08-04T13:43:08.177" v="401"/>
        <pc:sldMkLst>
          <pc:docMk/>
          <pc:sldMk cId="192457223" sldId="584"/>
        </pc:sldMkLst>
      </pc:sldChg>
      <pc:sldChg chg="addSp delSp modSp add replId">
        <pc:chgData name="Delpino Corrales Esteban (Codelco-Casa Matriz)" userId="S::edelp001@codelco.cl::ff2471f2-e58a-4f56-9381-412d9482f71d" providerId="AD" clId="Web-{0125D4BD-CFFE-A801-95F8-90A7FDDC1CA7}" dt="2021-08-04T14:54:57.738" v="504"/>
        <pc:sldMkLst>
          <pc:docMk/>
          <pc:sldMk cId="2801281709" sldId="585"/>
        </pc:sldMkLst>
        <pc:spChg chg="mod">
          <ac:chgData name="Delpino Corrales Esteban (Codelco-Casa Matriz)" userId="S::edelp001@codelco.cl::ff2471f2-e58a-4f56-9381-412d9482f71d" providerId="AD" clId="Web-{0125D4BD-CFFE-A801-95F8-90A7FDDC1CA7}" dt="2021-08-04T13:43:13.568" v="402" actId="1076"/>
          <ac:spMkLst>
            <pc:docMk/>
            <pc:sldMk cId="2801281709" sldId="585"/>
            <ac:spMk id="13" creationId="{84A2816A-DD67-468E-B74B-28CD6723B796}"/>
          </ac:spMkLst>
        </pc:spChg>
        <pc:picChg chg="add del mod">
          <ac:chgData name="Delpino Corrales Esteban (Codelco-Casa Matriz)" userId="S::edelp001@codelco.cl::ff2471f2-e58a-4f56-9381-412d9482f71d" providerId="AD" clId="Web-{0125D4BD-CFFE-A801-95F8-90A7FDDC1CA7}" dt="2021-08-04T14:15:38.389" v="442"/>
          <ac:picMkLst>
            <pc:docMk/>
            <pc:sldMk cId="2801281709" sldId="585"/>
            <ac:picMk id="5" creationId="{0E35AFD4-2658-4CC3-A5EE-3E3BF1DC44AE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4:43:09.358" v="480"/>
          <ac:picMkLst>
            <pc:docMk/>
            <pc:sldMk cId="2801281709" sldId="585"/>
            <ac:picMk id="6" creationId="{C956C211-6D32-47A5-9A9C-8FE4DC04D021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4:54:52.816" v="502"/>
          <ac:picMkLst>
            <pc:docMk/>
            <pc:sldMk cId="2801281709" sldId="585"/>
            <ac:picMk id="7" creationId="{0F39D98B-B4C9-41E7-A442-B19154323780}"/>
          </ac:picMkLst>
        </pc:picChg>
        <pc:picChg chg="add del mod">
          <ac:chgData name="Delpino Corrales Esteban (Codelco-Casa Matriz)" userId="S::edelp001@codelco.cl::ff2471f2-e58a-4f56-9381-412d9482f71d" providerId="AD" clId="Web-{0125D4BD-CFFE-A801-95F8-90A7FDDC1CA7}" dt="2021-08-04T14:53:14.672" v="493"/>
          <ac:picMkLst>
            <pc:docMk/>
            <pc:sldMk cId="2801281709" sldId="585"/>
            <ac:picMk id="8" creationId="{0F54875E-134F-4499-9C4E-A65D23A92848}"/>
          </ac:picMkLst>
        </pc:picChg>
        <pc:picChg chg="add mod">
          <ac:chgData name="Delpino Corrales Esteban (Codelco-Casa Matriz)" userId="S::edelp001@codelco.cl::ff2471f2-e58a-4f56-9381-412d9482f71d" providerId="AD" clId="Web-{0125D4BD-CFFE-A801-95F8-90A7FDDC1CA7}" dt="2021-08-04T14:54:57.738" v="504"/>
          <ac:picMkLst>
            <pc:docMk/>
            <pc:sldMk cId="2801281709" sldId="585"/>
            <ac:picMk id="9" creationId="{EBD8A08F-696A-4FEE-9F8A-A0318E033442}"/>
          </ac:picMkLst>
        </pc:picChg>
        <pc:picChg chg="del">
          <ac:chgData name="Delpino Corrales Esteban (Codelco-Casa Matriz)" userId="S::edelp001@codelco.cl::ff2471f2-e58a-4f56-9381-412d9482f71d" providerId="AD" clId="Web-{0125D4BD-CFFE-A801-95F8-90A7FDDC1CA7}" dt="2021-08-04T13:43:22.099" v="403"/>
          <ac:picMkLst>
            <pc:docMk/>
            <pc:sldMk cId="2801281709" sldId="585"/>
            <ac:picMk id="12" creationId="{B69124BA-4657-497A-972B-9E231CD0C6F1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2A6268CF-8CFC-4240-9019-AFD6A130ECAB}"/>
    <pc:docChg chg="modSld">
      <pc:chgData name="Mery Carrasco Mauricio (Codelco-Casa Matriz)" userId="S::mmery004@codelco.cl::a0378191-74de-4d59-9b37-aa421303daba" providerId="AD" clId="Web-{2A6268CF-8CFC-4240-9019-AFD6A130ECAB}" dt="2021-02-02T17:31:25.199" v="0"/>
      <pc:docMkLst>
        <pc:docMk/>
      </pc:docMkLst>
      <pc:sldChg chg="delSp">
        <pc:chgData name="Mery Carrasco Mauricio (Codelco-Casa Matriz)" userId="S::mmery004@codelco.cl::a0378191-74de-4d59-9b37-aa421303daba" providerId="AD" clId="Web-{2A6268CF-8CFC-4240-9019-AFD6A130ECAB}" dt="2021-02-02T17:31:25.199" v="0"/>
        <pc:sldMkLst>
          <pc:docMk/>
          <pc:sldMk cId="1918491469" sldId="454"/>
        </pc:sldMkLst>
        <pc:grpChg chg="del">
          <ac:chgData name="Mery Carrasco Mauricio (Codelco-Casa Matriz)" userId="S::mmery004@codelco.cl::a0378191-74de-4d59-9b37-aa421303daba" providerId="AD" clId="Web-{2A6268CF-8CFC-4240-9019-AFD6A130ECAB}" dt="2021-02-02T17:31:25.199" v="0"/>
          <ac:grpSpMkLst>
            <pc:docMk/>
            <pc:sldMk cId="1918491469" sldId="454"/>
            <ac:grpSpMk id="16" creationId="{4131A647-120A-3145-AF8E-BCC38F27AAA9}"/>
          </ac:grpSpMkLst>
        </pc:grpChg>
      </pc:sldChg>
    </pc:docChg>
  </pc:docChgLst>
  <pc:docChgLst>
    <pc:chgData name="Allende Bustamante Jose (Codelco-Casa Matriz)" userId="S::jalle011@codelco.cl::54345eee-8770-43bf-b080-e3e333067d62" providerId="AD" clId="Web-{86810E8F-94FA-DF84-A784-664CB2C7D78D}"/>
    <pc:docChg chg="delSld">
      <pc:chgData name="Allende Bustamante Jose (Codelco-Casa Matriz)" userId="S::jalle011@codelco.cl::54345eee-8770-43bf-b080-e3e333067d62" providerId="AD" clId="Web-{86810E8F-94FA-DF84-A784-664CB2C7D78D}" dt="2021-01-28T14:26:41.683" v="3"/>
      <pc:docMkLst>
        <pc:docMk/>
      </pc:docMkLst>
      <pc:sldChg chg="del">
        <pc:chgData name="Allende Bustamante Jose (Codelco-Casa Matriz)" userId="S::jalle011@codelco.cl::54345eee-8770-43bf-b080-e3e333067d62" providerId="AD" clId="Web-{86810E8F-94FA-DF84-A784-664CB2C7D78D}" dt="2021-01-28T14:26:41.683" v="3"/>
        <pc:sldMkLst>
          <pc:docMk/>
          <pc:sldMk cId="3440923093" sldId="435"/>
        </pc:sldMkLst>
      </pc:sldChg>
      <pc:sldChg chg="del">
        <pc:chgData name="Allende Bustamante Jose (Codelco-Casa Matriz)" userId="S::jalle011@codelco.cl::54345eee-8770-43bf-b080-e3e333067d62" providerId="AD" clId="Web-{86810E8F-94FA-DF84-A784-664CB2C7D78D}" dt="2021-01-28T14:26:41.308" v="2"/>
        <pc:sldMkLst>
          <pc:docMk/>
          <pc:sldMk cId="3736281506" sldId="436"/>
        </pc:sldMkLst>
      </pc:sldChg>
      <pc:sldChg chg="del">
        <pc:chgData name="Allende Bustamante Jose (Codelco-Casa Matriz)" userId="S::jalle011@codelco.cl::54345eee-8770-43bf-b080-e3e333067d62" providerId="AD" clId="Web-{86810E8F-94FA-DF84-A784-664CB2C7D78D}" dt="2021-01-28T14:26:38.949" v="1"/>
        <pc:sldMkLst>
          <pc:docMk/>
          <pc:sldMk cId="3973668108" sldId="437"/>
        </pc:sldMkLst>
      </pc:sldChg>
      <pc:sldChg chg="del">
        <pc:chgData name="Allende Bustamante Jose (Codelco-Casa Matriz)" userId="S::jalle011@codelco.cl::54345eee-8770-43bf-b080-e3e333067d62" providerId="AD" clId="Web-{86810E8F-94FA-DF84-A784-664CB2C7D78D}" dt="2021-01-28T14:26:36.496" v="0"/>
        <pc:sldMkLst>
          <pc:docMk/>
          <pc:sldMk cId="1752870340" sldId="443"/>
        </pc:sldMkLst>
      </pc:sldChg>
    </pc:docChg>
  </pc:docChgLst>
  <pc:docChgLst>
    <pc:chgData name="Paillacar Oyarzo Paulo Ignacio (Codelco-Casa Matriz)" userId="S::ppail001@codelco.cl::3f9c4ec0-dfff-4bc5-ba03-192dd672e537" providerId="AD" clId="Web-{C125C59F-E0D8-0000-A0F4-A77316C38655}"/>
    <pc:docChg chg="addSld modSld">
      <pc:chgData name="Paillacar Oyarzo Paulo Ignacio (Codelco-Casa Matriz)" userId="S::ppail001@codelco.cl::3f9c4ec0-dfff-4bc5-ba03-192dd672e537" providerId="AD" clId="Web-{C125C59F-E0D8-0000-A0F4-A77316C38655}" dt="2021-05-06T05:52:49.507" v="127" actId="1076"/>
      <pc:docMkLst>
        <pc:docMk/>
      </pc:docMkLst>
      <pc:sldChg chg="addSp delSp modSp add replId">
        <pc:chgData name="Paillacar Oyarzo Paulo Ignacio (Codelco-Casa Matriz)" userId="S::ppail001@codelco.cl::3f9c4ec0-dfff-4bc5-ba03-192dd672e537" providerId="AD" clId="Web-{C125C59F-E0D8-0000-A0F4-A77316C38655}" dt="2021-05-06T05:52:49.507" v="127" actId="1076"/>
        <pc:sldMkLst>
          <pc:docMk/>
          <pc:sldMk cId="1403606244" sldId="503"/>
        </pc:sldMkLst>
        <pc:spChg chg="mod">
          <ac:chgData name="Paillacar Oyarzo Paulo Ignacio (Codelco-Casa Matriz)" userId="S::ppail001@codelco.cl::3f9c4ec0-dfff-4bc5-ba03-192dd672e537" providerId="AD" clId="Web-{C125C59F-E0D8-0000-A0F4-A77316C38655}" dt="2021-05-06T05:46:04.623" v="40" actId="20577"/>
          <ac:spMkLst>
            <pc:docMk/>
            <pc:sldMk cId="1403606244" sldId="503"/>
            <ac:spMk id="2" creationId="{F78D297F-EE81-4E7A-B1DC-B9EB1BA2A14E}"/>
          </ac:spMkLst>
        </pc:spChg>
        <pc:spChg chg="mod">
          <ac:chgData name="Paillacar Oyarzo Paulo Ignacio (Codelco-Casa Matriz)" userId="S::ppail001@codelco.cl::3f9c4ec0-dfff-4bc5-ba03-192dd672e537" providerId="AD" clId="Web-{C125C59F-E0D8-0000-A0F4-A77316C38655}" dt="2021-05-06T05:49:22.198" v="87" actId="20577"/>
          <ac:spMkLst>
            <pc:docMk/>
            <pc:sldMk cId="1403606244" sldId="503"/>
            <ac:spMk id="3" creationId="{88EC4349-668C-4CCB-8615-CF31FA89B7CC}"/>
          </ac:spMkLst>
        </pc:spChg>
        <pc:picChg chg="del mod">
          <ac:chgData name="Paillacar Oyarzo Paulo Ignacio (Codelco-Casa Matriz)" userId="S::ppail001@codelco.cl::3f9c4ec0-dfff-4bc5-ba03-192dd672e537" providerId="AD" clId="Web-{C125C59F-E0D8-0000-A0F4-A77316C38655}" dt="2021-05-06T05:46:52.048" v="51"/>
          <ac:picMkLst>
            <pc:docMk/>
            <pc:sldMk cId="1403606244" sldId="503"/>
            <ac:picMk id="5" creationId="{60E96DE7-B2CA-44EA-8618-04AE88409B53}"/>
          </ac:picMkLst>
        </pc:picChg>
        <pc:picChg chg="del mod">
          <ac:chgData name="Paillacar Oyarzo Paulo Ignacio (Codelco-Casa Matriz)" userId="S::ppail001@codelco.cl::3f9c4ec0-dfff-4bc5-ba03-192dd672e537" providerId="AD" clId="Web-{C125C59F-E0D8-0000-A0F4-A77316C38655}" dt="2021-05-06T05:46:52.048" v="50"/>
          <ac:picMkLst>
            <pc:docMk/>
            <pc:sldMk cId="1403606244" sldId="503"/>
            <ac:picMk id="6" creationId="{C6EE50F9-1F1E-453F-AF93-5291410B097B}"/>
          </ac:picMkLst>
        </pc:picChg>
        <pc:picChg chg="del mod">
          <ac:chgData name="Paillacar Oyarzo Paulo Ignacio (Codelco-Casa Matriz)" userId="S::ppail001@codelco.cl::3f9c4ec0-dfff-4bc5-ba03-192dd672e537" providerId="AD" clId="Web-{C125C59F-E0D8-0000-A0F4-A77316C38655}" dt="2021-05-06T05:46:52.032" v="49"/>
          <ac:picMkLst>
            <pc:docMk/>
            <pc:sldMk cId="1403606244" sldId="503"/>
            <ac:picMk id="7" creationId="{51F0365A-E5C8-4A50-B30C-A0ACF1225272}"/>
          </ac:picMkLst>
        </pc:picChg>
        <pc:picChg chg="del">
          <ac:chgData name="Paillacar Oyarzo Paulo Ignacio (Codelco-Casa Matriz)" userId="S::ppail001@codelco.cl::3f9c4ec0-dfff-4bc5-ba03-192dd672e537" providerId="AD" clId="Web-{C125C59F-E0D8-0000-A0F4-A77316C38655}" dt="2021-05-06T05:46:41.797" v="45"/>
          <ac:picMkLst>
            <pc:docMk/>
            <pc:sldMk cId="1403606244" sldId="503"/>
            <ac:picMk id="8" creationId="{FF565F86-BF64-46E1-82C2-D566F71252C0}"/>
          </ac:picMkLst>
        </pc:picChg>
        <pc:picChg chg="del">
          <ac:chgData name="Paillacar Oyarzo Paulo Ignacio (Codelco-Casa Matriz)" userId="S::ppail001@codelco.cl::3f9c4ec0-dfff-4bc5-ba03-192dd672e537" providerId="AD" clId="Web-{C125C59F-E0D8-0000-A0F4-A77316C38655}" dt="2021-05-06T05:46:31.781" v="44"/>
          <ac:picMkLst>
            <pc:docMk/>
            <pc:sldMk cId="1403606244" sldId="503"/>
            <ac:picMk id="9" creationId="{B64253CF-6916-421F-9256-B9FA0E4BFCEA}"/>
          </ac:picMkLst>
        </pc:picChg>
        <pc:picChg chg="del">
          <ac:chgData name="Paillacar Oyarzo Paulo Ignacio (Codelco-Casa Matriz)" userId="S::ppail001@codelco.cl::3f9c4ec0-dfff-4bc5-ba03-192dd672e537" providerId="AD" clId="Web-{C125C59F-E0D8-0000-A0F4-A77316C38655}" dt="2021-05-06T05:46:31.765" v="43"/>
          <ac:picMkLst>
            <pc:docMk/>
            <pc:sldMk cId="1403606244" sldId="503"/>
            <ac:picMk id="10" creationId="{FF2776C5-7AF1-4C4C-867A-7D1C1B582628}"/>
          </ac:picMkLst>
        </pc:picChg>
        <pc:picChg chg="del">
          <ac:chgData name="Paillacar Oyarzo Paulo Ignacio (Codelco-Casa Matriz)" userId="S::ppail001@codelco.cl::3f9c4ec0-dfff-4bc5-ba03-192dd672e537" providerId="AD" clId="Web-{C125C59F-E0D8-0000-A0F4-A77316C38655}" dt="2021-05-06T05:46:31.750" v="42"/>
          <ac:picMkLst>
            <pc:docMk/>
            <pc:sldMk cId="1403606244" sldId="503"/>
            <ac:picMk id="11" creationId="{B0F909AE-9F0E-4D04-BF04-E19C8021A058}"/>
          </ac:picMkLst>
        </pc:picChg>
        <pc:picChg chg="del">
          <ac:chgData name="Paillacar Oyarzo Paulo Ignacio (Codelco-Casa Matriz)" userId="S::ppail001@codelco.cl::3f9c4ec0-dfff-4bc5-ba03-192dd672e537" providerId="AD" clId="Web-{C125C59F-E0D8-0000-A0F4-A77316C38655}" dt="2021-05-06T05:46:31.687" v="41"/>
          <ac:picMkLst>
            <pc:docMk/>
            <pc:sldMk cId="1403606244" sldId="503"/>
            <ac:picMk id="12" creationId="{F445299A-7B83-4664-8E58-5742F6EE6043}"/>
          </ac:picMkLst>
        </pc:picChg>
        <pc:picChg chg="add mod">
          <ac:chgData name="Paillacar Oyarzo Paulo Ignacio (Codelco-Casa Matriz)" userId="S::ppail001@codelco.cl::3f9c4ec0-dfff-4bc5-ba03-192dd672e537" providerId="AD" clId="Web-{C125C59F-E0D8-0000-A0F4-A77316C38655}" dt="2021-05-06T05:52:49.507" v="127" actId="1076"/>
          <ac:picMkLst>
            <pc:docMk/>
            <pc:sldMk cId="1403606244" sldId="503"/>
            <ac:picMk id="13" creationId="{969DA09D-5E10-4860-9C69-41CA028421E2}"/>
          </ac:picMkLst>
        </pc:picChg>
        <pc:picChg chg="add mod ord">
          <ac:chgData name="Paillacar Oyarzo Paulo Ignacio (Codelco-Casa Matriz)" userId="S::ppail001@codelco.cl::3f9c4ec0-dfff-4bc5-ba03-192dd672e537" providerId="AD" clId="Web-{C125C59F-E0D8-0000-A0F4-A77316C38655}" dt="2021-05-06T05:52:49.460" v="126" actId="1076"/>
          <ac:picMkLst>
            <pc:docMk/>
            <pc:sldMk cId="1403606244" sldId="503"/>
            <ac:picMk id="14" creationId="{B0C56115-585E-4FFA-91B2-94404D480249}"/>
          </ac:picMkLst>
        </pc:picChg>
        <pc:picChg chg="add mod ord">
          <ac:chgData name="Paillacar Oyarzo Paulo Ignacio (Codelco-Casa Matriz)" userId="S::ppail001@codelco.cl::3f9c4ec0-dfff-4bc5-ba03-192dd672e537" providerId="AD" clId="Web-{C125C59F-E0D8-0000-A0F4-A77316C38655}" dt="2021-05-06T05:52:49.413" v="125" actId="1076"/>
          <ac:picMkLst>
            <pc:docMk/>
            <pc:sldMk cId="1403606244" sldId="503"/>
            <ac:picMk id="15" creationId="{70334A14-4360-492D-B301-C77141B4DE6C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BF2C3681-C7A0-9AE8-5119-5CC368ECE56A}"/>
    <pc:docChg chg="modSld sldOrd">
      <pc:chgData name="Mery Carrasco Mauricio (Codelco-Casa Matriz)" userId="S::mmery004@codelco.cl::a0378191-74de-4d59-9b37-aa421303daba" providerId="AD" clId="Web-{BF2C3681-C7A0-9AE8-5119-5CC368ECE56A}" dt="2021-03-12T14:31:33.551" v="370"/>
      <pc:docMkLst>
        <pc:docMk/>
      </pc:docMkLst>
      <pc:sldChg chg="delSp modSp">
        <pc:chgData name="Mery Carrasco Mauricio (Codelco-Casa Matriz)" userId="S::mmery004@codelco.cl::a0378191-74de-4d59-9b37-aa421303daba" providerId="AD" clId="Web-{BF2C3681-C7A0-9AE8-5119-5CC368ECE56A}" dt="2021-03-12T14:31:33.551" v="370"/>
        <pc:sldMkLst>
          <pc:docMk/>
          <pc:sldMk cId="2155997825" sldId="375"/>
        </pc:sldMkLst>
        <pc:spChg chg="del mod">
          <ac:chgData name="Mery Carrasco Mauricio (Codelco-Casa Matriz)" userId="S::mmery004@codelco.cl::a0378191-74de-4d59-9b37-aa421303daba" providerId="AD" clId="Web-{BF2C3681-C7A0-9AE8-5119-5CC368ECE56A}" dt="2021-03-12T14:31:29.832" v="365"/>
          <ac:spMkLst>
            <pc:docMk/>
            <pc:sldMk cId="2155997825" sldId="375"/>
            <ac:spMk id="6" creationId="{6DCCCF95-5623-4999-AC3A-24EE68D3554A}"/>
          </ac:spMkLst>
        </pc:spChg>
        <pc:spChg chg="del">
          <ac:chgData name="Mery Carrasco Mauricio (Codelco-Casa Matriz)" userId="S::mmery004@codelco.cl::a0378191-74de-4d59-9b37-aa421303daba" providerId="AD" clId="Web-{BF2C3681-C7A0-9AE8-5119-5CC368ECE56A}" dt="2021-03-12T14:31:29.863" v="366"/>
          <ac:spMkLst>
            <pc:docMk/>
            <pc:sldMk cId="2155997825" sldId="375"/>
            <ac:spMk id="21" creationId="{AB531814-A1EE-4345-86B5-5358ABD26794}"/>
          </ac:spMkLst>
        </pc:spChg>
        <pc:spChg chg="del">
          <ac:chgData name="Mery Carrasco Mauricio (Codelco-Casa Matriz)" userId="S::mmery004@codelco.cl::a0378191-74de-4d59-9b37-aa421303daba" providerId="AD" clId="Web-{BF2C3681-C7A0-9AE8-5119-5CC368ECE56A}" dt="2021-03-12T14:31:29.910" v="367"/>
          <ac:spMkLst>
            <pc:docMk/>
            <pc:sldMk cId="2155997825" sldId="375"/>
            <ac:spMk id="22" creationId="{7851A235-ED5E-4137-AD50-6F10AD12B65E}"/>
          </ac:spMkLst>
        </pc:spChg>
        <pc:spChg chg="del">
          <ac:chgData name="Mery Carrasco Mauricio (Codelco-Casa Matriz)" userId="S::mmery004@codelco.cl::a0378191-74de-4d59-9b37-aa421303daba" providerId="AD" clId="Web-{BF2C3681-C7A0-9AE8-5119-5CC368ECE56A}" dt="2021-03-12T14:31:30.457" v="368"/>
          <ac:spMkLst>
            <pc:docMk/>
            <pc:sldMk cId="2155997825" sldId="375"/>
            <ac:spMk id="23" creationId="{C67C1FCA-F15F-4CBB-B08F-595DE9432149}"/>
          </ac:spMkLst>
        </pc:spChg>
        <pc:spChg chg="del">
          <ac:chgData name="Mery Carrasco Mauricio (Codelco-Casa Matriz)" userId="S::mmery004@codelco.cl::a0378191-74de-4d59-9b37-aa421303daba" providerId="AD" clId="Web-{BF2C3681-C7A0-9AE8-5119-5CC368ECE56A}" dt="2021-03-12T14:31:33.457" v="369"/>
          <ac:spMkLst>
            <pc:docMk/>
            <pc:sldMk cId="2155997825" sldId="375"/>
            <ac:spMk id="24" creationId="{9D3B6B4F-AFE9-4C98-A264-E4735FFD431C}"/>
          </ac:spMkLst>
        </pc:spChg>
        <pc:spChg chg="del">
          <ac:chgData name="Mery Carrasco Mauricio (Codelco-Casa Matriz)" userId="S::mmery004@codelco.cl::a0378191-74de-4d59-9b37-aa421303daba" providerId="AD" clId="Web-{BF2C3681-C7A0-9AE8-5119-5CC368ECE56A}" dt="2021-03-12T14:31:33.551" v="370"/>
          <ac:spMkLst>
            <pc:docMk/>
            <pc:sldMk cId="2155997825" sldId="375"/>
            <ac:spMk id="25" creationId="{E7D85969-2F2F-4CBD-9130-FD5ADAA7E0BE}"/>
          </ac:spMkLst>
        </pc:spChg>
      </pc:sldChg>
      <pc:sldChg chg="modSp">
        <pc:chgData name="Mery Carrasco Mauricio (Codelco-Casa Matriz)" userId="S::mmery004@codelco.cl::a0378191-74de-4d59-9b37-aa421303daba" providerId="AD" clId="Web-{BF2C3681-C7A0-9AE8-5119-5CC368ECE56A}" dt="2021-03-12T14:31:07.425" v="363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BF2C3681-C7A0-9AE8-5119-5CC368ECE56A}" dt="2021-03-12T14:26:26.386" v="214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8:59.156" v="264" actId="20577"/>
          <ac:spMkLst>
            <pc:docMk/>
            <pc:sldMk cId="1544981574" sldId="409"/>
            <ac:spMk id="21" creationId="{839346A3-1820-4C50-8F02-466E51D4A44E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8:47.578" v="261" actId="20577"/>
          <ac:spMkLst>
            <pc:docMk/>
            <pc:sldMk cId="1544981574" sldId="409"/>
            <ac:spMk id="24" creationId="{16B6A73B-5369-43B2-892D-E5686AA01F1D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30:01.470" v="291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8:53.344" v="262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5:02.978" v="179" actId="20577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3:43.554" v="160" actId="20577"/>
          <ac:spMkLst>
            <pc:docMk/>
            <pc:sldMk cId="1544981574" sldId="409"/>
            <ac:spMk id="31" creationId="{0F0C68C8-7E5C-4702-92C2-12695702903C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31:07.425" v="363" actId="20577"/>
          <ac:spMkLst>
            <pc:docMk/>
            <pc:sldMk cId="1544981574" sldId="409"/>
            <ac:spMk id="33" creationId="{31CE5E89-228B-4D57-B94B-01974E601762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7:12.341" v="222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6:59.090" v="216" actId="20577"/>
          <ac:spMkLst>
            <pc:docMk/>
            <pc:sldMk cId="1544981574" sldId="409"/>
            <ac:spMk id="41" creationId="{79B6483E-7060-4A55-A8F4-C7DD2AF3826E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5:37.401" v="187" actId="20577"/>
          <ac:spMkLst>
            <pc:docMk/>
            <pc:sldMk cId="1544981574" sldId="409"/>
            <ac:spMk id="45" creationId="{6B6D7AF3-CD2C-4C43-9BC8-76C21B1521B2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7:22.216" v="234" actId="20577"/>
          <ac:spMkLst>
            <pc:docMk/>
            <pc:sldMk cId="1544981574" sldId="409"/>
            <ac:spMk id="48" creationId="{DC72A8FA-3B7A-403B-88B7-54617FF605B5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9:38.032" v="288" actId="20577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9:20.938" v="276" actId="20577"/>
          <ac:spMkLst>
            <pc:docMk/>
            <pc:sldMk cId="1544981574" sldId="409"/>
            <ac:spMk id="52" creationId="{B595D2F3-9C47-4FEE-9CCC-EBCC6DF263EC}"/>
          </ac:spMkLst>
        </pc:spChg>
      </pc:sldChg>
      <pc:sldChg chg="addSp delSp modSp ord">
        <pc:chgData name="Mery Carrasco Mauricio (Codelco-Casa Matriz)" userId="S::mmery004@codelco.cl::a0378191-74de-4d59-9b37-aa421303daba" providerId="AD" clId="Web-{BF2C3681-C7A0-9AE8-5119-5CC368ECE56A}" dt="2021-03-12T14:22:07.629" v="157"/>
        <pc:sldMkLst>
          <pc:docMk/>
          <pc:sldMk cId="1775339418" sldId="440"/>
        </pc:sldMkLst>
        <pc:spChg chg="add del mod">
          <ac:chgData name="Mery Carrasco Mauricio (Codelco-Casa Matriz)" userId="S::mmery004@codelco.cl::a0378191-74de-4d59-9b37-aa421303daba" providerId="AD" clId="Web-{BF2C3681-C7A0-9AE8-5119-5CC368ECE56A}" dt="2021-03-12T14:14:07.522" v="16"/>
          <ac:spMkLst>
            <pc:docMk/>
            <pc:sldMk cId="1775339418" sldId="440"/>
            <ac:spMk id="3" creationId="{20D098A8-CE7D-46AA-8B9A-7E6CB0C08F6C}"/>
          </ac:spMkLst>
        </pc:spChg>
        <pc:spChg chg="del mod">
          <ac:chgData name="Mery Carrasco Mauricio (Codelco-Casa Matriz)" userId="S::mmery004@codelco.cl::a0378191-74de-4d59-9b37-aa421303daba" providerId="AD" clId="Web-{BF2C3681-C7A0-9AE8-5119-5CC368ECE56A}" dt="2021-03-12T14:21:33.394" v="154"/>
          <ac:spMkLst>
            <pc:docMk/>
            <pc:sldMk cId="1775339418" sldId="440"/>
            <ac:spMk id="15" creationId="{A78BACFA-6529-45C2-A8C8-CC43D60C239A}"/>
          </ac:spMkLst>
        </pc:spChg>
        <pc:spChg chg="add mod">
          <ac:chgData name="Mery Carrasco Mauricio (Codelco-Casa Matriz)" userId="S::mmery004@codelco.cl::a0378191-74de-4d59-9b37-aa421303daba" providerId="AD" clId="Web-{BF2C3681-C7A0-9AE8-5119-5CC368ECE56A}" dt="2021-03-12T14:21:43.972" v="156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Mery Carrasco Mauricio (Codelco-Casa Matriz)" userId="S::mmery004@codelco.cl::a0378191-74de-4d59-9b37-aa421303daba" providerId="AD" clId="Web-{BF2C3681-C7A0-9AE8-5119-5CC368ECE56A}" dt="2021-03-12T14:21:28.003" v="153" actId="20577"/>
          <ac:spMkLst>
            <pc:docMk/>
            <pc:sldMk cId="1775339418" sldId="440"/>
            <ac:spMk id="19" creationId="{488562D1-4154-4B20-8682-0B484D7B4DCB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1DE3BEB1-64EE-641A-E71A-066A735C69A6}"/>
    <pc:docChg chg="addSld delSld modSld sldOrd addMainMaster modMainMaster">
      <pc:chgData name="Allende Bustamante Jose (Codelco-Casa Matriz)" userId="S::jalle011@codelco.cl::54345eee-8770-43bf-b080-e3e333067d62" providerId="AD" clId="Web-{1DE3BEB1-64EE-641A-E71A-066A735C69A6}" dt="2021-01-28T14:54:24.322" v="195" actId="1076"/>
      <pc:docMkLst>
        <pc:docMk/>
      </pc:docMkLst>
      <pc:sldChg chg="delSp modSp">
        <pc:chgData name="Allende Bustamante Jose (Codelco-Casa Matriz)" userId="S::jalle011@codelco.cl::54345eee-8770-43bf-b080-e3e333067d62" providerId="AD" clId="Web-{1DE3BEB1-64EE-641A-E71A-066A735C69A6}" dt="2021-01-28T14:45:15.917" v="151"/>
        <pc:sldMkLst>
          <pc:docMk/>
          <pc:sldMk cId="2155997825" sldId="375"/>
        </pc:sldMkLst>
        <pc:spChg chg="del">
          <ac:chgData name="Allende Bustamante Jose (Codelco-Casa Matriz)" userId="S::jalle011@codelco.cl::54345eee-8770-43bf-b080-e3e333067d62" providerId="AD" clId="Web-{1DE3BEB1-64EE-641A-E71A-066A735C69A6}" dt="2021-01-28T14:44:54.885" v="143"/>
          <ac:spMkLst>
            <pc:docMk/>
            <pc:sldMk cId="2155997825" sldId="375"/>
            <ac:spMk id="7" creationId="{80511AF6-F770-40FA-A5AD-725FBFDD3A35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4:52.198" v="142"/>
          <ac:spMkLst>
            <pc:docMk/>
            <pc:sldMk cId="2155997825" sldId="375"/>
            <ac:spMk id="29" creationId="{4EF6DFB3-BC27-4944-8019-979D1DF80B74}"/>
          </ac:spMkLst>
        </pc:spChg>
        <pc:spChg chg="del mod">
          <ac:chgData name="Allende Bustamante Jose (Codelco-Casa Matriz)" userId="S::jalle011@codelco.cl::54345eee-8770-43bf-b080-e3e333067d62" providerId="AD" clId="Web-{1DE3BEB1-64EE-641A-E71A-066A735C69A6}" dt="2021-01-28T14:45:01.901" v="145"/>
          <ac:spMkLst>
            <pc:docMk/>
            <pc:sldMk cId="2155997825" sldId="375"/>
            <ac:spMk id="30" creationId="{FEE198C5-2E50-4D2A-B61B-A1C8C7EC8FC1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5:03.933" v="147"/>
          <ac:spMkLst>
            <pc:docMk/>
            <pc:sldMk cId="2155997825" sldId="375"/>
            <ac:spMk id="31" creationId="{86DBACEA-6497-4F1D-9B3B-50212FAF72A6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5:06.620" v="148"/>
          <ac:spMkLst>
            <pc:docMk/>
            <pc:sldMk cId="2155997825" sldId="375"/>
            <ac:spMk id="32" creationId="{53AF127B-5295-46A6-9E03-A82F300EF54D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5:09.214" v="149"/>
          <ac:spMkLst>
            <pc:docMk/>
            <pc:sldMk cId="2155997825" sldId="375"/>
            <ac:spMk id="33" creationId="{3078310A-EA96-4DC4-9C4B-6EDA17FBF509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5:15.917" v="151"/>
          <ac:spMkLst>
            <pc:docMk/>
            <pc:sldMk cId="2155997825" sldId="375"/>
            <ac:spMk id="45" creationId="{D1A2EDAD-4C56-48D8-812C-96C1524D0942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5:13.777" v="150"/>
          <ac:spMkLst>
            <pc:docMk/>
            <pc:sldMk cId="2155997825" sldId="375"/>
            <ac:spMk id="49" creationId="{850F40D5-2ED9-451A-A4E8-3CE03642738F}"/>
          </ac:spMkLst>
        </pc:spChg>
        <pc:spChg chg="del">
          <ac:chgData name="Allende Bustamante Jose (Codelco-Casa Matriz)" userId="S::jalle011@codelco.cl::54345eee-8770-43bf-b080-e3e333067d62" providerId="AD" clId="Web-{1DE3BEB1-64EE-641A-E71A-066A735C69A6}" dt="2021-01-28T14:45:03.823" v="146"/>
          <ac:spMkLst>
            <pc:docMk/>
            <pc:sldMk cId="2155997825" sldId="375"/>
            <ac:spMk id="52" creationId="{2034C647-DF97-4B31-A9B5-2E579E7A468A}"/>
          </ac:spMkLst>
        </pc:spChg>
        <pc:picChg chg="del">
          <ac:chgData name="Allende Bustamante Jose (Codelco-Casa Matriz)" userId="S::jalle011@codelco.cl::54345eee-8770-43bf-b080-e3e333067d62" providerId="AD" clId="Web-{1DE3BEB1-64EE-641A-E71A-066A735C69A6}" dt="2021-01-28T14:32:30.945" v="6"/>
          <ac:picMkLst>
            <pc:docMk/>
            <pc:sldMk cId="2155997825" sldId="375"/>
            <ac:picMk id="6" creationId="{4DB315BC-4C52-43AF-8D1C-98B64D2C3462}"/>
          </ac:picMkLst>
        </pc:picChg>
      </pc:sldChg>
      <pc:sldChg chg="del">
        <pc:chgData name="Allende Bustamante Jose (Codelco-Casa Matriz)" userId="S::jalle011@codelco.cl::54345eee-8770-43bf-b080-e3e333067d62" providerId="AD" clId="Web-{1DE3BEB1-64EE-641A-E71A-066A735C69A6}" dt="2021-01-28T14:47:21.592" v="152"/>
        <pc:sldMkLst>
          <pc:docMk/>
          <pc:sldMk cId="922379868" sldId="417"/>
        </pc:sldMkLst>
      </pc:sldChg>
      <pc:sldChg chg="del">
        <pc:chgData name="Allende Bustamante Jose (Codelco-Casa Matriz)" userId="S::jalle011@codelco.cl::54345eee-8770-43bf-b080-e3e333067d62" providerId="AD" clId="Web-{1DE3BEB1-64EE-641A-E71A-066A735C69A6}" dt="2021-01-28T14:48:45.829" v="153"/>
        <pc:sldMkLst>
          <pc:docMk/>
          <pc:sldMk cId="1575758348" sldId="431"/>
        </pc:sldMkLst>
      </pc:sldChg>
      <pc:sldChg chg="del">
        <pc:chgData name="Allende Bustamante Jose (Codelco-Casa Matriz)" userId="S::jalle011@codelco.cl::54345eee-8770-43bf-b080-e3e333067d62" providerId="AD" clId="Web-{1DE3BEB1-64EE-641A-E71A-066A735C69A6}" dt="2021-01-28T14:50:30.425" v="161"/>
        <pc:sldMkLst>
          <pc:docMk/>
          <pc:sldMk cId="2259678299" sldId="432"/>
        </pc:sldMkLst>
      </pc:sldChg>
      <pc:sldChg chg="modSp">
        <pc:chgData name="Allende Bustamante Jose (Codelco-Casa Matriz)" userId="S::jalle011@codelco.cl::54345eee-8770-43bf-b080-e3e333067d62" providerId="AD" clId="Web-{1DE3BEB1-64EE-641A-E71A-066A735C69A6}" dt="2021-01-28T14:33:51.744" v="25" actId="20577"/>
        <pc:sldMkLst>
          <pc:docMk/>
          <pc:sldMk cId="1775339418" sldId="440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33:51.744" v="25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Allende Bustamante Jose (Codelco-Casa Matriz)" userId="S::jalle011@codelco.cl::54345eee-8770-43bf-b080-e3e333067d62" providerId="AD" clId="Web-{1DE3BEB1-64EE-641A-E71A-066A735C69A6}" dt="2021-01-28T14:48:58.642" v="154"/>
        <pc:sldMkLst>
          <pc:docMk/>
          <pc:sldMk cId="2741110803" sldId="442"/>
        </pc:sldMkLst>
      </pc:sldChg>
      <pc:sldChg chg="addSp modSp">
        <pc:chgData name="Allende Bustamante Jose (Codelco-Casa Matriz)" userId="S::jalle011@codelco.cl::54345eee-8770-43bf-b080-e3e333067d62" providerId="AD" clId="Web-{1DE3BEB1-64EE-641A-E71A-066A735C69A6}" dt="2021-01-28T14:44:42.635" v="141" actId="20577"/>
        <pc:sldMkLst>
          <pc:docMk/>
          <pc:sldMk cId="2488319862" sldId="452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43:57.712" v="120" actId="20577"/>
          <ac:spMkLst>
            <pc:docMk/>
            <pc:sldMk cId="2488319862" sldId="452"/>
            <ac:spMk id="6" creationId="{59DEF7A4-89B8-4DFC-BCE4-A1B79CFC1191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44:42.635" v="141" actId="20577"/>
          <ac:spMkLst>
            <pc:docMk/>
            <pc:sldMk cId="2488319862" sldId="452"/>
            <ac:spMk id="38" creationId="{00000000-0000-0000-0000-000000000000}"/>
          </ac:spMkLst>
        </pc:spChg>
        <pc:picChg chg="add mod">
          <ac:chgData name="Allende Bustamante Jose (Codelco-Casa Matriz)" userId="S::jalle011@codelco.cl::54345eee-8770-43bf-b080-e3e333067d62" providerId="AD" clId="Web-{1DE3BEB1-64EE-641A-E71A-066A735C69A6}" dt="2021-01-28T14:41:45.881" v="74" actId="1076"/>
          <ac:picMkLst>
            <pc:docMk/>
            <pc:sldMk cId="2488319862" sldId="452"/>
            <ac:picMk id="3" creationId="{811DB62A-2CDA-4B06-8A5F-7E3F720DCC00}"/>
          </ac:picMkLst>
        </pc:picChg>
        <pc:picChg chg="add mod">
          <ac:chgData name="Allende Bustamante Jose (Codelco-Casa Matriz)" userId="S::jalle011@codelco.cl::54345eee-8770-43bf-b080-e3e333067d62" providerId="AD" clId="Web-{1DE3BEB1-64EE-641A-E71A-066A735C69A6}" dt="2021-01-28T14:42:18.819" v="87" actId="1076"/>
          <ac:picMkLst>
            <pc:docMk/>
            <pc:sldMk cId="2488319862" sldId="452"/>
            <ac:picMk id="4" creationId="{52644C8F-32BE-4BB5-9AF2-D48FD4834196}"/>
          </ac:picMkLst>
        </pc:picChg>
        <pc:picChg chg="add mod">
          <ac:chgData name="Allende Bustamante Jose (Codelco-Casa Matriz)" userId="S::jalle011@codelco.cl::54345eee-8770-43bf-b080-e3e333067d62" providerId="AD" clId="Web-{1DE3BEB1-64EE-641A-E71A-066A735C69A6}" dt="2021-01-28T14:42:03.241" v="83" actId="1076"/>
          <ac:picMkLst>
            <pc:docMk/>
            <pc:sldMk cId="2488319862" sldId="452"/>
            <ac:picMk id="5" creationId="{D5AE62BB-30E1-406D-96A6-5CFCD3EFCC36}"/>
          </ac:picMkLst>
        </pc:picChg>
        <pc:picChg chg="add mod">
          <ac:chgData name="Allende Bustamante Jose (Codelco-Casa Matriz)" userId="S::jalle011@codelco.cl::54345eee-8770-43bf-b080-e3e333067d62" providerId="AD" clId="Web-{1DE3BEB1-64EE-641A-E71A-066A735C69A6}" dt="2021-01-28T14:42:15.913" v="86" actId="1076"/>
          <ac:picMkLst>
            <pc:docMk/>
            <pc:sldMk cId="2488319862" sldId="452"/>
            <ac:picMk id="7" creationId="{861AF46C-419D-4F76-80DE-D1642B617226}"/>
          </ac:picMkLst>
        </pc:picChg>
      </pc:sldChg>
      <pc:sldChg chg="add">
        <pc:chgData name="Allende Bustamante Jose (Codelco-Casa Matriz)" userId="S::jalle011@codelco.cl::54345eee-8770-43bf-b080-e3e333067d62" providerId="AD" clId="Web-{1DE3BEB1-64EE-641A-E71A-066A735C69A6}" dt="2021-01-28T14:30:06.707" v="0"/>
        <pc:sldMkLst>
          <pc:docMk/>
          <pc:sldMk cId="104579374" sldId="455"/>
        </pc:sldMkLst>
      </pc:sldChg>
      <pc:sldChg chg="del">
        <pc:chgData name="Allende Bustamante Jose (Codelco-Casa Matriz)" userId="S::jalle011@codelco.cl::54345eee-8770-43bf-b080-e3e333067d62" providerId="AD" clId="Web-{1DE3BEB1-64EE-641A-E71A-066A735C69A6}" dt="2021-01-28T14:33:01.321" v="8"/>
        <pc:sldMkLst>
          <pc:docMk/>
          <pc:sldMk cId="2927933070" sldId="455"/>
        </pc:sldMkLst>
      </pc:sldChg>
      <pc:sldChg chg="ord">
        <pc:chgData name="Allende Bustamante Jose (Codelco-Casa Matriz)" userId="S::jalle011@codelco.cl::54345eee-8770-43bf-b080-e3e333067d62" providerId="AD" clId="Web-{1DE3BEB1-64EE-641A-E71A-066A735C69A6}" dt="2021-01-28T14:31:01.833" v="2"/>
        <pc:sldMkLst>
          <pc:docMk/>
          <pc:sldMk cId="104579374" sldId="456"/>
        </pc:sldMkLst>
      </pc:sldChg>
      <pc:sldChg chg="add">
        <pc:chgData name="Allende Bustamante Jose (Codelco-Casa Matriz)" userId="S::jalle011@codelco.cl::54345eee-8770-43bf-b080-e3e333067d62" providerId="AD" clId="Web-{1DE3BEB1-64EE-641A-E71A-066A735C69A6}" dt="2021-01-28T14:30:33.192" v="1"/>
        <pc:sldMkLst>
          <pc:docMk/>
          <pc:sldMk cId="2837719933" sldId="457"/>
        </pc:sldMkLst>
      </pc:sldChg>
      <pc:sldChg chg="add">
        <pc:chgData name="Allende Bustamante Jose (Codelco-Casa Matriz)" userId="S::jalle011@codelco.cl::54345eee-8770-43bf-b080-e3e333067d62" providerId="AD" clId="Web-{1DE3BEB1-64EE-641A-E71A-066A735C69A6}" dt="2021-01-28T14:31:11.193" v="3"/>
        <pc:sldMkLst>
          <pc:docMk/>
          <pc:sldMk cId="2036570787" sldId="458"/>
        </pc:sldMkLst>
      </pc:sldChg>
      <pc:sldChg chg="add">
        <pc:chgData name="Allende Bustamante Jose (Codelco-Casa Matriz)" userId="S::jalle011@codelco.cl::54345eee-8770-43bf-b080-e3e333067d62" providerId="AD" clId="Web-{1DE3BEB1-64EE-641A-E71A-066A735C69A6}" dt="2021-01-28T14:31:17.115" v="4"/>
        <pc:sldMkLst>
          <pc:docMk/>
          <pc:sldMk cId="700712230" sldId="459"/>
        </pc:sldMkLst>
      </pc:sldChg>
      <pc:sldChg chg="modSp add">
        <pc:chgData name="Allende Bustamante Jose (Codelco-Casa Matriz)" userId="S::jalle011@codelco.cl::54345eee-8770-43bf-b080-e3e333067d62" providerId="AD" clId="Web-{1DE3BEB1-64EE-641A-E71A-066A735C69A6}" dt="2021-01-28T14:33:40.025" v="23" actId="20577"/>
        <pc:sldMkLst>
          <pc:docMk/>
          <pc:sldMk cId="1853763067" sldId="460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33:40.025" v="23" actId="20577"/>
          <ac:spMkLst>
            <pc:docMk/>
            <pc:sldMk cId="1853763067" sldId="460"/>
            <ac:spMk id="2" creationId="{3B51CC00-6664-4925-9D0C-A6074A1416BC}"/>
          </ac:spMkLst>
        </pc:spChg>
      </pc:sldChg>
      <pc:sldChg chg="modSp add">
        <pc:chgData name="Allende Bustamante Jose (Codelco-Casa Matriz)" userId="S::jalle011@codelco.cl::54345eee-8770-43bf-b080-e3e333067d62" providerId="AD" clId="Web-{1DE3BEB1-64EE-641A-E71A-066A735C69A6}" dt="2021-01-28T14:54:24.322" v="195" actId="1076"/>
        <pc:sldMkLst>
          <pc:docMk/>
          <pc:sldMk cId="3118458210" sldId="461"/>
        </pc:sldMkLst>
        <pc:picChg chg="mod">
          <ac:chgData name="Allende Bustamante Jose (Codelco-Casa Matriz)" userId="S::jalle011@codelco.cl::54345eee-8770-43bf-b080-e3e333067d62" providerId="AD" clId="Web-{1DE3BEB1-64EE-641A-E71A-066A735C69A6}" dt="2021-01-28T14:54:21.931" v="194" actId="1076"/>
          <ac:picMkLst>
            <pc:docMk/>
            <pc:sldMk cId="3118458210" sldId="461"/>
            <ac:picMk id="26" creationId="{00000000-0000-0000-0000-000000000000}"/>
          </ac:picMkLst>
        </pc:picChg>
        <pc:picChg chg="mod">
          <ac:chgData name="Allende Bustamante Jose (Codelco-Casa Matriz)" userId="S::jalle011@codelco.cl::54345eee-8770-43bf-b080-e3e333067d62" providerId="AD" clId="Web-{1DE3BEB1-64EE-641A-E71A-066A735C69A6}" dt="2021-01-28T14:54:24.322" v="195" actId="1076"/>
          <ac:picMkLst>
            <pc:docMk/>
            <pc:sldMk cId="3118458210" sldId="461"/>
            <ac:picMk id="28" creationId="{00000000-0000-0000-0000-000000000000}"/>
          </ac:picMkLst>
        </pc:picChg>
      </pc:sldChg>
      <pc:sldChg chg="modSp add del">
        <pc:chgData name="Allende Bustamante Jose (Codelco-Casa Matriz)" userId="S::jalle011@codelco.cl::54345eee-8770-43bf-b080-e3e333067d62" providerId="AD" clId="Web-{1DE3BEB1-64EE-641A-E71A-066A735C69A6}" dt="2021-01-28T14:51:48.568" v="170"/>
        <pc:sldMkLst>
          <pc:docMk/>
          <pc:sldMk cId="1566304022" sldId="462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36:59.452" v="47"/>
          <ac:spMkLst>
            <pc:docMk/>
            <pc:sldMk cId="1566304022" sldId="462"/>
            <ac:spMk id="327" creationId="{3573E6B1-D8A0-4044-9DCA-554DADEF0B52}"/>
          </ac:spMkLst>
        </pc:spChg>
      </pc:sldChg>
      <pc:sldChg chg="modSp add del">
        <pc:chgData name="Allende Bustamante Jose (Codelco-Casa Matriz)" userId="S::jalle011@codelco.cl::54345eee-8770-43bf-b080-e3e333067d62" providerId="AD" clId="Web-{1DE3BEB1-64EE-641A-E71A-066A735C69A6}" dt="2021-01-28T14:51:46.286" v="169"/>
        <pc:sldMkLst>
          <pc:docMk/>
          <pc:sldMk cId="2367845868" sldId="463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35:48.544" v="31"/>
          <ac:spMkLst>
            <pc:docMk/>
            <pc:sldMk cId="2367845868" sldId="463"/>
            <ac:spMk id="9" creationId="{835951DF-3D18-4261-9933-E51DA1964055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35:48.575" v="32"/>
          <ac:spMkLst>
            <pc:docMk/>
            <pc:sldMk cId="2367845868" sldId="463"/>
            <ac:spMk id="177" creationId="{3B2A8484-6C5A-4826-8D73-FEBDEC7A1356}"/>
          </ac:spMkLst>
        </pc:spChg>
      </pc:sldChg>
      <pc:sldChg chg="modSp add del">
        <pc:chgData name="Allende Bustamante Jose (Codelco-Casa Matriz)" userId="S::jalle011@codelco.cl::54345eee-8770-43bf-b080-e3e333067d62" providerId="AD" clId="Web-{1DE3BEB1-64EE-641A-E71A-066A735C69A6}" dt="2021-01-28T14:51:46.255" v="168"/>
        <pc:sldMkLst>
          <pc:docMk/>
          <pc:sldMk cId="3920821728" sldId="464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36:06.560" v="33"/>
          <ac:spMkLst>
            <pc:docMk/>
            <pc:sldMk cId="3920821728" sldId="464"/>
            <ac:spMk id="2" creationId="{C603D3FA-2B71-40FE-81E3-B6FD2C3DA7C0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37:16.030" v="49" actId="14100"/>
          <ac:spMkLst>
            <pc:docMk/>
            <pc:sldMk cId="3920821728" sldId="464"/>
            <ac:spMk id="9" creationId="{835951DF-3D18-4261-9933-E51DA1964055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36:24.154" v="39"/>
          <ac:spMkLst>
            <pc:docMk/>
            <pc:sldMk cId="3920821728" sldId="464"/>
            <ac:spMk id="71" creationId="{ECFF736A-76F8-4C66-BAC1-CA1B1BC82D6F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36:33.779" v="43"/>
          <ac:spMkLst>
            <pc:docMk/>
            <pc:sldMk cId="3920821728" sldId="464"/>
            <ac:spMk id="150" creationId="{46A75621-1AA7-4450-AA80-6689C8E2CF33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36:33.857" v="44"/>
          <ac:spMkLst>
            <pc:docMk/>
            <pc:sldMk cId="3920821728" sldId="464"/>
            <ac:spMk id="153" creationId="{99B54A76-E81B-4169-9C17-BEACA8DF1B25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36:33.935" v="45"/>
          <ac:spMkLst>
            <pc:docMk/>
            <pc:sldMk cId="3920821728" sldId="464"/>
            <ac:spMk id="157" creationId="{8445EE60-6029-471A-AFB6-E7F2A4C596EC}"/>
          </ac:spMkLst>
        </pc:spChg>
      </pc:sldChg>
      <pc:sldChg chg="add">
        <pc:chgData name="Allende Bustamante Jose (Codelco-Casa Matriz)" userId="S::jalle011@codelco.cl::54345eee-8770-43bf-b080-e3e333067d62" providerId="AD" clId="Web-{1DE3BEB1-64EE-641A-E71A-066A735C69A6}" dt="2021-01-28T14:49:10.751" v="155"/>
        <pc:sldMkLst>
          <pc:docMk/>
          <pc:sldMk cId="3603438608" sldId="465"/>
        </pc:sldMkLst>
      </pc:sldChg>
      <pc:sldChg chg="add">
        <pc:chgData name="Allende Bustamante Jose (Codelco-Casa Matriz)" userId="S::jalle011@codelco.cl::54345eee-8770-43bf-b080-e3e333067d62" providerId="AD" clId="Web-{1DE3BEB1-64EE-641A-E71A-066A735C69A6}" dt="2021-01-28T14:49:11.392" v="156"/>
        <pc:sldMkLst>
          <pc:docMk/>
          <pc:sldMk cId="3642239849" sldId="466"/>
        </pc:sldMkLst>
      </pc:sldChg>
      <pc:sldChg chg="add">
        <pc:chgData name="Allende Bustamante Jose (Codelco-Casa Matriz)" userId="S::jalle011@codelco.cl::54345eee-8770-43bf-b080-e3e333067d62" providerId="AD" clId="Web-{1DE3BEB1-64EE-641A-E71A-066A735C69A6}" dt="2021-01-28T14:49:11.564" v="157"/>
        <pc:sldMkLst>
          <pc:docMk/>
          <pc:sldMk cId="3898576614" sldId="467"/>
        </pc:sldMkLst>
      </pc:sldChg>
      <pc:sldChg chg="modSp add replId">
        <pc:chgData name="Allende Bustamante Jose (Codelco-Casa Matriz)" userId="S::jalle011@codelco.cl::54345eee-8770-43bf-b080-e3e333067d62" providerId="AD" clId="Web-{1DE3BEB1-64EE-641A-E71A-066A735C69A6}" dt="2021-01-28T14:52:45.585" v="187" actId="20577"/>
        <pc:sldMkLst>
          <pc:docMk/>
          <pc:sldMk cId="860796454" sldId="468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52:45.585" v="187" actId="20577"/>
          <ac:spMkLst>
            <pc:docMk/>
            <pc:sldMk cId="860796454" sldId="468"/>
            <ac:spMk id="139" creationId="{D09E5E1B-82FD-4C67-8083-3923CAAD5A78}"/>
          </ac:spMkLst>
        </pc:spChg>
      </pc:sldChg>
      <pc:sldChg chg="add del">
        <pc:chgData name="Allende Bustamante Jose (Codelco-Casa Matriz)" userId="S::jalle011@codelco.cl::54345eee-8770-43bf-b080-e3e333067d62" providerId="AD" clId="Web-{1DE3BEB1-64EE-641A-E71A-066A735C69A6}" dt="2021-01-28T14:51:00.613" v="164"/>
        <pc:sldMkLst>
          <pc:docMk/>
          <pc:sldMk cId="3045375711" sldId="468"/>
        </pc:sldMkLst>
      </pc:sldChg>
      <pc:sldChg chg="add del">
        <pc:chgData name="Allende Bustamante Jose (Codelco-Casa Matriz)" userId="S::jalle011@codelco.cl::54345eee-8770-43bf-b080-e3e333067d62" providerId="AD" clId="Web-{1DE3BEB1-64EE-641A-E71A-066A735C69A6}" dt="2021-01-28T14:51:00.223" v="163"/>
        <pc:sldMkLst>
          <pc:docMk/>
          <pc:sldMk cId="3705806828" sldId="469"/>
        </pc:sldMkLst>
      </pc:sldChg>
      <pc:sldChg chg="add replId">
        <pc:chgData name="Allende Bustamante Jose (Codelco-Casa Matriz)" userId="S::jalle011@codelco.cl::54345eee-8770-43bf-b080-e3e333067d62" providerId="AD" clId="Web-{1DE3BEB1-64EE-641A-E71A-066A735C69A6}" dt="2021-01-28T14:51:37.771" v="166"/>
        <pc:sldMkLst>
          <pc:docMk/>
          <pc:sldMk cId="4111653900" sldId="469"/>
        </pc:sldMkLst>
      </pc:sldChg>
      <pc:sldChg chg="add del">
        <pc:chgData name="Allende Bustamante Jose (Codelco-Casa Matriz)" userId="S::jalle011@codelco.cl::54345eee-8770-43bf-b080-e3e333067d62" providerId="AD" clId="Web-{1DE3BEB1-64EE-641A-E71A-066A735C69A6}" dt="2021-01-28T14:50:58.113" v="162"/>
        <pc:sldMkLst>
          <pc:docMk/>
          <pc:sldMk cId="192352994" sldId="470"/>
        </pc:sldMkLst>
      </pc:sldChg>
      <pc:sldChg chg="modSp add replId">
        <pc:chgData name="Allende Bustamante Jose (Codelco-Casa Matriz)" userId="S::jalle011@codelco.cl::54345eee-8770-43bf-b080-e3e333067d62" providerId="AD" clId="Web-{1DE3BEB1-64EE-641A-E71A-066A735C69A6}" dt="2021-01-28T14:53:11.101" v="193"/>
        <pc:sldMkLst>
          <pc:docMk/>
          <pc:sldMk cId="804424727" sldId="470"/>
        </pc:sldMkLst>
        <pc:spChg chg="mod">
          <ac:chgData name="Allende Bustamante Jose (Codelco-Casa Matriz)" userId="S::jalle011@codelco.cl::54345eee-8770-43bf-b080-e3e333067d62" providerId="AD" clId="Web-{1DE3BEB1-64EE-641A-E71A-066A735C69A6}" dt="2021-01-28T14:53:10.898" v="191"/>
          <ac:spMkLst>
            <pc:docMk/>
            <pc:sldMk cId="804424727" sldId="470"/>
            <ac:spMk id="150" creationId="{46A75621-1AA7-4450-AA80-6689C8E2CF33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53:11.038" v="192"/>
          <ac:spMkLst>
            <pc:docMk/>
            <pc:sldMk cId="804424727" sldId="470"/>
            <ac:spMk id="153" creationId="{99B54A76-E81B-4169-9C17-BEACA8DF1B25}"/>
          </ac:spMkLst>
        </pc:spChg>
        <pc:spChg chg="mod">
          <ac:chgData name="Allende Bustamante Jose (Codelco-Casa Matriz)" userId="S::jalle011@codelco.cl::54345eee-8770-43bf-b080-e3e333067d62" providerId="AD" clId="Web-{1DE3BEB1-64EE-641A-E71A-066A735C69A6}" dt="2021-01-28T14:53:11.101" v="193"/>
          <ac:spMkLst>
            <pc:docMk/>
            <pc:sldMk cId="804424727" sldId="470"/>
            <ac:spMk id="157" creationId="{8445EE60-6029-471A-AFB6-E7F2A4C596EC}"/>
          </ac:spMkLst>
        </pc:spChg>
      </pc:sldChg>
      <pc:sldMasterChg chg="modSldLayout">
        <pc:chgData name="Allende Bustamante Jose (Codelco-Casa Matriz)" userId="S::jalle011@codelco.cl::54345eee-8770-43bf-b080-e3e333067d62" providerId="AD" clId="Web-{1DE3BEB1-64EE-641A-E71A-066A735C69A6}" dt="2021-01-28T14:30:06.707" v="0"/>
        <pc:sldMasterMkLst>
          <pc:docMk/>
          <pc:sldMasterMk cId="3386525249" sldId="2147483864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3386525249" sldId="2147483864"/>
            <pc:sldLayoutMk cId="324885987" sldId="2147484243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1DE3BEB1-64EE-641A-E71A-066A735C69A6}" dt="2021-01-28T14:34:48.652" v="26"/>
        <pc:sldMasterMkLst>
          <pc:docMk/>
          <pc:sldMasterMk cId="1483736372" sldId="2147483899"/>
        </pc:sldMasterMkLst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2875749326" sldId="2147483900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246577849" sldId="2147483901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954803907" sldId="214748390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854017939" sldId="214748390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892425772" sldId="214748390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429055014" sldId="214748390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462345350" sldId="2147483906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566510803" sldId="2147483911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771080821" sldId="214748391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879504276" sldId="214748391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604462793" sldId="214748391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031026366" sldId="214748391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68019989" sldId="214748403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484835447" sldId="214748405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1616625935" sldId="214748405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041999612" sldId="214748405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834324367" sldId="214748440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2664754821" sldId="2147484551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3338812451" sldId="214748455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483736372" sldId="2147483899"/>
            <pc:sldLayoutMk cId="757950045" sldId="2147484553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0:06.707" v="0"/>
        <pc:sldMasterMkLst>
          <pc:docMk/>
          <pc:sldMasterMk cId="1947106969" sldId="2147483922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1947106969" sldId="2147483922"/>
            <pc:sldLayoutMk cId="385459307" sldId="2147484254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1947106969" sldId="2147483922"/>
            <pc:sldLayoutMk cId="2814903871" sldId="2147484255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1947106969" sldId="2147483922"/>
            <pc:sldLayoutMk cId="3336722768" sldId="2147484256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1947106969" sldId="2147483922"/>
            <pc:sldLayoutMk cId="1922737006" sldId="2147484257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4:48.652" v="26"/>
        <pc:sldMasterMkLst>
          <pc:docMk/>
          <pc:sldMasterMk cId="217351531" sldId="2147484028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217351531" sldId="2147484028"/>
            <pc:sldLayoutMk cId="22558927" sldId="2147484303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4:48.652" v="26"/>
        <pc:sldMasterMkLst>
          <pc:docMk/>
          <pc:sldMasterMk cId="3333629050" sldId="2147484044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3333629050" sldId="2147484044"/>
            <pc:sldLayoutMk cId="768607084" sldId="2147484304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3333629050" sldId="2147484044"/>
            <pc:sldLayoutMk cId="2580509982" sldId="2147484305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3333629050" sldId="2147484044"/>
            <pc:sldLayoutMk cId="3439459252" sldId="2147484306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0:06.707" v="0"/>
        <pc:sldMasterMkLst>
          <pc:docMk/>
          <pc:sldMasterMk cId="2969229741" sldId="2147484134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134"/>
            <pc:sldLayoutMk cId="554729717" sldId="2147484239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134"/>
            <pc:sldLayoutMk cId="960843776" sldId="2147484240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134"/>
            <pc:sldLayoutMk cId="37610835" sldId="2147484241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134"/>
            <pc:sldLayoutMk cId="3684205832" sldId="2147484245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134"/>
            <pc:sldLayoutMk cId="392851952" sldId="2147484246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4:48.652" v="26"/>
        <pc:sldMasterMkLst>
          <pc:docMk/>
          <pc:sldMasterMk cId="4084933470" sldId="2147484172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403371656" sldId="2147484294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355912118" sldId="2147484295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3367929805" sldId="2147484296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2500389735" sldId="2147484297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1419228182" sldId="2147484298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2768200536" sldId="2147484299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140974083" sldId="2147484300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1372210289" sldId="2147484301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4084933470" sldId="2147484172"/>
            <pc:sldLayoutMk cId="53779779" sldId="2147484302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1DE3BEB1-64EE-641A-E71A-066A735C69A6}" dt="2021-01-28T14:30:06.707" v="0"/>
        <pc:sldMasterMkLst>
          <pc:docMk/>
          <pc:sldMasterMk cId="4284768020" sldId="2147484202"/>
        </pc:sldMasterMkLst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1884241447" sldId="214748420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3418312729" sldId="214748420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917017644" sldId="214748420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1473363170" sldId="2147484206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2408335582" sldId="2147484207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1539393484" sldId="2147484208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3734516973" sldId="2147484209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4098671168" sldId="2147484210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2429025891" sldId="2147484211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3410623178" sldId="214748421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2308592136" sldId="214748421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4243493313" sldId="214748421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1300505971" sldId="214748421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2539454569" sldId="2147484216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4130798883" sldId="2147484217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2883318538" sldId="2147484218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3988841316" sldId="2147484219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4284768020" sldId="2147484202"/>
            <pc:sldLayoutMk cId="1015754034" sldId="2147484220"/>
          </pc:sldLayoutMkLst>
        </pc:sldLayoutChg>
      </pc:sldMasterChg>
      <pc:sldMasterChg chg="replId modSldLayout">
        <pc:chgData name="Allende Bustamante Jose (Codelco-Casa Matriz)" userId="S::jalle011@codelco.cl::54345eee-8770-43bf-b080-e3e333067d62" providerId="AD" clId="Web-{1DE3BEB1-64EE-641A-E71A-066A735C69A6}" dt="2021-01-28T14:30:06.707" v="0"/>
        <pc:sldMasterMkLst>
          <pc:docMk/>
          <pc:sldMasterMk cId="2969229741" sldId="2147484247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247"/>
            <pc:sldLayoutMk cId="3543058118" sldId="2147484248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247"/>
            <pc:sldLayoutMk cId="1608224328" sldId="2147484249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247"/>
            <pc:sldLayoutMk cId="3852498680" sldId="2147484250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247"/>
            <pc:sldLayoutMk cId="3079707490" sldId="2147484251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247"/>
            <pc:sldLayoutMk cId="2497063147" sldId="2147484252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247"/>
            <pc:sldLayoutMk cId="2411697666" sldId="2147484253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1DE3BEB1-64EE-641A-E71A-066A735C69A6}" dt="2021-01-28T14:49:11.392" v="156"/>
        <pc:sldMasterMkLst>
          <pc:docMk/>
          <pc:sldMasterMk cId="2080338986" sldId="2147484307"/>
        </pc:sldMasterMkLst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79587132" sldId="2147484308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98637217" sldId="2147484309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513513306" sldId="2147484310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320535139" sldId="2147484311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143870222" sldId="214748431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875399439" sldId="214748431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3811677158" sldId="214748431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850758434" sldId="214748431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326059758" sldId="2147484316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170278947" sldId="2147484317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3587830076" sldId="2147484318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237357201" sldId="2147484319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3336744820" sldId="2147484320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283753307" sldId="2147484321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831580364" sldId="2147484322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30213971" sldId="2147484323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596713927" sldId="2147484324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435926335" sldId="2147484325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3315034823" sldId="2147484326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2556684868" sldId="2147484327"/>
          </pc:sldLayoutMkLst>
        </pc:sldLayoutChg>
        <pc:sldLayoutChg chg="add">
          <pc:chgData name="Allende Bustamante Jose (Codelco-Casa Matriz)" userId="S::jalle011@codelco.cl::54345eee-8770-43bf-b080-e3e333067d62" providerId="AD" clId="Web-{1DE3BEB1-64EE-641A-E71A-066A735C69A6}" dt="2021-01-28T14:49:11.392" v="156"/>
          <pc:sldLayoutMkLst>
            <pc:docMk/>
            <pc:sldMasterMk cId="2080338986" sldId="2147484307"/>
            <pc:sldLayoutMk cId="1183380570" sldId="2147484328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4:48.652" v="26"/>
        <pc:sldMasterMkLst>
          <pc:docMk/>
          <pc:sldMasterMk cId="119532437" sldId="2147484386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3813149349" sldId="2147484287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2323692354" sldId="2147484288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3359280727" sldId="2147484289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772583658" sldId="2147484290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3471601062" sldId="2147484291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2881434168" sldId="2147484292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4:48.652" v="26"/>
          <pc:sldLayoutMkLst>
            <pc:docMk/>
            <pc:sldMasterMk cId="119532437" sldId="2147484386"/>
            <pc:sldLayoutMk cId="880663324" sldId="2147484293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1DE3BEB1-64EE-641A-E71A-066A735C69A6}" dt="2021-01-28T14:30:06.707" v="0"/>
        <pc:sldMasterMkLst>
          <pc:docMk/>
          <pc:sldMasterMk cId="2969229741" sldId="2147484423"/>
        </pc:sldMasterMkLst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423"/>
            <pc:sldLayoutMk cId="2612411629" sldId="2147484242"/>
          </pc:sldLayoutMkLst>
        </pc:sldLayoutChg>
        <pc:sldLayoutChg chg="replId">
          <pc:chgData name="Allende Bustamante Jose (Codelco-Casa Matriz)" userId="S::jalle011@codelco.cl::54345eee-8770-43bf-b080-e3e333067d62" providerId="AD" clId="Web-{1DE3BEB1-64EE-641A-E71A-066A735C69A6}" dt="2021-01-28T14:30:06.707" v="0"/>
          <pc:sldLayoutMkLst>
            <pc:docMk/>
            <pc:sldMasterMk cId="2969229741" sldId="2147484423"/>
            <pc:sldLayoutMk cId="618327159" sldId="2147484244"/>
          </pc:sldLayoutMkLst>
        </pc:sldLayoutChg>
      </pc:sldMasterChg>
    </pc:docChg>
  </pc:docChgLst>
  <pc:docChgLst>
    <pc:chgData name="Yon Muniz Yuan (Codelco-Casa Matriz)" userId="S::yyonm001@codelco.cl::f20ca1ac-b253-4f4a-b9a4-571f8a82fa03" providerId="AD" clId="Web-{156B8DBB-02AE-1E09-3C1C-C0715A558074}"/>
    <pc:docChg chg="addSld delSld modSld">
      <pc:chgData name="Yon Muniz Yuan (Codelco-Casa Matriz)" userId="S::yyonm001@codelco.cl::f20ca1ac-b253-4f4a-b9a4-571f8a82fa03" providerId="AD" clId="Web-{156B8DBB-02AE-1E09-3C1C-C0715A558074}" dt="2021-02-10T17:55:36.216" v="162" actId="14100"/>
      <pc:docMkLst>
        <pc:docMk/>
      </pc:docMkLst>
      <pc:sldChg chg="addSp delSp modSp">
        <pc:chgData name="Yon Muniz Yuan (Codelco-Casa Matriz)" userId="S::yyonm001@codelco.cl::f20ca1ac-b253-4f4a-b9a4-571f8a82fa03" providerId="AD" clId="Web-{156B8DBB-02AE-1E09-3C1C-C0715A558074}" dt="2021-02-10T17:55:36.216" v="162" actId="14100"/>
        <pc:sldMkLst>
          <pc:docMk/>
          <pc:sldMk cId="2362642791" sldId="471"/>
        </pc:sldMkLst>
        <pc:spChg chg="mod">
          <ac:chgData name="Yon Muniz Yuan (Codelco-Casa Matriz)" userId="S::yyonm001@codelco.cl::f20ca1ac-b253-4f4a-b9a4-571f8a82fa03" providerId="AD" clId="Web-{156B8DBB-02AE-1E09-3C1C-C0715A558074}" dt="2021-02-10T17:55:32.388" v="161" actId="1076"/>
          <ac:spMkLst>
            <pc:docMk/>
            <pc:sldMk cId="2362642791" sldId="471"/>
            <ac:spMk id="2" creationId="{052FE435-87E4-45EA-94B3-378D699D1B29}"/>
          </ac:spMkLst>
        </pc:spChg>
        <pc:spChg chg="mod">
          <ac:chgData name="Yon Muniz Yuan (Codelco-Casa Matriz)" userId="S::yyonm001@codelco.cl::f20ca1ac-b253-4f4a-b9a4-571f8a82fa03" providerId="AD" clId="Web-{156B8DBB-02AE-1E09-3C1C-C0715A558074}" dt="2021-02-10T17:55:32.373" v="160" actId="1076"/>
          <ac:spMkLst>
            <pc:docMk/>
            <pc:sldMk cId="2362642791" sldId="471"/>
            <ac:spMk id="3" creationId="{7C122560-A6F5-434C-A8D8-42B97DBD4134}"/>
          </ac:spMkLst>
        </pc:spChg>
        <pc:spChg chg="add del mod">
          <ac:chgData name="Yon Muniz Yuan (Codelco-Casa Matriz)" userId="S::yyonm001@codelco.cl::f20ca1ac-b253-4f4a-b9a4-571f8a82fa03" providerId="AD" clId="Web-{156B8DBB-02AE-1E09-3C1C-C0715A558074}" dt="2021-02-10T17:51:09.444" v="53"/>
          <ac:spMkLst>
            <pc:docMk/>
            <pc:sldMk cId="2362642791" sldId="471"/>
            <ac:spMk id="8" creationId="{9E7C634B-0055-49B8-921E-E683A5E656DA}"/>
          </ac:spMkLst>
        </pc:spChg>
        <pc:spChg chg="add mod">
          <ac:chgData name="Yon Muniz Yuan (Codelco-Casa Matriz)" userId="S::yyonm001@codelco.cl::f20ca1ac-b253-4f4a-b9a4-571f8a82fa03" providerId="AD" clId="Web-{156B8DBB-02AE-1E09-3C1C-C0715A558074}" dt="2021-02-10T17:55:02.325" v="145" actId="1076"/>
          <ac:spMkLst>
            <pc:docMk/>
            <pc:sldMk cId="2362642791" sldId="471"/>
            <ac:spMk id="11" creationId="{33B5AC4A-C3B0-4600-AD62-DA53F1F8EC62}"/>
          </ac:spMkLst>
        </pc:spChg>
        <pc:picChg chg="add del mod">
          <ac:chgData name="Yon Muniz Yuan (Codelco-Casa Matriz)" userId="S::yyonm001@codelco.cl::f20ca1ac-b253-4f4a-b9a4-571f8a82fa03" providerId="AD" clId="Web-{156B8DBB-02AE-1E09-3C1C-C0715A558074}" dt="2021-02-10T17:32:02.679" v="8"/>
          <ac:picMkLst>
            <pc:docMk/>
            <pc:sldMk cId="2362642791" sldId="471"/>
            <ac:picMk id="5" creationId="{D8A1A0EB-4A76-4DBA-987F-AB33C05E67A8}"/>
          </ac:picMkLst>
        </pc:picChg>
        <pc:picChg chg="add del mod">
          <ac:chgData name="Yon Muniz Yuan (Codelco-Casa Matriz)" userId="S::yyonm001@codelco.cl::f20ca1ac-b253-4f4a-b9a4-571f8a82fa03" providerId="AD" clId="Web-{156B8DBB-02AE-1E09-3C1C-C0715A558074}" dt="2021-02-10T17:35:11.684" v="25"/>
          <ac:picMkLst>
            <pc:docMk/>
            <pc:sldMk cId="2362642791" sldId="471"/>
            <ac:picMk id="6" creationId="{4BD2FBEC-DAEF-421C-AC8D-E402DB9A66A7}"/>
          </ac:picMkLst>
        </pc:picChg>
        <pc:picChg chg="add mod">
          <ac:chgData name="Yon Muniz Yuan (Codelco-Casa Matriz)" userId="S::yyonm001@codelco.cl::f20ca1ac-b253-4f4a-b9a4-571f8a82fa03" providerId="AD" clId="Web-{156B8DBB-02AE-1E09-3C1C-C0715A558074}" dt="2021-02-10T17:55:36.216" v="162" actId="14100"/>
          <ac:picMkLst>
            <pc:docMk/>
            <pc:sldMk cId="2362642791" sldId="471"/>
            <ac:picMk id="7" creationId="{9EA2DE63-6B57-4672-BCFF-5E708F19FE9A}"/>
          </ac:picMkLst>
        </pc:picChg>
      </pc:sldChg>
      <pc:sldChg chg="add replId">
        <pc:chgData name="Yon Muniz Yuan (Codelco-Casa Matriz)" userId="S::yyonm001@codelco.cl::f20ca1ac-b253-4f4a-b9a4-571f8a82fa03" providerId="AD" clId="Web-{156B8DBB-02AE-1E09-3C1C-C0715A558074}" dt="2021-02-10T17:31:39.741" v="2"/>
        <pc:sldMkLst>
          <pc:docMk/>
          <pc:sldMk cId="3681436586" sldId="472"/>
        </pc:sldMkLst>
      </pc:sldChg>
      <pc:sldChg chg="new del">
        <pc:chgData name="Yon Muniz Yuan (Codelco-Casa Matriz)" userId="S::yyonm001@codelco.cl::f20ca1ac-b253-4f4a-b9a4-571f8a82fa03" providerId="AD" clId="Web-{156B8DBB-02AE-1E09-3C1C-C0715A558074}" dt="2021-02-10T17:31:39.319" v="1"/>
        <pc:sldMkLst>
          <pc:docMk/>
          <pc:sldMk cId="4217844537" sldId="472"/>
        </pc:sldMkLst>
      </pc:sldChg>
    </pc:docChg>
  </pc:docChgLst>
  <pc:docChgLst>
    <pc:chgData name="Allende Bustamante Jose (Codelco-Casa Matriz)" userId="S::jalle011@codelco.cl::54345eee-8770-43bf-b080-e3e333067d62" providerId="AD" clId="Web-{372B9EDE-AD47-0846-255C-33404450F80D}"/>
    <pc:docChg chg="modSld">
      <pc:chgData name="Allende Bustamante Jose (Codelco-Casa Matriz)" userId="S::jalle011@codelco.cl::54345eee-8770-43bf-b080-e3e333067d62" providerId="AD" clId="Web-{372B9EDE-AD47-0846-255C-33404450F80D}" dt="2021-03-12T14:03:15.134" v="10" actId="1076"/>
      <pc:docMkLst>
        <pc:docMk/>
      </pc:docMkLst>
      <pc:sldChg chg="delSp modSp">
        <pc:chgData name="Allende Bustamante Jose (Codelco-Casa Matriz)" userId="S::jalle011@codelco.cl::54345eee-8770-43bf-b080-e3e333067d62" providerId="AD" clId="Web-{372B9EDE-AD47-0846-255C-33404450F80D}" dt="2021-03-12T14:03:15.134" v="10" actId="1076"/>
        <pc:sldMkLst>
          <pc:docMk/>
          <pc:sldMk cId="2155997825" sldId="375"/>
        </pc:sldMkLst>
        <pc:spChg chg="mod">
          <ac:chgData name="Allende Bustamante Jose (Codelco-Casa Matriz)" userId="S::jalle011@codelco.cl::54345eee-8770-43bf-b080-e3e333067d62" providerId="AD" clId="Web-{372B9EDE-AD47-0846-255C-33404450F80D}" dt="2021-03-12T14:03:15.134" v="10" actId="1076"/>
          <ac:spMkLst>
            <pc:docMk/>
            <pc:sldMk cId="2155997825" sldId="375"/>
            <ac:spMk id="22" creationId="{7851A235-ED5E-4137-AD50-6F10AD12B65E}"/>
          </ac:spMkLst>
        </pc:spChg>
        <pc:spChg chg="del">
          <ac:chgData name="Allende Bustamante Jose (Codelco-Casa Matriz)" userId="S::jalle011@codelco.cl::54345eee-8770-43bf-b080-e3e333067d62" providerId="AD" clId="Web-{372B9EDE-AD47-0846-255C-33404450F80D}" dt="2021-03-12T14:02:58.852" v="0"/>
          <ac:spMkLst>
            <pc:docMk/>
            <pc:sldMk cId="2155997825" sldId="375"/>
            <ac:spMk id="26" creationId="{4167117C-D342-4F12-A1FC-1CF287B1BE35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7B7E1579-098B-B1C7-80F0-5FE2BDAD6EFB}"/>
    <pc:docChg chg="addSld delSld modSld">
      <pc:chgData name="Mery Carrasco Mauricio (Codelco-Casa Matriz)" userId="S::mmery004@codelco.cl::a0378191-74de-4d59-9b37-aa421303daba" providerId="AD" clId="Web-{7B7E1579-098B-B1C7-80F0-5FE2BDAD6EFB}" dt="2020-10-21T21:09:27.978" v="101" actId="20577"/>
      <pc:docMkLst>
        <pc:docMk/>
      </pc:docMkLst>
      <pc:sldChg chg="modSp">
        <pc:chgData name="Mery Carrasco Mauricio (Codelco-Casa Matriz)" userId="S::mmery004@codelco.cl::a0378191-74de-4d59-9b37-aa421303daba" providerId="AD" clId="Web-{7B7E1579-098B-B1C7-80F0-5FE2BDAD6EFB}" dt="2020-10-21T21:09:27.978" v="101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7B7E1579-098B-B1C7-80F0-5FE2BDAD6EFB}" dt="2020-10-21T21:09:27.978" v="101" actId="20577"/>
          <ac:spMkLst>
            <pc:docMk/>
            <pc:sldMk cId="1259302253" sldId="353"/>
            <ac:spMk id="11" creationId="{DB92C4CF-7AC4-4BFA-9A29-156AEC1C5231}"/>
          </ac:spMkLst>
        </pc:spChg>
      </pc:sldChg>
      <pc:sldChg chg="modSp">
        <pc:chgData name="Mery Carrasco Mauricio (Codelco-Casa Matriz)" userId="S::mmery004@codelco.cl::a0378191-74de-4d59-9b37-aa421303daba" providerId="AD" clId="Web-{7B7E1579-098B-B1C7-80F0-5FE2BDAD6EFB}" dt="2020-10-21T17:52:30.304" v="1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7B7E1579-098B-B1C7-80F0-5FE2BDAD6EFB}" dt="2020-10-21T17:52:30.304" v="1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7B7E1579-098B-B1C7-80F0-5FE2BDAD6EFB}" dt="2020-10-21T17:52:24.523" v="0"/>
          <ac:spMkLst>
            <pc:docMk/>
            <pc:sldMk cId="1544981574" sldId="409"/>
            <ac:spMk id="39" creationId="{92D09D5F-B4BB-4B26-A56A-D76176A78E5D}"/>
          </ac:spMkLst>
        </pc:spChg>
      </pc:sldChg>
      <pc:sldChg chg="del">
        <pc:chgData name="Mery Carrasco Mauricio (Codelco-Casa Matriz)" userId="S::mmery004@codelco.cl::a0378191-74de-4d59-9b37-aa421303daba" providerId="AD" clId="Web-{7B7E1579-098B-B1C7-80F0-5FE2BDAD6EFB}" dt="2020-10-21T17:54:04.947" v="2"/>
        <pc:sldMkLst>
          <pc:docMk/>
          <pc:sldMk cId="1766117240" sldId="412"/>
        </pc:sldMkLst>
      </pc:sldChg>
      <pc:sldChg chg="del">
        <pc:chgData name="Mery Carrasco Mauricio (Codelco-Casa Matriz)" userId="S::mmery004@codelco.cl::a0378191-74de-4d59-9b37-aa421303daba" providerId="AD" clId="Web-{7B7E1579-098B-B1C7-80F0-5FE2BDAD6EFB}" dt="2020-10-21T17:54:18.869" v="3"/>
        <pc:sldMkLst>
          <pc:docMk/>
          <pc:sldMk cId="679191409" sldId="415"/>
        </pc:sldMkLst>
      </pc:sldChg>
      <pc:sldChg chg="addSp modSp">
        <pc:chgData name="Mery Carrasco Mauricio (Codelco-Casa Matriz)" userId="S::mmery004@codelco.cl::a0378191-74de-4d59-9b37-aa421303daba" providerId="AD" clId="Web-{7B7E1579-098B-B1C7-80F0-5FE2BDAD6EFB}" dt="2020-10-21T18:17:05.744" v="83" actId="20577"/>
        <pc:sldMkLst>
          <pc:docMk/>
          <pc:sldMk cId="1943212446" sldId="416"/>
        </pc:sldMkLst>
        <pc:spChg chg="add mod">
          <ac:chgData name="Mery Carrasco Mauricio (Codelco-Casa Matriz)" userId="S::mmery004@codelco.cl::a0378191-74de-4d59-9b37-aa421303daba" providerId="AD" clId="Web-{7B7E1579-098B-B1C7-80F0-5FE2BDAD6EFB}" dt="2020-10-21T18:16:30.931" v="75" actId="1076"/>
          <ac:spMkLst>
            <pc:docMk/>
            <pc:sldMk cId="1943212446" sldId="416"/>
            <ac:spMk id="17" creationId="{9C4C5E3E-6150-4685-BEAC-9E2042B17D9D}"/>
          </ac:spMkLst>
        </pc:spChg>
        <pc:spChg chg="mod">
          <ac:chgData name="Mery Carrasco Mauricio (Codelco-Casa Matriz)" userId="S::mmery004@codelco.cl::a0378191-74de-4d59-9b37-aa421303daba" providerId="AD" clId="Web-{7B7E1579-098B-B1C7-80F0-5FE2BDAD6EFB}" dt="2020-10-21T18:13:41.349" v="5" actId="20577"/>
          <ac:spMkLst>
            <pc:docMk/>
            <pc:sldMk cId="1943212446" sldId="416"/>
            <ac:spMk id="19" creationId="{5FADE6A6-F5F6-452E-946A-0E028B615A0C}"/>
          </ac:spMkLst>
        </pc:spChg>
        <pc:spChg chg="mod">
          <ac:chgData name="Mery Carrasco Mauricio (Codelco-Casa Matriz)" userId="S::mmery004@codelco.cl::a0378191-74de-4d59-9b37-aa421303daba" providerId="AD" clId="Web-{7B7E1579-098B-B1C7-80F0-5FE2BDAD6EFB}" dt="2020-10-21T18:14:18.115" v="11" actId="1076"/>
          <ac:spMkLst>
            <pc:docMk/>
            <pc:sldMk cId="1943212446" sldId="416"/>
            <ac:spMk id="21" creationId="{47BF84C7-D781-40EF-974A-075B81C4D6EA}"/>
          </ac:spMkLst>
        </pc:spChg>
        <pc:spChg chg="mod">
          <ac:chgData name="Mery Carrasco Mauricio (Codelco-Casa Matriz)" userId="S::mmery004@codelco.cl::a0378191-74de-4d59-9b37-aa421303daba" providerId="AD" clId="Web-{7B7E1579-098B-B1C7-80F0-5FE2BDAD6EFB}" dt="2020-10-21T18:15:27.586" v="18" actId="1076"/>
          <ac:spMkLst>
            <pc:docMk/>
            <pc:sldMk cId="1943212446" sldId="416"/>
            <ac:spMk id="23" creationId="{34783812-D5C5-4EAE-BBD6-2A669B28AF9A}"/>
          </ac:spMkLst>
        </pc:spChg>
        <pc:spChg chg="mod">
          <ac:chgData name="Mery Carrasco Mauricio (Codelco-Casa Matriz)" userId="S::mmery004@codelco.cl::a0378191-74de-4d59-9b37-aa421303daba" providerId="AD" clId="Web-{7B7E1579-098B-B1C7-80F0-5FE2BDAD6EFB}" dt="2020-10-21T18:17:05.744" v="83" actId="20577"/>
          <ac:spMkLst>
            <pc:docMk/>
            <pc:sldMk cId="1943212446" sldId="416"/>
            <ac:spMk id="26" creationId="{C05AF7CA-BE06-4010-A753-779C63F68D58}"/>
          </ac:spMkLst>
        </pc:spChg>
        <pc:picChg chg="mod">
          <ac:chgData name="Mery Carrasco Mauricio (Codelco-Casa Matriz)" userId="S::mmery004@codelco.cl::a0378191-74de-4d59-9b37-aa421303daba" providerId="AD" clId="Web-{7B7E1579-098B-B1C7-80F0-5FE2BDAD6EFB}" dt="2020-10-21T18:15:27.601" v="20" actId="1076"/>
          <ac:picMkLst>
            <pc:docMk/>
            <pc:sldMk cId="1943212446" sldId="416"/>
            <ac:picMk id="31" creationId="{79A86409-F2AE-4C66-A314-A95CD5150CC0}"/>
          </ac:picMkLst>
        </pc:picChg>
        <pc:picChg chg="mod">
          <ac:chgData name="Mery Carrasco Mauricio (Codelco-Casa Matriz)" userId="S::mmery004@codelco.cl::a0378191-74de-4d59-9b37-aa421303daba" providerId="AD" clId="Web-{7B7E1579-098B-B1C7-80F0-5FE2BDAD6EFB}" dt="2020-10-21T18:14:18.115" v="13" actId="1076"/>
          <ac:picMkLst>
            <pc:docMk/>
            <pc:sldMk cId="1943212446" sldId="416"/>
            <ac:picMk id="35" creationId="{BD08EC01-76F8-4960-9B30-2478BE52BB25}"/>
          </ac:picMkLst>
        </pc:picChg>
        <pc:cxnChg chg="mod">
          <ac:chgData name="Mery Carrasco Mauricio (Codelco-Casa Matriz)" userId="S::mmery004@codelco.cl::a0378191-74de-4d59-9b37-aa421303daba" providerId="AD" clId="Web-{7B7E1579-098B-B1C7-80F0-5FE2BDAD6EFB}" dt="2020-10-21T18:15:27.586" v="19" actId="1076"/>
          <ac:cxnSpMkLst>
            <pc:docMk/>
            <pc:sldMk cId="1943212446" sldId="416"/>
            <ac:cxnSpMk id="28" creationId="{B3B53E14-0876-408C-885C-2571893594E4}"/>
          </ac:cxnSpMkLst>
        </pc:cxnChg>
        <pc:cxnChg chg="mod">
          <ac:chgData name="Mery Carrasco Mauricio (Codelco-Casa Matriz)" userId="S::mmery004@codelco.cl::a0378191-74de-4d59-9b37-aa421303daba" providerId="AD" clId="Web-{7B7E1579-098B-B1C7-80F0-5FE2BDAD6EFB}" dt="2020-10-21T18:14:18.115" v="12" actId="1076"/>
          <ac:cxnSpMkLst>
            <pc:docMk/>
            <pc:sldMk cId="1943212446" sldId="416"/>
            <ac:cxnSpMk id="29" creationId="{F93CC079-6C0B-4C84-88CB-822C36E0822B}"/>
          </ac:cxnSpMkLst>
        </pc:cxnChg>
      </pc:sldChg>
      <pc:sldChg chg="add del replId">
        <pc:chgData name="Mery Carrasco Mauricio (Codelco-Casa Matriz)" userId="S::mmery004@codelco.cl::a0378191-74de-4d59-9b37-aa421303daba" providerId="AD" clId="Web-{7B7E1579-098B-B1C7-80F0-5FE2BDAD6EFB}" dt="2020-10-21T21:09:26.978" v="90"/>
        <pc:sldMkLst>
          <pc:docMk/>
          <pc:sldMk cId="243017600" sldId="419"/>
        </pc:sldMkLst>
      </pc:sldChg>
      <pc:sldChg chg="add del replId">
        <pc:chgData name="Mery Carrasco Mauricio (Codelco-Casa Matriz)" userId="S::mmery004@codelco.cl::a0378191-74de-4d59-9b37-aa421303daba" providerId="AD" clId="Web-{7B7E1579-098B-B1C7-80F0-5FE2BDAD6EFB}" dt="2020-10-21T21:09:26.931" v="89"/>
        <pc:sldMkLst>
          <pc:docMk/>
          <pc:sldMk cId="201535418" sldId="420"/>
        </pc:sldMkLst>
      </pc:sldChg>
    </pc:docChg>
  </pc:docChgLst>
  <pc:docChgLst>
    <pc:chgData name="Mery Carrasco Mauricio (Codelco-Casa Matriz)" userId="S::mmery004@codelco.cl::a0378191-74de-4d59-9b37-aa421303daba" providerId="AD" clId="Web-{1476C414-C1B1-BBC8-0D37-C207584398DA}"/>
    <pc:docChg chg="modSld">
      <pc:chgData name="Mery Carrasco Mauricio (Codelco-Casa Matriz)" userId="S::mmery004@codelco.cl::a0378191-74de-4d59-9b37-aa421303daba" providerId="AD" clId="Web-{1476C414-C1B1-BBC8-0D37-C207584398DA}" dt="2020-11-05T14:55:35.275" v="42"/>
      <pc:docMkLst>
        <pc:docMk/>
      </pc:docMkLst>
      <pc:sldChg chg="addSp delSp modSp">
        <pc:chgData name="Mery Carrasco Mauricio (Codelco-Casa Matriz)" userId="S::mmery004@codelco.cl::a0378191-74de-4d59-9b37-aa421303daba" providerId="AD" clId="Web-{1476C414-C1B1-BBC8-0D37-C207584398DA}" dt="2020-11-05T14:55:35.275" v="42"/>
        <pc:sldMkLst>
          <pc:docMk/>
          <pc:sldMk cId="922379868" sldId="417"/>
        </pc:sldMkLst>
        <pc:spChg chg="mod ord">
          <ac:chgData name="Mery Carrasco Mauricio (Codelco-Casa Matriz)" userId="S::mmery004@codelco.cl::a0378191-74de-4d59-9b37-aa421303daba" providerId="AD" clId="Web-{1476C414-C1B1-BBC8-0D37-C207584398DA}" dt="2020-11-05T14:54:15.367" v="26" actId="1076"/>
          <ac:spMkLst>
            <pc:docMk/>
            <pc:sldMk cId="922379868" sldId="417"/>
            <ac:spMk id="13" creationId="{4FD24CCA-6F96-46C3-81F3-7DADB849CDFF}"/>
          </ac:spMkLst>
        </pc:spChg>
        <pc:spChg chg="mod ord">
          <ac:chgData name="Mery Carrasco Mauricio (Codelco-Casa Matriz)" userId="S::mmery004@codelco.cl::a0378191-74de-4d59-9b37-aa421303daba" providerId="AD" clId="Web-{1476C414-C1B1-BBC8-0D37-C207584398DA}" dt="2020-11-05T14:54:21.867" v="28" actId="1076"/>
          <ac:spMkLst>
            <pc:docMk/>
            <pc:sldMk cId="922379868" sldId="417"/>
            <ac:spMk id="16" creationId="{288A759B-0B8A-4F46-BF71-34CCD901A824}"/>
          </ac:spMkLst>
        </pc:spChg>
        <pc:spChg chg="mod ord">
          <ac:chgData name="Mery Carrasco Mauricio (Codelco-Casa Matriz)" userId="S::mmery004@codelco.cl::a0378191-74de-4d59-9b37-aa421303daba" providerId="AD" clId="Web-{1476C414-C1B1-BBC8-0D37-C207584398DA}" dt="2020-11-05T14:54:28.524" v="31" actId="1076"/>
          <ac:spMkLst>
            <pc:docMk/>
            <pc:sldMk cId="922379868" sldId="417"/>
            <ac:spMk id="17" creationId="{005BF2ED-9B92-4883-86E3-DC1C67775429}"/>
          </ac:spMkLst>
        </pc:spChg>
        <pc:spChg chg="mod ord">
          <ac:chgData name="Mery Carrasco Mauricio (Codelco-Casa Matriz)" userId="S::mmery004@codelco.cl::a0378191-74de-4d59-9b37-aa421303daba" providerId="AD" clId="Web-{1476C414-C1B1-BBC8-0D37-C207584398DA}" dt="2020-11-05T14:55:23.150" v="41" actId="1076"/>
          <ac:spMkLst>
            <pc:docMk/>
            <pc:sldMk cId="922379868" sldId="417"/>
            <ac:spMk id="18" creationId="{2448FD86-7276-4262-A90A-16DC1238A78A}"/>
          </ac:spMkLst>
        </pc:spChg>
        <pc:spChg chg="add">
          <ac:chgData name="Mery Carrasco Mauricio (Codelco-Casa Matriz)" userId="S::mmery004@codelco.cl::a0378191-74de-4d59-9b37-aa421303daba" providerId="AD" clId="Web-{1476C414-C1B1-BBC8-0D37-C207584398DA}" dt="2020-11-05T14:54:42.133" v="34"/>
          <ac:spMkLst>
            <pc:docMk/>
            <pc:sldMk cId="922379868" sldId="417"/>
            <ac:spMk id="19" creationId="{E2FFF1BD-6719-4DDA-89E6-C1A32984690F}"/>
          </ac:spMkLst>
        </pc:spChg>
        <pc:spChg chg="add">
          <ac:chgData name="Mery Carrasco Mauricio (Codelco-Casa Matriz)" userId="S::mmery004@codelco.cl::a0378191-74de-4d59-9b37-aa421303daba" providerId="AD" clId="Web-{1476C414-C1B1-BBC8-0D37-C207584398DA}" dt="2020-11-05T14:54:55.884" v="35"/>
          <ac:spMkLst>
            <pc:docMk/>
            <pc:sldMk cId="922379868" sldId="417"/>
            <ac:spMk id="20" creationId="{E2FFF1BD-6719-4DDA-89E6-C1A32984690F}"/>
          </ac:spMkLst>
        </pc:spChg>
        <pc:spChg chg="add">
          <ac:chgData name="Mery Carrasco Mauricio (Codelco-Casa Matriz)" userId="S::mmery004@codelco.cl::a0378191-74de-4d59-9b37-aa421303daba" providerId="AD" clId="Web-{1476C414-C1B1-BBC8-0D37-C207584398DA}" dt="2020-11-05T14:55:02.431" v="36"/>
          <ac:spMkLst>
            <pc:docMk/>
            <pc:sldMk cId="922379868" sldId="417"/>
            <ac:spMk id="21" creationId="{E2FFF1BD-6719-4DDA-89E6-C1A32984690F}"/>
          </ac:spMkLst>
        </pc:spChg>
        <pc:spChg chg="add">
          <ac:chgData name="Mery Carrasco Mauricio (Codelco-Casa Matriz)" userId="S::mmery004@codelco.cl::a0378191-74de-4d59-9b37-aa421303daba" providerId="AD" clId="Web-{1476C414-C1B1-BBC8-0D37-C207584398DA}" dt="2020-11-05T14:55:21.697" v="40"/>
          <ac:spMkLst>
            <pc:docMk/>
            <pc:sldMk cId="922379868" sldId="417"/>
            <ac:spMk id="22" creationId="{E2FFF1BD-6719-4DDA-89E6-C1A32984690F}"/>
          </ac:spMkLst>
        </pc:spChg>
        <pc:spChg chg="add">
          <ac:chgData name="Mery Carrasco Mauricio (Codelco-Casa Matriz)" userId="S::mmery004@codelco.cl::a0378191-74de-4d59-9b37-aa421303daba" providerId="AD" clId="Web-{1476C414-C1B1-BBC8-0D37-C207584398DA}" dt="2020-11-05T14:55:35.275" v="42"/>
          <ac:spMkLst>
            <pc:docMk/>
            <pc:sldMk cId="922379868" sldId="417"/>
            <ac:spMk id="23" creationId="{E2FFF1BD-6719-4DDA-89E6-C1A32984690F}"/>
          </ac:spMkLst>
        </pc:spChg>
        <pc:picChg chg="del">
          <ac:chgData name="Mery Carrasco Mauricio (Codelco-Casa Matriz)" userId="S::mmery004@codelco.cl::a0378191-74de-4d59-9b37-aa421303daba" providerId="AD" clId="Web-{1476C414-C1B1-BBC8-0D37-C207584398DA}" dt="2020-11-05T14:50:19.846" v="0"/>
          <ac:picMkLst>
            <pc:docMk/>
            <pc:sldMk cId="922379868" sldId="417"/>
            <ac:picMk id="3" creationId="{50A9A1A4-716D-43DF-8B04-B1979F1861E4}"/>
          </ac:picMkLst>
        </pc:picChg>
        <pc:picChg chg="del mod">
          <ac:chgData name="Mery Carrasco Mauricio (Codelco-Casa Matriz)" userId="S::mmery004@codelco.cl::a0378191-74de-4d59-9b37-aa421303daba" providerId="AD" clId="Web-{1476C414-C1B1-BBC8-0D37-C207584398DA}" dt="2020-11-05T14:52:54.396" v="9"/>
          <ac:picMkLst>
            <pc:docMk/>
            <pc:sldMk cId="922379868" sldId="417"/>
            <ac:picMk id="4" creationId="{02455B6D-166B-478A-A49A-19E2C6851934}"/>
          </ac:picMkLst>
        </pc:picChg>
        <pc:picChg chg="add mod">
          <ac:chgData name="Mery Carrasco Mauricio (Codelco-Casa Matriz)" userId="S::mmery004@codelco.cl::a0378191-74de-4d59-9b37-aa421303daba" providerId="AD" clId="Web-{1476C414-C1B1-BBC8-0D37-C207584398DA}" dt="2020-11-05T14:50:50.003" v="5"/>
          <ac:picMkLst>
            <pc:docMk/>
            <pc:sldMk cId="922379868" sldId="417"/>
            <ac:picMk id="6" creationId="{858E5747-B117-4B7D-A68C-A9EB699E43EF}"/>
          </ac:picMkLst>
        </pc:picChg>
        <pc:picChg chg="mod ord">
          <ac:chgData name="Mery Carrasco Mauricio (Codelco-Casa Matriz)" userId="S::mmery004@codelco.cl::a0378191-74de-4d59-9b37-aa421303daba" providerId="AD" clId="Web-{1476C414-C1B1-BBC8-0D37-C207584398DA}" dt="2020-11-05T14:54:14.023" v="25" actId="1076"/>
          <ac:picMkLst>
            <pc:docMk/>
            <pc:sldMk cId="922379868" sldId="417"/>
            <ac:picMk id="7" creationId="{E1385C3C-87D7-492D-8FA5-0112E3DB49F8}"/>
          </ac:picMkLst>
        </pc:picChg>
        <pc:picChg chg="add mod">
          <ac:chgData name="Mery Carrasco Mauricio (Codelco-Casa Matriz)" userId="S::mmery004@codelco.cl::a0378191-74de-4d59-9b37-aa421303daba" providerId="AD" clId="Web-{1476C414-C1B1-BBC8-0D37-C207584398DA}" dt="2020-11-05T14:55:09.603" v="38" actId="1076"/>
          <ac:picMkLst>
            <pc:docMk/>
            <pc:sldMk cId="922379868" sldId="417"/>
            <ac:picMk id="8" creationId="{B54ABE1D-1841-4F71-AB41-3BF502378D5F}"/>
          </ac:picMkLst>
        </pc:picChg>
      </pc:sldChg>
    </pc:docChg>
  </pc:docChgLst>
  <pc:docChgLst>
    <pc:chgData name="Valenzuela Alfaro Alvaro (Codelco-Casa Matriz)" userId="S::avale036@codelco.cl::beebaec1-f16e-436d-a3cd-8566efe3ac18" providerId="AD" clId="Web-{D31A0626-7B36-EBF9-B662-09BB0B6EEBCC}"/>
    <pc:docChg chg="modSld">
      <pc:chgData name="Valenzuela Alfaro Alvaro (Codelco-Casa Matriz)" userId="S::avale036@codelco.cl::beebaec1-f16e-436d-a3cd-8566efe3ac18" providerId="AD" clId="Web-{D31A0626-7B36-EBF9-B662-09BB0B6EEBCC}" dt="2021-02-10T21:29:16.806" v="2" actId="1076"/>
      <pc:docMkLst>
        <pc:docMk/>
      </pc:docMkLst>
      <pc:sldChg chg="addSp modSp">
        <pc:chgData name="Valenzuela Alfaro Alvaro (Codelco-Casa Matriz)" userId="S::avale036@codelco.cl::beebaec1-f16e-436d-a3cd-8566efe3ac18" providerId="AD" clId="Web-{D31A0626-7B36-EBF9-B662-09BB0B6EEBCC}" dt="2021-02-10T21:29:16.806" v="2" actId="1076"/>
        <pc:sldMkLst>
          <pc:docMk/>
          <pc:sldMk cId="1357916913" sldId="474"/>
        </pc:sldMkLst>
        <pc:picChg chg="add mod">
          <ac:chgData name="Valenzuela Alfaro Alvaro (Codelco-Casa Matriz)" userId="S::avale036@codelco.cl::beebaec1-f16e-436d-a3cd-8566efe3ac18" providerId="AD" clId="Web-{D31A0626-7B36-EBF9-B662-09BB0B6EEBCC}" dt="2021-02-10T21:28:36.694" v="1" actId="1076"/>
          <ac:picMkLst>
            <pc:docMk/>
            <pc:sldMk cId="1357916913" sldId="474"/>
            <ac:picMk id="10" creationId="{E0A4A585-8F85-42FE-B476-3EB445A1C28A}"/>
          </ac:picMkLst>
        </pc:picChg>
        <pc:picChg chg="mod">
          <ac:chgData name="Valenzuela Alfaro Alvaro (Codelco-Casa Matriz)" userId="S::avale036@codelco.cl::beebaec1-f16e-436d-a3cd-8566efe3ac18" providerId="AD" clId="Web-{D31A0626-7B36-EBF9-B662-09BB0B6EEBCC}" dt="2021-02-10T21:29:16.806" v="2" actId="1076"/>
          <ac:picMkLst>
            <pc:docMk/>
            <pc:sldMk cId="1357916913" sldId="474"/>
            <ac:picMk id="16" creationId="{E0A4A585-8F85-42FE-B476-3EB445A1C28A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9C448F00-BC41-2127-C519-6A162AE3F473}"/>
    <pc:docChg chg="modSld">
      <pc:chgData name="Mery Carrasco Mauricio (Codelco-Casa Matriz)" userId="S::mmery004@codelco.cl::a0378191-74de-4d59-9b37-aa421303daba" providerId="AD" clId="Web-{9C448F00-BC41-2127-C519-6A162AE3F473}" dt="2020-10-20T15:18:24.324" v="197" actId="20577"/>
      <pc:docMkLst>
        <pc:docMk/>
      </pc:docMkLst>
      <pc:sldChg chg="addSp modSp">
        <pc:chgData name="Mery Carrasco Mauricio (Codelco-Casa Matriz)" userId="S::mmery004@codelco.cl::a0378191-74de-4d59-9b37-aa421303daba" providerId="AD" clId="Web-{9C448F00-BC41-2127-C519-6A162AE3F473}" dt="2020-10-20T15:18:24.277" v="195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9C448F00-BC41-2127-C519-6A162AE3F473}" dt="2020-10-20T11:41:42.166" v="51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42.166" v="52" actId="1076"/>
          <ac:spMkLst>
            <pc:docMk/>
            <pc:sldMk cId="2155997825" sldId="375"/>
            <ac:spMk id="4" creationId="{4E905CBF-F1FF-48C4-AF2B-075028B38C41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5:03.077" v="123" actId="20577"/>
          <ac:spMkLst>
            <pc:docMk/>
            <pc:sldMk cId="2155997825" sldId="375"/>
            <ac:spMk id="7" creationId="{365F5537-F043-4BA8-93B5-8EA186B36807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7.947" v="31" actId="1076"/>
          <ac:spMkLst>
            <pc:docMk/>
            <pc:sldMk cId="2155997825" sldId="375"/>
            <ac:spMk id="17" creationId="{92D7D665-E910-49F2-B784-B5B031CE0DE9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7.963" v="32" actId="1076"/>
          <ac:spMkLst>
            <pc:docMk/>
            <pc:sldMk cId="2155997825" sldId="375"/>
            <ac:spMk id="18" creationId="{B682D45E-A165-4DDC-8609-A871608E67E5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3:51.372" v="102" actId="20577"/>
          <ac:spMkLst>
            <pc:docMk/>
            <pc:sldMk cId="2155997825" sldId="375"/>
            <ac:spMk id="22" creationId="{C9F67157-B4B0-4E11-948A-871ED70FEE82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7.978" v="34" actId="1076"/>
          <ac:spMkLst>
            <pc:docMk/>
            <pc:sldMk cId="2155997825" sldId="375"/>
            <ac:spMk id="23" creationId="{6E3C5789-D466-4ACE-84FA-B4ECD89F2811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1:28.072" v="48" actId="1076"/>
          <ac:spMkLst>
            <pc:docMk/>
            <pc:sldMk cId="2155997825" sldId="375"/>
            <ac:spMk id="24" creationId="{3AEE07E5-D518-4FC9-8E20-C4CFB2B91087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1:28.072" v="47" actId="1076"/>
          <ac:spMkLst>
            <pc:docMk/>
            <pc:sldMk cId="2155997825" sldId="375"/>
            <ac:spMk id="25" creationId="{E80B0A98-231F-4399-BCC9-B37E9E64DDBC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2:59.855" v="78" actId="20577"/>
          <ac:spMkLst>
            <pc:docMk/>
            <pc:sldMk cId="2155997825" sldId="375"/>
            <ac:spMk id="26" creationId="{F8467257-695B-40ED-A06B-C2A2DB0B6903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2:07.432" v="60" actId="1076"/>
          <ac:spMkLst>
            <pc:docMk/>
            <pc:sldMk cId="2155997825" sldId="375"/>
            <ac:spMk id="27" creationId="{EFEBEA8E-D779-4C32-B22F-3A9C1BC4D9B8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5:12.764" v="127" actId="20577"/>
          <ac:spMkLst>
            <pc:docMk/>
            <pc:sldMk cId="2155997825" sldId="375"/>
            <ac:spMk id="28" creationId="{756090BE-EB41-4EE4-848B-7D361616FC6C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6:24.719" v="149" actId="20577"/>
          <ac:spMkLst>
            <pc:docMk/>
            <pc:sldMk cId="2155997825" sldId="375"/>
            <ac:spMk id="29" creationId="{86211927-2F83-4739-AF89-8E874D23A3B0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5:27.780" v="133" actId="1076"/>
          <ac:spMkLst>
            <pc:docMk/>
            <pc:sldMk cId="2155997825" sldId="375"/>
            <ac:spMk id="30" creationId="{6612FF36-080A-41C2-9B36-CA83A14D4CC6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6:01.140" v="147" actId="20577"/>
          <ac:spMkLst>
            <pc:docMk/>
            <pc:sldMk cId="2155997825" sldId="375"/>
            <ac:spMk id="31" creationId="{24493FDB-8748-48AC-9C1E-26039568AB51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2:02.635" v="57" actId="1076"/>
          <ac:spMkLst>
            <pc:docMk/>
            <pc:sldMk cId="2155997825" sldId="375"/>
            <ac:spMk id="32" creationId="{82B42E50-48FB-4CE6-8AB7-5D13CD340862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2:02.635" v="58" actId="1076"/>
          <ac:spMkLst>
            <pc:docMk/>
            <pc:sldMk cId="2155997825" sldId="375"/>
            <ac:spMk id="33" creationId="{EBE4732C-C280-4027-BC02-9C68FE288285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6:44.938" v="162" actId="20577"/>
          <ac:spMkLst>
            <pc:docMk/>
            <pc:sldMk cId="2155997825" sldId="375"/>
            <ac:spMk id="34" creationId="{94882F7D-BE97-41DF-B498-BE9984F1B6A9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7:01.017" v="169" actId="20577"/>
          <ac:spMkLst>
            <pc:docMk/>
            <pc:sldMk cId="2155997825" sldId="375"/>
            <ac:spMk id="35" creationId="{16CC1F9C-33C0-4E1D-9AB1-DEE805D68F80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5:18:24.277" v="195" actId="20577"/>
          <ac:spMkLst>
            <pc:docMk/>
            <pc:sldMk cId="2155997825" sldId="375"/>
            <ac:spMk id="36" creationId="{9B6AB06B-1B00-48B5-9654-6DA754EF3D63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3:19.840" v="85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7.994" v="38" actId="1076"/>
          <ac:spMkLst>
            <pc:docMk/>
            <pc:sldMk cId="2155997825" sldId="375"/>
            <ac:spMk id="38" creationId="{E36C8C52-B31C-4588-B407-A9B8FBEAEE6F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7:42.861" v="188" actId="1076"/>
          <ac:spMkLst>
            <pc:docMk/>
            <pc:sldMk cId="2155997825" sldId="375"/>
            <ac:spMk id="39" creationId="{0DA23FCB-6B47-4800-AAEB-A4F1A32DC6F4}"/>
          </ac:spMkLst>
        </pc:spChg>
        <pc:spChg chg="add mod">
          <ac:chgData name="Mery Carrasco Mauricio (Codelco-Casa Matriz)" userId="S::mmery004@codelco.cl::a0378191-74de-4d59-9b37-aa421303daba" providerId="AD" clId="Web-{9C448F00-BC41-2127-C519-6A162AE3F473}" dt="2020-10-20T11:48:17.065" v="194" actId="14100"/>
          <ac:spMkLst>
            <pc:docMk/>
            <pc:sldMk cId="2155997825" sldId="375"/>
            <ac:spMk id="40" creationId="{D67E14A1-6560-4682-BFAD-9236B8CC9C23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3:34.637" v="90" actId="20577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8.010" v="39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8.010" v="40" actId="1076"/>
          <ac:spMkLst>
            <pc:docMk/>
            <pc:sldMk cId="2155997825" sldId="37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8.056" v="46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8.025" v="41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9C448F00-BC41-2127-C519-6A162AE3F473}" dt="2020-10-20T11:41:28.025" v="42" actId="1076"/>
          <ac:spMkLst>
            <pc:docMk/>
            <pc:sldMk cId="2155997825" sldId="375"/>
            <ac:spMk id="48" creationId="{62444E91-07F2-4258-A080-F0F76AFF8F81}"/>
          </ac:spMkLst>
        </pc:spChg>
      </pc:sldChg>
    </pc:docChg>
  </pc:docChgLst>
  <pc:docChgLst>
    <pc:chgData name="Jerez Ortiz Alonso (Codelco-Casa Matriz)" userId="S::ajere002@codelco.cl::0a270fae-b3c5-4943-ba4f-0e2dd2800d21" providerId="AD" clId="Web-{BD3BF8C1-9AA7-4B8E-90DB-B86284761F14}"/>
    <pc:docChg chg="modSld">
      <pc:chgData name="Jerez Ortiz Alonso (Codelco-Casa Matriz)" userId="S::ajere002@codelco.cl::0a270fae-b3c5-4943-ba4f-0e2dd2800d21" providerId="AD" clId="Web-{BD3BF8C1-9AA7-4B8E-90DB-B86284761F14}" dt="2021-08-04T15:16:16.541" v="51" actId="1076"/>
      <pc:docMkLst>
        <pc:docMk/>
      </pc:docMkLst>
      <pc:sldChg chg="modSp">
        <pc:chgData name="Jerez Ortiz Alonso (Codelco-Casa Matriz)" userId="S::ajere002@codelco.cl::0a270fae-b3c5-4943-ba4f-0e2dd2800d21" providerId="AD" clId="Web-{BD3BF8C1-9AA7-4B8E-90DB-B86284761F14}" dt="2021-08-04T15:16:16.541" v="51" actId="1076"/>
        <pc:sldMkLst>
          <pc:docMk/>
          <pc:sldMk cId="513596260" sldId="564"/>
        </pc:sldMkLst>
        <pc:spChg chg="mod">
          <ac:chgData name="Jerez Ortiz Alonso (Codelco-Casa Matriz)" userId="S::ajere002@codelco.cl::0a270fae-b3c5-4943-ba4f-0e2dd2800d21" providerId="AD" clId="Web-{BD3BF8C1-9AA7-4B8E-90DB-B86284761F14}" dt="2021-08-04T15:15:39.619" v="49" actId="20577"/>
          <ac:spMkLst>
            <pc:docMk/>
            <pc:sldMk cId="513596260" sldId="564"/>
            <ac:spMk id="2" creationId="{595D8838-B65C-4C27-A946-FCFF32FE8E92}"/>
          </ac:spMkLst>
        </pc:spChg>
        <pc:spChg chg="mod">
          <ac:chgData name="Jerez Ortiz Alonso (Codelco-Casa Matriz)" userId="S::ajere002@codelco.cl::0a270fae-b3c5-4943-ba4f-0e2dd2800d21" providerId="AD" clId="Web-{BD3BF8C1-9AA7-4B8E-90DB-B86284761F14}" dt="2021-08-04T15:16:16.541" v="51" actId="1076"/>
          <ac:spMkLst>
            <pc:docMk/>
            <pc:sldMk cId="513596260" sldId="564"/>
            <ac:spMk id="3" creationId="{55BD6A77-E381-42C4-BC01-0615CFD7C15D}"/>
          </ac:spMkLst>
        </pc:spChg>
        <pc:picChg chg="mod">
          <ac:chgData name="Jerez Ortiz Alonso (Codelco-Casa Matriz)" userId="S::ajere002@codelco.cl::0a270fae-b3c5-4943-ba4f-0e2dd2800d21" providerId="AD" clId="Web-{BD3BF8C1-9AA7-4B8E-90DB-B86284761F14}" dt="2021-08-04T15:11:14.299" v="30" actId="1076"/>
          <ac:picMkLst>
            <pc:docMk/>
            <pc:sldMk cId="513596260" sldId="564"/>
            <ac:picMk id="9" creationId="{75F5CDB7-219A-4EBE-9BA7-3FC5094497D7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AFBEC99F-00D8-0000-C3F1-02EF49633EF2}"/>
    <pc:docChg chg="modSld">
      <pc:chgData name="Carrillo Rojas Daniela (Codelco-Chuquicamata)" userId="S::dcarr014@codelco.cl::b6c6fc0c-fc39-4bf0-8e9d-fb82d681f847" providerId="AD" clId="Web-{AFBEC99F-00D8-0000-C3F1-02EF49633EF2}" dt="2021-05-20T14:26:39.988" v="399" actId="1076"/>
      <pc:docMkLst>
        <pc:docMk/>
      </pc:docMkLst>
      <pc:sldChg chg="addSp delSp modSp addCm delCm">
        <pc:chgData name="Carrillo Rojas Daniela (Codelco-Chuquicamata)" userId="S::dcarr014@codelco.cl::b6c6fc0c-fc39-4bf0-8e9d-fb82d681f847" providerId="AD" clId="Web-{AFBEC99F-00D8-0000-C3F1-02EF49633EF2}" dt="2021-05-20T14:26:39.988" v="399" actId="1076"/>
        <pc:sldMkLst>
          <pc:docMk/>
          <pc:sldMk cId="2744369828" sldId="522"/>
        </pc:sldMkLst>
        <pc:spChg chg="mod">
          <ac:chgData name="Carrillo Rojas Daniela (Codelco-Chuquicamata)" userId="S::dcarr014@codelco.cl::b6c6fc0c-fc39-4bf0-8e9d-fb82d681f847" providerId="AD" clId="Web-{AFBEC99F-00D8-0000-C3F1-02EF49633EF2}" dt="2021-05-20T14:20:27.603" v="299" actId="20577"/>
          <ac:spMkLst>
            <pc:docMk/>
            <pc:sldMk cId="2744369828" sldId="522"/>
            <ac:spMk id="2" creationId="{CF922BC9-4CC6-4ABC-8B00-9C998719CA88}"/>
          </ac:spMkLst>
        </pc:spChg>
        <pc:spChg chg="mod">
          <ac:chgData name="Carrillo Rojas Daniela (Codelco-Chuquicamata)" userId="S::dcarr014@codelco.cl::b6c6fc0c-fc39-4bf0-8e9d-fb82d681f847" providerId="AD" clId="Web-{AFBEC99F-00D8-0000-C3F1-02EF49633EF2}" dt="2021-05-20T14:20:32.603" v="300" actId="1076"/>
          <ac:spMkLst>
            <pc:docMk/>
            <pc:sldMk cId="2744369828" sldId="522"/>
            <ac:spMk id="3" creationId="{FF48D6DC-F862-479E-8B37-EB01915385B4}"/>
          </ac:spMkLst>
        </pc:spChg>
        <pc:spChg chg="mod">
          <ac:chgData name="Carrillo Rojas Daniela (Codelco-Chuquicamata)" userId="S::dcarr014@codelco.cl::b6c6fc0c-fc39-4bf0-8e9d-fb82d681f847" providerId="AD" clId="Web-{AFBEC99F-00D8-0000-C3F1-02EF49633EF2}" dt="2021-05-20T14:19:43.946" v="289" actId="1076"/>
          <ac:spMkLst>
            <pc:docMk/>
            <pc:sldMk cId="2744369828" sldId="522"/>
            <ac:spMk id="5" creationId="{784B8CA5-49E2-4475-A3D0-1140D637CEE6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1:28.886" v="310" actId="1076"/>
          <ac:spMkLst>
            <pc:docMk/>
            <pc:sldMk cId="2744369828" sldId="522"/>
            <ac:spMk id="16" creationId="{99F2EA80-3326-442F-A64C-66C58EFD75C2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5:44.174" v="379" actId="20577"/>
          <ac:spMkLst>
            <pc:docMk/>
            <pc:sldMk cId="2744369828" sldId="522"/>
            <ac:spMk id="17" creationId="{24E5D8E8-0282-4F37-AB28-1CCE0714F662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5:55.158" v="385" actId="20577"/>
          <ac:spMkLst>
            <pc:docMk/>
            <pc:sldMk cId="2744369828" sldId="522"/>
            <ac:spMk id="18" creationId="{5C2226D3-8A2D-4FF6-9425-19CA4ED90FAC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6:06.331" v="386" actId="1076"/>
          <ac:spMkLst>
            <pc:docMk/>
            <pc:sldMk cId="2744369828" sldId="522"/>
            <ac:spMk id="19" creationId="{7FBD638C-C3CF-4017-B21A-B70DBB59B88B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5:44.611" v="384" actId="20577"/>
          <ac:spMkLst>
            <pc:docMk/>
            <pc:sldMk cId="2744369828" sldId="522"/>
            <ac:spMk id="20" creationId="{0838E0C6-7554-443C-9719-76782D500D7B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6:19.284" v="391" actId="1076"/>
          <ac:spMkLst>
            <pc:docMk/>
            <pc:sldMk cId="2744369828" sldId="522"/>
            <ac:spMk id="21" creationId="{EFE9E213-9A4D-486F-86BB-73ABAD41849E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6:31.050" v="397" actId="1076"/>
          <ac:spMkLst>
            <pc:docMk/>
            <pc:sldMk cId="2744369828" sldId="522"/>
            <ac:spMk id="22" creationId="{B23172C1-8766-40CB-BF1C-F13DDD4C4025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6:35.941" v="398" actId="1076"/>
          <ac:spMkLst>
            <pc:docMk/>
            <pc:sldMk cId="2744369828" sldId="522"/>
            <ac:spMk id="23" creationId="{2EEEA711-C727-498C-9807-ADDDB5D90C11}"/>
          </ac:spMkLst>
        </pc:spChg>
        <pc:spChg chg="add mod">
          <ac:chgData name="Carrillo Rojas Daniela (Codelco-Chuquicamata)" userId="S::dcarr014@codelco.cl::b6c6fc0c-fc39-4bf0-8e9d-fb82d681f847" providerId="AD" clId="Web-{AFBEC99F-00D8-0000-C3F1-02EF49633EF2}" dt="2021-05-20T14:26:39.988" v="399" actId="1076"/>
          <ac:spMkLst>
            <pc:docMk/>
            <pc:sldMk cId="2744369828" sldId="522"/>
            <ac:spMk id="24" creationId="{66B32156-F563-4B12-8529-43119D791A81}"/>
          </ac:spMkLst>
        </pc:spChg>
        <pc:picChg chg="add del mod">
          <ac:chgData name="Carrillo Rojas Daniela (Codelco-Chuquicamata)" userId="S::dcarr014@codelco.cl::b6c6fc0c-fc39-4bf0-8e9d-fb82d681f847" providerId="AD" clId="Web-{AFBEC99F-00D8-0000-C3F1-02EF49633EF2}" dt="2021-05-20T12:56:00.054" v="3"/>
          <ac:picMkLst>
            <pc:docMk/>
            <pc:sldMk cId="2744369828" sldId="522"/>
            <ac:picMk id="5" creationId="{A6DF8647-1107-4A21-9627-C715E55E392F}"/>
          </ac:picMkLst>
        </pc:picChg>
        <pc:picChg chg="add del mod">
          <ac:chgData name="Carrillo Rojas Daniela (Codelco-Chuquicamata)" userId="S::dcarr014@codelco.cl::b6c6fc0c-fc39-4bf0-8e9d-fb82d681f847" providerId="AD" clId="Web-{AFBEC99F-00D8-0000-C3F1-02EF49633EF2}" dt="2021-05-20T13:27:10.570" v="68"/>
          <ac:picMkLst>
            <pc:docMk/>
            <pc:sldMk cId="2744369828" sldId="522"/>
            <ac:picMk id="6" creationId="{6451AF02-D983-4B51-9F8B-7698AD913C96}"/>
          </ac:picMkLst>
        </pc:picChg>
        <pc:picChg chg="add del mod">
          <ac:chgData name="Carrillo Rojas Daniela (Codelco-Chuquicamata)" userId="S::dcarr014@codelco.cl::b6c6fc0c-fc39-4bf0-8e9d-fb82d681f847" providerId="AD" clId="Web-{AFBEC99F-00D8-0000-C3F1-02EF49633EF2}" dt="2021-05-20T13:27:10.570" v="67"/>
          <ac:picMkLst>
            <pc:docMk/>
            <pc:sldMk cId="2744369828" sldId="522"/>
            <ac:picMk id="7" creationId="{011CE7EF-9DC1-48BF-B1F0-73443DA858B3}"/>
          </ac:picMkLst>
        </pc:picChg>
        <pc:picChg chg="add del mod">
          <ac:chgData name="Carrillo Rojas Daniela (Codelco-Chuquicamata)" userId="S::dcarr014@codelco.cl::b6c6fc0c-fc39-4bf0-8e9d-fb82d681f847" providerId="AD" clId="Web-{AFBEC99F-00D8-0000-C3F1-02EF49633EF2}" dt="2021-05-20T13:14:34.675" v="59"/>
          <ac:picMkLst>
            <pc:docMk/>
            <pc:sldMk cId="2744369828" sldId="522"/>
            <ac:picMk id="8" creationId="{10FBF242-9117-4AFD-AB3B-1240B528497B}"/>
          </ac:picMkLst>
        </pc:picChg>
        <pc:picChg chg="add del mod">
          <ac:chgData name="Carrillo Rojas Daniela (Codelco-Chuquicamata)" userId="S::dcarr014@codelco.cl::b6c6fc0c-fc39-4bf0-8e9d-fb82d681f847" providerId="AD" clId="Web-{AFBEC99F-00D8-0000-C3F1-02EF49633EF2}" dt="2021-05-20T13:14:34.660" v="58"/>
          <ac:picMkLst>
            <pc:docMk/>
            <pc:sldMk cId="2744369828" sldId="522"/>
            <ac:picMk id="9" creationId="{0CB26B01-35CB-4F67-B9B8-EA1047A62D71}"/>
          </ac:picMkLst>
        </pc:picChg>
        <pc:picChg chg="add del mod">
          <ac:chgData name="Carrillo Rojas Daniela (Codelco-Chuquicamata)" userId="S::dcarr014@codelco.cl::b6c6fc0c-fc39-4bf0-8e9d-fb82d681f847" providerId="AD" clId="Web-{AFBEC99F-00D8-0000-C3F1-02EF49633EF2}" dt="2021-05-20T13:27:10.570" v="66"/>
          <ac:picMkLst>
            <pc:docMk/>
            <pc:sldMk cId="2744369828" sldId="522"/>
            <ac:picMk id="10" creationId="{2541758B-BB9D-4160-963A-FB1F8F2A658A}"/>
          </ac:picMkLst>
        </pc:picChg>
        <pc:picChg chg="add del mod">
          <ac:chgData name="Carrillo Rojas Daniela (Codelco-Chuquicamata)" userId="S::dcarr014@codelco.cl::b6c6fc0c-fc39-4bf0-8e9d-fb82d681f847" providerId="AD" clId="Web-{AFBEC99F-00D8-0000-C3F1-02EF49633EF2}" dt="2021-05-20T13:27:10.570" v="65"/>
          <ac:picMkLst>
            <pc:docMk/>
            <pc:sldMk cId="2744369828" sldId="522"/>
            <ac:picMk id="11" creationId="{12439295-8DE9-4C58-948E-C17D5AB50877}"/>
          </ac:picMkLst>
        </pc:picChg>
        <pc:picChg chg="add mod">
          <ac:chgData name="Carrillo Rojas Daniela (Codelco-Chuquicamata)" userId="S::dcarr014@codelco.cl::b6c6fc0c-fc39-4bf0-8e9d-fb82d681f847" providerId="AD" clId="Web-{AFBEC99F-00D8-0000-C3F1-02EF49633EF2}" dt="2021-05-20T14:21:24.605" v="309" actId="1076"/>
          <ac:picMkLst>
            <pc:docMk/>
            <pc:sldMk cId="2744369828" sldId="522"/>
            <ac:picMk id="12" creationId="{4AD81A59-D5E2-4546-A71F-BD77911364EA}"/>
          </ac:picMkLst>
        </pc:picChg>
        <pc:picChg chg="add mod">
          <ac:chgData name="Carrillo Rojas Daniela (Codelco-Chuquicamata)" userId="S::dcarr014@codelco.cl::b6c6fc0c-fc39-4bf0-8e9d-fb82d681f847" providerId="AD" clId="Web-{AFBEC99F-00D8-0000-C3F1-02EF49633EF2}" dt="2021-05-20T14:26:27.144" v="396" actId="1076"/>
          <ac:picMkLst>
            <pc:docMk/>
            <pc:sldMk cId="2744369828" sldId="522"/>
            <ac:picMk id="13" creationId="{85D17B3B-30E8-474A-ABEF-703834BBFDF4}"/>
          </ac:picMkLst>
        </pc:picChg>
        <pc:picChg chg="add mod">
          <ac:chgData name="Carrillo Rojas Daniela (Codelco-Chuquicamata)" userId="S::dcarr014@codelco.cl::b6c6fc0c-fc39-4bf0-8e9d-fb82d681f847" providerId="AD" clId="Web-{AFBEC99F-00D8-0000-C3F1-02EF49633EF2}" dt="2021-05-20T14:19:29.586" v="285" actId="1076"/>
          <ac:picMkLst>
            <pc:docMk/>
            <pc:sldMk cId="2744369828" sldId="522"/>
            <ac:picMk id="14" creationId="{14EF5E13-EC0D-471D-819B-5D42C2A0506E}"/>
          </ac:picMkLst>
        </pc:picChg>
        <pc:picChg chg="add mod">
          <ac:chgData name="Carrillo Rojas Daniela (Codelco-Chuquicamata)" userId="S::dcarr014@codelco.cl::b6c6fc0c-fc39-4bf0-8e9d-fb82d681f847" providerId="AD" clId="Web-{AFBEC99F-00D8-0000-C3F1-02EF49633EF2}" dt="2021-05-20T14:19:24.070" v="284" actId="1076"/>
          <ac:picMkLst>
            <pc:docMk/>
            <pc:sldMk cId="2744369828" sldId="522"/>
            <ac:picMk id="15" creationId="{B2395EC0-766B-4008-B726-516DE484F509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24BAF312-A6DE-80DB-2BF8-949EC062B5DA}"/>
    <pc:docChg chg="modSld">
      <pc:chgData name="Carrillo Rojas Daniela (Codelco-Chuquicamata)" userId="S::dcarr014@codelco.cl::b6c6fc0c-fc39-4bf0-8e9d-fb82d681f847" providerId="AD" clId="Web-{24BAF312-A6DE-80DB-2BF8-949EC062B5DA}" dt="2021-05-06T15:17:35.455" v="181" actId="1076"/>
      <pc:docMkLst>
        <pc:docMk/>
      </pc:docMkLst>
      <pc:sldChg chg="modSp">
        <pc:chgData name="Carrillo Rojas Daniela (Codelco-Chuquicamata)" userId="S::dcarr014@codelco.cl::b6c6fc0c-fc39-4bf0-8e9d-fb82d681f847" providerId="AD" clId="Web-{24BAF312-A6DE-80DB-2BF8-949EC062B5DA}" dt="2021-05-06T14:07:35.477" v="5" actId="1076"/>
        <pc:sldMkLst>
          <pc:docMk/>
          <pc:sldMk cId="2756603616" sldId="495"/>
        </pc:sldMkLst>
        <pc:graphicFrameChg chg="mod">
          <ac:chgData name="Carrillo Rojas Daniela (Codelco-Chuquicamata)" userId="S::dcarr014@codelco.cl::b6c6fc0c-fc39-4bf0-8e9d-fb82d681f847" providerId="AD" clId="Web-{24BAF312-A6DE-80DB-2BF8-949EC062B5DA}" dt="2021-05-06T14:07:35.477" v="5" actId="1076"/>
          <ac:graphicFrameMkLst>
            <pc:docMk/>
            <pc:sldMk cId="2756603616" sldId="495"/>
            <ac:graphicFrameMk id="500" creationId="{1E52890F-A8C1-4F2E-93F6-B1F0C775D028}"/>
          </ac:graphicFrameMkLst>
        </pc:graphicFrameChg>
      </pc:sldChg>
      <pc:sldChg chg="addSp delSp modSp">
        <pc:chgData name="Carrillo Rojas Daniela (Codelco-Chuquicamata)" userId="S::dcarr014@codelco.cl::b6c6fc0c-fc39-4bf0-8e9d-fb82d681f847" providerId="AD" clId="Web-{24BAF312-A6DE-80DB-2BF8-949EC062B5DA}" dt="2021-05-06T15:17:35.455" v="181" actId="1076"/>
        <pc:sldMkLst>
          <pc:docMk/>
          <pc:sldMk cId="1418399147" sldId="500"/>
        </pc:sldMkLst>
        <pc:spChg chg="mod">
          <ac:chgData name="Carrillo Rojas Daniela (Codelco-Chuquicamata)" userId="S::dcarr014@codelco.cl::b6c6fc0c-fc39-4bf0-8e9d-fb82d681f847" providerId="AD" clId="Web-{24BAF312-A6DE-80DB-2BF8-949EC062B5DA}" dt="2021-05-06T15:17:35.455" v="181" actId="1076"/>
          <ac:spMkLst>
            <pc:docMk/>
            <pc:sldMk cId="1418399147" sldId="500"/>
            <ac:spMk id="2" creationId="{32691014-A544-4E4F-BE87-A932997B93E3}"/>
          </ac:spMkLst>
        </pc:spChg>
        <pc:spChg chg="mod">
          <ac:chgData name="Carrillo Rojas Daniela (Codelco-Chuquicamata)" userId="S::dcarr014@codelco.cl::b6c6fc0c-fc39-4bf0-8e9d-fb82d681f847" providerId="AD" clId="Web-{24BAF312-A6DE-80DB-2BF8-949EC062B5DA}" dt="2021-05-06T14:48:33.214" v="111" actId="14100"/>
          <ac:spMkLst>
            <pc:docMk/>
            <pc:sldMk cId="1418399147" sldId="500"/>
            <ac:spMk id="3" creationId="{FFAA6502-1DEC-4119-938A-1EE123FAA577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4:39:17.312" v="79" actId="1076"/>
          <ac:spMkLst>
            <pc:docMk/>
            <pc:sldMk cId="1418399147" sldId="500"/>
            <ac:spMk id="9" creationId="{963AE959-F8C9-4163-87D4-52EDA97A2992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4:47:49.792" v="106" actId="14100"/>
          <ac:spMkLst>
            <pc:docMk/>
            <pc:sldMk cId="1418399147" sldId="500"/>
            <ac:spMk id="11" creationId="{58BB1EF5-10A5-495E-9F21-1C28D1317795}"/>
          </ac:spMkLst>
        </pc:spChg>
        <pc:spChg chg="add del mod">
          <ac:chgData name="Carrillo Rojas Daniela (Codelco-Chuquicamata)" userId="S::dcarr014@codelco.cl::b6c6fc0c-fc39-4bf0-8e9d-fb82d681f847" providerId="AD" clId="Web-{24BAF312-A6DE-80DB-2BF8-949EC062B5DA}" dt="2021-05-06T14:47:37.166" v="104"/>
          <ac:spMkLst>
            <pc:docMk/>
            <pc:sldMk cId="1418399147" sldId="500"/>
            <ac:spMk id="12" creationId="{DD4B88CE-DC97-4BA6-AF7A-2D29219BE716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5:16:43.220" v="169" actId="1076"/>
          <ac:spMkLst>
            <pc:docMk/>
            <pc:sldMk cId="1418399147" sldId="500"/>
            <ac:spMk id="13" creationId="{51BBD42B-D4C3-4516-A855-73E7DFCE957A}"/>
          </ac:spMkLst>
        </pc:spChg>
        <pc:spChg chg="add del">
          <ac:chgData name="Carrillo Rojas Daniela (Codelco-Chuquicamata)" userId="S::dcarr014@codelco.cl::b6c6fc0c-fc39-4bf0-8e9d-fb82d681f847" providerId="AD" clId="Web-{24BAF312-A6DE-80DB-2BF8-949EC062B5DA}" dt="2021-05-06T14:48:57.981" v="129"/>
          <ac:spMkLst>
            <pc:docMk/>
            <pc:sldMk cId="1418399147" sldId="500"/>
            <ac:spMk id="14" creationId="{D5334245-057B-4D52-8D3C-EA540A4038E7}"/>
          </ac:spMkLst>
        </pc:spChg>
        <pc:spChg chg="add del">
          <ac:chgData name="Carrillo Rojas Daniela (Codelco-Chuquicamata)" userId="S::dcarr014@codelco.cl::b6c6fc0c-fc39-4bf0-8e9d-fb82d681f847" providerId="AD" clId="Web-{24BAF312-A6DE-80DB-2BF8-949EC062B5DA}" dt="2021-05-06T14:48:57.168" v="128"/>
          <ac:spMkLst>
            <pc:docMk/>
            <pc:sldMk cId="1418399147" sldId="500"/>
            <ac:spMk id="15" creationId="{10941598-F792-4E07-89FC-5BEF8136D1BD}"/>
          </ac:spMkLst>
        </pc:spChg>
        <pc:spChg chg="add del">
          <ac:chgData name="Carrillo Rojas Daniela (Codelco-Chuquicamata)" userId="S::dcarr014@codelco.cl::b6c6fc0c-fc39-4bf0-8e9d-fb82d681f847" providerId="AD" clId="Web-{24BAF312-A6DE-80DB-2BF8-949EC062B5DA}" dt="2021-05-06T14:48:57.137" v="127"/>
          <ac:spMkLst>
            <pc:docMk/>
            <pc:sldMk cId="1418399147" sldId="500"/>
            <ac:spMk id="16" creationId="{4CB30D82-E144-4373-B5E1-68952DC675E6}"/>
          </ac:spMkLst>
        </pc:spChg>
        <pc:spChg chg="add del">
          <ac:chgData name="Carrillo Rojas Daniela (Codelco-Chuquicamata)" userId="S::dcarr014@codelco.cl::b6c6fc0c-fc39-4bf0-8e9d-fb82d681f847" providerId="AD" clId="Web-{24BAF312-A6DE-80DB-2BF8-949EC062B5DA}" dt="2021-05-06T14:48:57.106" v="126"/>
          <ac:spMkLst>
            <pc:docMk/>
            <pc:sldMk cId="1418399147" sldId="500"/>
            <ac:spMk id="18" creationId="{F0D03C81-E9F5-499B-8DAD-9B6731430194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4:48:13.948" v="109" actId="1076"/>
          <ac:spMkLst>
            <pc:docMk/>
            <pc:sldMk cId="1418399147" sldId="500"/>
            <ac:spMk id="22" creationId="{B43C9DB4-DE47-4676-B583-3C504E582D56}"/>
          </ac:spMkLst>
        </pc:spChg>
        <pc:spChg chg="add del">
          <ac:chgData name="Carrillo Rojas Daniela (Codelco-Chuquicamata)" userId="S::dcarr014@codelco.cl::b6c6fc0c-fc39-4bf0-8e9d-fb82d681f847" providerId="AD" clId="Web-{24BAF312-A6DE-80DB-2BF8-949EC062B5DA}" dt="2021-05-06T15:07:57.458" v="137"/>
          <ac:spMkLst>
            <pc:docMk/>
            <pc:sldMk cId="1418399147" sldId="500"/>
            <ac:spMk id="27" creationId="{B33C9C22-6168-4F83-B55D-3913A93BB374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5:10:41.681" v="161" actId="20577"/>
          <ac:spMkLst>
            <pc:docMk/>
            <pc:sldMk cId="1418399147" sldId="500"/>
            <ac:spMk id="28" creationId="{DBE2E8AF-8CA0-4336-9618-0755ADB538BF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5:10:22.930" v="157" actId="20577"/>
          <ac:spMkLst>
            <pc:docMk/>
            <pc:sldMk cId="1418399147" sldId="500"/>
            <ac:spMk id="29" creationId="{6E39E88E-7B66-415E-BDCE-11960B118893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5:10:32.774" v="159" actId="1076"/>
          <ac:spMkLst>
            <pc:docMk/>
            <pc:sldMk cId="1418399147" sldId="500"/>
            <ac:spMk id="30" creationId="{CABE84DA-38AC-4928-B559-AEF2B14BE667}"/>
          </ac:spMkLst>
        </pc:spChg>
        <pc:spChg chg="mod">
          <ac:chgData name="Carrillo Rojas Daniela (Codelco-Chuquicamata)" userId="S::dcarr014@codelco.cl::b6c6fc0c-fc39-4bf0-8e9d-fb82d681f847" providerId="AD" clId="Web-{24BAF312-A6DE-80DB-2BF8-949EC062B5DA}" dt="2021-05-06T14:37:49.794" v="53" actId="20577"/>
          <ac:spMkLst>
            <pc:docMk/>
            <pc:sldMk cId="1418399147" sldId="500"/>
            <ac:spMk id="31" creationId="{2B9230F2-5CF5-4008-BBA8-64B098C049FE}"/>
          </ac:spMkLst>
        </pc:spChg>
        <pc:spChg chg="add mod">
          <ac:chgData name="Carrillo Rojas Daniela (Codelco-Chuquicamata)" userId="S::dcarr014@codelco.cl::b6c6fc0c-fc39-4bf0-8e9d-fb82d681f847" providerId="AD" clId="Web-{24BAF312-A6DE-80DB-2BF8-949EC062B5DA}" dt="2021-05-06T15:11:05.884" v="164" actId="20577"/>
          <ac:spMkLst>
            <pc:docMk/>
            <pc:sldMk cId="1418399147" sldId="500"/>
            <ac:spMk id="32" creationId="{A7EABE68-07EA-46B4-B6DD-81AC2765ADFC}"/>
          </ac:spMkLst>
        </pc:spChg>
        <pc:picChg chg="add del mod">
          <ac:chgData name="Carrillo Rojas Daniela (Codelco-Chuquicamata)" userId="S::dcarr014@codelco.cl::b6c6fc0c-fc39-4bf0-8e9d-fb82d681f847" providerId="AD" clId="Web-{24BAF312-A6DE-80DB-2BF8-949EC062B5DA}" dt="2021-05-06T14:32:15.897" v="8"/>
          <ac:picMkLst>
            <pc:docMk/>
            <pc:sldMk cId="1418399147" sldId="500"/>
            <ac:picMk id="5" creationId="{14CEFD0B-6FD8-4239-B227-C4E166323A15}"/>
          </ac:picMkLst>
        </pc:picChg>
        <pc:picChg chg="add mod">
          <ac:chgData name="Carrillo Rojas Daniela (Codelco-Chuquicamata)" userId="S::dcarr014@codelco.cl::b6c6fc0c-fc39-4bf0-8e9d-fb82d681f847" providerId="AD" clId="Web-{24BAF312-A6DE-80DB-2BF8-949EC062B5DA}" dt="2021-05-06T14:39:56.016" v="85" actId="1076"/>
          <ac:picMkLst>
            <pc:docMk/>
            <pc:sldMk cId="1418399147" sldId="500"/>
            <ac:picMk id="6" creationId="{592292BD-EAAA-4C03-8847-F461862F9D7C}"/>
          </ac:picMkLst>
        </pc:picChg>
        <pc:picChg chg="add mod">
          <ac:chgData name="Carrillo Rojas Daniela (Codelco-Chuquicamata)" userId="S::dcarr014@codelco.cl::b6c6fc0c-fc39-4bf0-8e9d-fb82d681f847" providerId="AD" clId="Web-{24BAF312-A6DE-80DB-2BF8-949EC062B5DA}" dt="2021-05-06T14:39:28.250" v="80" actId="1076"/>
          <ac:picMkLst>
            <pc:docMk/>
            <pc:sldMk cId="1418399147" sldId="500"/>
            <ac:picMk id="7" creationId="{34C6AD15-307C-43CC-B4E1-862B4FDC34DC}"/>
          </ac:picMkLst>
        </pc:picChg>
        <pc:picChg chg="add mod">
          <ac:chgData name="Carrillo Rojas Daniela (Codelco-Chuquicamata)" userId="S::dcarr014@codelco.cl::b6c6fc0c-fc39-4bf0-8e9d-fb82d681f847" providerId="AD" clId="Web-{24BAF312-A6DE-80DB-2BF8-949EC062B5DA}" dt="2021-05-06T14:39:55.969" v="84" actId="1076"/>
          <ac:picMkLst>
            <pc:docMk/>
            <pc:sldMk cId="1418399147" sldId="500"/>
            <ac:picMk id="8" creationId="{D56E6DD7-AF54-48AA-96DB-CA57292AACED}"/>
          </ac:picMkLst>
        </pc:picChg>
        <pc:picChg chg="add mod">
          <ac:chgData name="Carrillo Rojas Daniela (Codelco-Chuquicamata)" userId="S::dcarr014@codelco.cl::b6c6fc0c-fc39-4bf0-8e9d-fb82d681f847" providerId="AD" clId="Web-{24BAF312-A6DE-80DB-2BF8-949EC062B5DA}" dt="2021-05-06T14:46:38.681" v="91" actId="1076"/>
          <ac:picMkLst>
            <pc:docMk/>
            <pc:sldMk cId="1418399147" sldId="500"/>
            <ac:picMk id="10" creationId="{33A47206-17A3-45F5-B8CD-7D5F7715FD2D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665CAD36-FE13-D6C7-F98D-C4531EE916DE}"/>
    <pc:docChg chg="addSld delSld modSld">
      <pc:chgData name="Mery Carrasco Mauricio (Codelco-Casa Matriz)" userId="S::mmery004@codelco.cl::a0378191-74de-4d59-9b37-aa421303daba" providerId="AD" clId="Web-{665CAD36-FE13-D6C7-F98D-C4531EE916DE}" dt="2021-08-03T18:24:21.726" v="271"/>
      <pc:docMkLst>
        <pc:docMk/>
      </pc:docMkLst>
      <pc:sldChg chg="addSp delSp modSp">
        <pc:chgData name="Mery Carrasco Mauricio (Codelco-Casa Matriz)" userId="S::mmery004@codelco.cl::a0378191-74de-4d59-9b37-aa421303daba" providerId="AD" clId="Web-{665CAD36-FE13-D6C7-F98D-C4531EE916DE}" dt="2021-08-03T18:08:23.867" v="104" actId="14100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665CAD36-FE13-D6C7-F98D-C4531EE916DE}" dt="2021-08-03T18:08:23.711" v="102" actId="1076"/>
          <ac:spMkLst>
            <pc:docMk/>
            <pc:sldMk cId="2155997825" sldId="375"/>
            <ac:spMk id="7" creationId="{3F067F21-CA09-43F9-8290-4FE824AE6822}"/>
          </ac:spMkLst>
        </pc:spChg>
        <pc:spChg chg="del mod">
          <ac:chgData name="Mery Carrasco Mauricio (Codelco-Casa Matriz)" userId="S::mmery004@codelco.cl::a0378191-74de-4d59-9b37-aa421303daba" providerId="AD" clId="Web-{665CAD36-FE13-D6C7-F98D-C4531EE916DE}" dt="2021-08-03T18:01:19.431" v="38"/>
          <ac:spMkLst>
            <pc:docMk/>
            <pc:sldMk cId="2155997825" sldId="375"/>
            <ac:spMk id="19" creationId="{DCBCEB20-8377-429A-B182-F1F2770545F5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01:19.431" v="37"/>
          <ac:spMkLst>
            <pc:docMk/>
            <pc:sldMk cId="2155997825" sldId="375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50.856" v="65" actId="1076"/>
          <ac:spMkLst>
            <pc:docMk/>
            <pc:sldMk cId="2155997825" sldId="375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03:09.232" v="71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7:14.834" v="86" actId="20577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50.872" v="66" actId="1076"/>
          <ac:spMkLst>
            <pc:docMk/>
            <pc:sldMk cId="2155997825" sldId="37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8:23.867" v="104" actId="14100"/>
          <ac:spMkLst>
            <pc:docMk/>
            <pc:sldMk cId="2155997825" sldId="375"/>
            <ac:spMk id="30" creationId="{FC6F8EAE-BF9D-4CD4-A556-34E7503884BF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03:09.263" v="72"/>
          <ac:spMkLst>
            <pc:docMk/>
            <pc:sldMk cId="2155997825" sldId="375"/>
            <ac:spMk id="31" creationId="{E1258742-5AE9-450A-9701-C2FA96F0816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50.762" v="63" actId="1076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6:03.362" v="83" actId="20577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50.762" v="64" actId="1076"/>
          <ac:spMkLst>
            <pc:docMk/>
            <pc:sldMk cId="2155997825" sldId="375"/>
            <ac:spMk id="34" creationId="{4D6685A8-C632-4230-9E08-284878417DE5}"/>
          </ac:spMkLst>
        </pc:spChg>
        <pc:spChg chg="add mod">
          <ac:chgData name="Mery Carrasco Mauricio (Codelco-Casa Matriz)" userId="S::mmery004@codelco.cl::a0378191-74de-4d59-9b37-aa421303daba" providerId="AD" clId="Web-{665CAD36-FE13-D6C7-F98D-C4531EE916DE}" dt="2021-08-03T18:07:49.272" v="97" actId="14100"/>
          <ac:spMkLst>
            <pc:docMk/>
            <pc:sldMk cId="2155997825" sldId="375"/>
            <ac:spMk id="35" creationId="{3E1FB314-0B4B-4E37-B51E-64C590443006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35.340" v="61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35.356" v="62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8:08.085" v="101" actId="1076"/>
          <ac:spMkLst>
            <pc:docMk/>
            <pc:sldMk cId="2155997825" sldId="375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3:09.154" v="69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53.794" v="67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53.794" v="68" actId="1076"/>
          <ac:spMkLst>
            <pc:docMk/>
            <pc:sldMk cId="2155997825" sldId="37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3:26.264" v="75" actId="20577"/>
          <ac:spMkLst>
            <pc:docMk/>
            <pc:sldMk cId="2155997825" sldId="37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3:09.154" v="70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17.730" v="47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17.746" v="48" actId="1076"/>
          <ac:spMkLst>
            <pc:docMk/>
            <pc:sldMk cId="2155997825" sldId="37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18.511" v="57" actId="1076"/>
          <ac:spMkLst>
            <pc:docMk/>
            <pc:sldMk cId="2155997825" sldId="37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02:18.527" v="58" actId="1076"/>
          <ac:spMkLst>
            <pc:docMk/>
            <pc:sldMk cId="2155997825" sldId="375"/>
            <ac:spMk id="51" creationId="{F913A60D-2783-4406-9452-4739CB932FC8}"/>
          </ac:spMkLst>
        </pc:spChg>
      </pc:sldChg>
      <pc:sldChg chg="modSp">
        <pc:chgData name="Mery Carrasco Mauricio (Codelco-Casa Matriz)" userId="S::mmery004@codelco.cl::a0378191-74de-4d59-9b37-aa421303daba" providerId="AD" clId="Web-{665CAD36-FE13-D6C7-F98D-C4531EE916DE}" dt="2021-08-03T18:19:34.186" v="210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665CAD36-FE13-D6C7-F98D-C4531EE916DE}" dt="2021-08-03T18:14:25.801" v="148" actId="20577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3:27.689" v="137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37.375" v="129" actId="20577"/>
          <ac:spMkLst>
            <pc:docMk/>
            <pc:sldMk cId="1544981574" sldId="409"/>
            <ac:spMk id="21" creationId="{839346A3-1820-4C50-8F02-466E51D4A44E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4:08.644" v="144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36.766" v="128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3:46.846" v="140" actId="20577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4:44.895" v="157" actId="20577"/>
          <ac:spMkLst>
            <pc:docMk/>
            <pc:sldMk cId="1544981574" sldId="409"/>
            <ac:spMk id="30" creationId="{44A25184-26B8-4AAA-9E65-3A78929CCFB6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36.391" v="126" actId="20577"/>
          <ac:spMkLst>
            <pc:docMk/>
            <pc:sldMk cId="1544981574" sldId="409"/>
            <ac:spMk id="31" creationId="{0F0C68C8-7E5C-4702-92C2-12695702903C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8:35.965" v="207" actId="20577"/>
          <ac:spMkLst>
            <pc:docMk/>
            <pc:sldMk cId="1544981574" sldId="409"/>
            <ac:spMk id="32" creationId="{878D481B-74FF-415D-BFF5-A8DD8F0FEC9A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5:31.506" v="169" actId="20577"/>
          <ac:spMkLst>
            <pc:docMk/>
            <pc:sldMk cId="1544981574" sldId="409"/>
            <ac:spMk id="33" creationId="{4DD75768-B690-436E-BF50-8EF72DC731CE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9:34.186" v="210" actId="20577"/>
          <ac:spMkLst>
            <pc:docMk/>
            <pc:sldMk cId="1544981574" sldId="409"/>
            <ac:spMk id="35" creationId="{413C3D54-2186-4FCD-BF79-CC9F7E7512E4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3:47.237" v="142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36.594" v="127" actId="20577"/>
          <ac:spMkLst>
            <pc:docMk/>
            <pc:sldMk cId="1544981574" sldId="409"/>
            <ac:spMk id="41" creationId="{79B6483E-7060-4A55-A8F4-C7DD2AF3826E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3:27.299" v="133" actId="20577"/>
          <ac:spMkLst>
            <pc:docMk/>
            <pc:sldMk cId="1544981574" sldId="409"/>
            <ac:spMk id="45" creationId="{6B6D7AF3-CD2C-4C43-9BC8-76C21B1521B2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8:03.542" v="200" actId="14100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8:03.027" v="199" actId="20577"/>
          <ac:spMkLst>
            <pc:docMk/>
            <pc:sldMk cId="1544981574" sldId="409"/>
            <ac:spMk id="52" creationId="{B595D2F3-9C47-4FEE-9CCC-EBCC6DF263EC}"/>
          </ac:spMkLst>
        </pc:spChg>
      </pc:sldChg>
      <pc:sldChg chg="del">
        <pc:chgData name="Mery Carrasco Mauricio (Codelco-Casa Matriz)" userId="S::mmery004@codelco.cl::a0378191-74de-4d59-9b37-aa421303daba" providerId="AD" clId="Web-{665CAD36-FE13-D6C7-F98D-C4531EE916DE}" dt="2021-08-03T18:10:48.294" v="106"/>
        <pc:sldMkLst>
          <pc:docMk/>
          <pc:sldMk cId="487958714" sldId="521"/>
        </pc:sldMkLst>
      </pc:sldChg>
      <pc:sldChg chg="del">
        <pc:chgData name="Mery Carrasco Mauricio (Codelco-Casa Matriz)" userId="S::mmery004@codelco.cl::a0378191-74de-4d59-9b37-aa421303daba" providerId="AD" clId="Web-{665CAD36-FE13-D6C7-F98D-C4531EE916DE}" dt="2021-08-03T18:20:29.422" v="220"/>
        <pc:sldMkLst>
          <pc:docMk/>
          <pc:sldMk cId="2892333405" sldId="522"/>
        </pc:sldMkLst>
      </pc:sldChg>
      <pc:sldChg chg="addSp delSp modSp">
        <pc:chgData name="Mery Carrasco Mauricio (Codelco-Casa Matriz)" userId="S::mmery004@codelco.cl::a0378191-74de-4d59-9b37-aa421303daba" providerId="AD" clId="Web-{665CAD36-FE13-D6C7-F98D-C4531EE916DE}" dt="2021-08-03T18:24:21.726" v="271"/>
        <pc:sldMkLst>
          <pc:docMk/>
          <pc:sldMk cId="1451991468" sldId="551"/>
        </pc:sldMkLst>
        <pc:spChg chg="add del">
          <ac:chgData name="Mery Carrasco Mauricio (Codelco-Casa Matriz)" userId="S::mmery004@codelco.cl::a0378191-74de-4d59-9b37-aa421303daba" providerId="AD" clId="Web-{665CAD36-FE13-D6C7-F98D-C4531EE916DE}" dt="2021-08-03T18:24:21.726" v="271"/>
          <ac:spMkLst>
            <pc:docMk/>
            <pc:sldMk cId="1451991468" sldId="551"/>
            <ac:spMk id="4" creationId="{C9BA591B-7623-49C8-A0F0-9326D444736C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3:17.693" v="266" actId="20577"/>
          <ac:spMkLst>
            <pc:docMk/>
            <pc:sldMk cId="1451991468" sldId="551"/>
            <ac:spMk id="35" creationId="{1E4C4AB3-F6D0-4ED6-B474-054251626C37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2:53.567" v="239" actId="20577"/>
          <ac:spMkLst>
            <pc:docMk/>
            <pc:sldMk cId="1451991468" sldId="551"/>
            <ac:spMk id="145" creationId="{3F302836-4F68-4641-BD29-64B0A72CA38E}"/>
          </ac:spMkLst>
        </pc:spChg>
        <pc:graphicFrameChg chg="add del">
          <ac:chgData name="Mery Carrasco Mauricio (Codelco-Casa Matriz)" userId="S::mmery004@codelco.cl::a0378191-74de-4d59-9b37-aa421303daba" providerId="AD" clId="Web-{665CAD36-FE13-D6C7-F98D-C4531EE916DE}" dt="2021-08-03T18:24:05.070" v="270"/>
          <ac:graphicFrameMkLst>
            <pc:docMk/>
            <pc:sldMk cId="1451991468" sldId="551"/>
            <ac:graphicFrameMk id="20" creationId="{8CA87064-3B5A-4FFB-AD9B-7C26E19F2F52}"/>
          </ac:graphicFrameMkLst>
        </pc:graphicFrameChg>
        <pc:picChg chg="del">
          <ac:chgData name="Mery Carrasco Mauricio (Codelco-Casa Matriz)" userId="S::mmery004@codelco.cl::a0378191-74de-4d59-9b37-aa421303daba" providerId="AD" clId="Web-{665CAD36-FE13-D6C7-F98D-C4531EE916DE}" dt="2021-08-03T18:23:49.507" v="267"/>
          <ac:picMkLst>
            <pc:docMk/>
            <pc:sldMk cId="1451991468" sldId="551"/>
            <ac:picMk id="3" creationId="{1D1370A9-5112-4D2A-9C32-647E63FD4F3C}"/>
          </ac:picMkLst>
        </pc:picChg>
      </pc:sldChg>
      <pc:sldChg chg="delSp modSp add replId">
        <pc:chgData name="Mery Carrasco Mauricio (Codelco-Casa Matriz)" userId="S::mmery004@codelco.cl::a0378191-74de-4d59-9b37-aa421303daba" providerId="AD" clId="Web-{665CAD36-FE13-D6C7-F98D-C4531EE916DE}" dt="2021-08-03T18:12:18.187" v="125"/>
        <pc:sldMkLst>
          <pc:docMk/>
          <pc:sldMk cId="4023416910" sldId="554"/>
        </pc:sldMkLst>
        <pc:spChg chg="del">
          <ac:chgData name="Mery Carrasco Mauricio (Codelco-Casa Matriz)" userId="S::mmery004@codelco.cl::a0378191-74de-4d59-9b37-aa421303daba" providerId="AD" clId="Web-{665CAD36-FE13-D6C7-F98D-C4531EE916DE}" dt="2021-08-03T18:11:03.247" v="113"/>
          <ac:spMkLst>
            <pc:docMk/>
            <pc:sldMk cId="4023416910" sldId="554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18.187" v="125"/>
          <ac:spMkLst>
            <pc:docMk/>
            <pc:sldMk cId="4023416910" sldId="554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11:03.232" v="112"/>
          <ac:spMkLst>
            <pc:docMk/>
            <pc:sldMk cId="4023416910" sldId="554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1:22.404" v="119"/>
          <ac:spMkLst>
            <pc:docMk/>
            <pc:sldMk cId="4023416910" sldId="554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11:03.232" v="111"/>
          <ac:spMkLst>
            <pc:docMk/>
            <pc:sldMk cId="4023416910" sldId="554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18.172" v="124"/>
          <ac:spMkLst>
            <pc:docMk/>
            <pc:sldMk cId="4023416910" sldId="554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11:03.232" v="110"/>
          <ac:spMkLst>
            <pc:docMk/>
            <pc:sldMk cId="4023416910" sldId="554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1:22.388" v="118"/>
          <ac:spMkLst>
            <pc:docMk/>
            <pc:sldMk cId="4023416910" sldId="554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11:03.232" v="107"/>
          <ac:spMkLst>
            <pc:docMk/>
            <pc:sldMk cId="4023416910" sldId="554"/>
            <ac:spMk id="35" creationId="{3E1FB314-0B4B-4E37-B51E-64C590443006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18.140" v="121"/>
          <ac:spMkLst>
            <pc:docMk/>
            <pc:sldMk cId="4023416910" sldId="554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1:22.357" v="114"/>
          <ac:spMkLst>
            <pc:docMk/>
            <pc:sldMk cId="4023416910" sldId="554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11:03.232" v="109"/>
          <ac:spMkLst>
            <pc:docMk/>
            <pc:sldMk cId="4023416910" sldId="554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02.687" v="120"/>
          <ac:spMkLst>
            <pc:docMk/>
            <pc:sldMk cId="4023416910" sldId="554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1:22.373" v="115"/>
          <ac:spMkLst>
            <pc:docMk/>
            <pc:sldMk cId="4023416910" sldId="554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11:03.232" v="108"/>
          <ac:spMkLst>
            <pc:docMk/>
            <pc:sldMk cId="4023416910" sldId="554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18.156" v="122"/>
          <ac:spMkLst>
            <pc:docMk/>
            <pc:sldMk cId="4023416910" sldId="554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1:22.373" v="116"/>
          <ac:spMkLst>
            <pc:docMk/>
            <pc:sldMk cId="4023416910" sldId="554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2:18.156" v="123"/>
          <ac:spMkLst>
            <pc:docMk/>
            <pc:sldMk cId="4023416910" sldId="554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11:22.388" v="117"/>
          <ac:spMkLst>
            <pc:docMk/>
            <pc:sldMk cId="4023416910" sldId="554"/>
            <ac:spMk id="51" creationId="{F913A60D-2783-4406-9452-4739CB932FC8}"/>
          </ac:spMkLst>
        </pc:spChg>
      </pc:sldChg>
      <pc:sldChg chg="delSp modSp add replId">
        <pc:chgData name="Mery Carrasco Mauricio (Codelco-Casa Matriz)" userId="S::mmery004@codelco.cl::a0378191-74de-4d59-9b37-aa421303daba" providerId="AD" clId="Web-{665CAD36-FE13-D6C7-F98D-C4531EE916DE}" dt="2021-08-03T18:21:07.251" v="232"/>
        <pc:sldMkLst>
          <pc:docMk/>
          <pc:sldMk cId="3546602395" sldId="555"/>
        </pc:sldMkLst>
        <pc:spChg chg="del">
          <ac:chgData name="Mery Carrasco Mauricio (Codelco-Casa Matriz)" userId="S::mmery004@codelco.cl::a0378191-74de-4d59-9b37-aa421303daba" providerId="AD" clId="Web-{665CAD36-FE13-D6C7-F98D-C4531EE916DE}" dt="2021-08-03T18:20:09.749" v="218"/>
          <ac:spMkLst>
            <pc:docMk/>
            <pc:sldMk cId="3546602395" sldId="555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1:07.251" v="232"/>
          <ac:spMkLst>
            <pc:docMk/>
            <pc:sldMk cId="3546602395" sldId="555"/>
            <ac:spMk id="26" creationId="{3E7A67A2-D2D9-467B-A102-77A1ECE4FD90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20:09.749" v="217"/>
          <ac:spMkLst>
            <pc:docMk/>
            <pc:sldMk cId="3546602395" sldId="55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0:46.985" v="226"/>
          <ac:spMkLst>
            <pc:docMk/>
            <pc:sldMk cId="3546602395" sldId="555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20:09.749" v="216"/>
          <ac:spMkLst>
            <pc:docMk/>
            <pc:sldMk cId="3546602395" sldId="55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1:07.251" v="231"/>
          <ac:spMkLst>
            <pc:docMk/>
            <pc:sldMk cId="3546602395" sldId="555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20:09.749" v="215"/>
          <ac:spMkLst>
            <pc:docMk/>
            <pc:sldMk cId="3546602395" sldId="55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0:46.969" v="225"/>
          <ac:spMkLst>
            <pc:docMk/>
            <pc:sldMk cId="3546602395" sldId="555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20:09.749" v="212"/>
          <ac:spMkLst>
            <pc:docMk/>
            <pc:sldMk cId="3546602395" sldId="555"/>
            <ac:spMk id="35" creationId="{3E1FB314-0B4B-4E37-B51E-64C590443006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1:07.204" v="227"/>
          <ac:spMkLst>
            <pc:docMk/>
            <pc:sldMk cId="3546602395" sldId="55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0:46.938" v="221"/>
          <ac:spMkLst>
            <pc:docMk/>
            <pc:sldMk cId="3546602395" sldId="555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20:09.749" v="214"/>
          <ac:spMkLst>
            <pc:docMk/>
            <pc:sldMk cId="3546602395" sldId="555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1:07.236" v="229"/>
          <ac:spMkLst>
            <pc:docMk/>
            <pc:sldMk cId="3546602395" sldId="555"/>
            <ac:spMk id="41" creationId="{DE907C1A-0FFF-4431-94AA-1E9BD4429219}"/>
          </ac:spMkLst>
        </pc:spChg>
        <pc:spChg chg="del">
          <ac:chgData name="Mery Carrasco Mauricio (Codelco-Casa Matriz)" userId="S::mmery004@codelco.cl::a0378191-74de-4d59-9b37-aa421303daba" providerId="AD" clId="Web-{665CAD36-FE13-D6C7-F98D-C4531EE916DE}" dt="2021-08-03T18:20:09.749" v="213"/>
          <ac:spMkLst>
            <pc:docMk/>
            <pc:sldMk cId="3546602395" sldId="55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0:46.954" v="223"/>
          <ac:spMkLst>
            <pc:docMk/>
            <pc:sldMk cId="3546602395" sldId="55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1:07.220" v="228"/>
          <ac:spMkLst>
            <pc:docMk/>
            <pc:sldMk cId="3546602395" sldId="55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0:46.954" v="222"/>
          <ac:spMkLst>
            <pc:docMk/>
            <pc:sldMk cId="3546602395" sldId="55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1:07.236" v="230"/>
          <ac:spMkLst>
            <pc:docMk/>
            <pc:sldMk cId="3546602395" sldId="55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665CAD36-FE13-D6C7-F98D-C4531EE916DE}" dt="2021-08-03T18:20:46.969" v="224"/>
          <ac:spMkLst>
            <pc:docMk/>
            <pc:sldMk cId="3546602395" sldId="555"/>
            <ac:spMk id="51" creationId="{F913A60D-2783-4406-9452-4739CB932FC8}"/>
          </ac:spMkLst>
        </pc:spChg>
      </pc:sldChg>
      <pc:sldChg chg="add replId">
        <pc:chgData name="Mery Carrasco Mauricio (Codelco-Casa Matriz)" userId="S::mmery004@codelco.cl::a0378191-74de-4d59-9b37-aa421303daba" providerId="AD" clId="Web-{665CAD36-FE13-D6C7-F98D-C4531EE916DE}" dt="2021-08-03T18:20:28.938" v="219"/>
        <pc:sldMkLst>
          <pc:docMk/>
          <pc:sldMk cId="2313332346" sldId="556"/>
        </pc:sldMkLst>
      </pc:sldChg>
    </pc:docChg>
  </pc:docChgLst>
  <pc:docChgLst>
    <pc:chgData name="Mery Carrasco Mauricio (Codelco-Casa Matriz)" userId="S::mmery004@codelco.cl::a0378191-74de-4d59-9b37-aa421303daba" providerId="AD" clId="Web-{091AC1B0-6B69-93DC-3735-5C8643381900}"/>
    <pc:docChg chg="delSld modSld">
      <pc:chgData name="Mery Carrasco Mauricio (Codelco-Casa Matriz)" userId="S::mmery004@codelco.cl::a0378191-74de-4d59-9b37-aa421303daba" providerId="AD" clId="Web-{091AC1B0-6B69-93DC-3735-5C8643381900}" dt="2020-11-04T18:21:24.143" v="91" actId="20577"/>
      <pc:docMkLst>
        <pc:docMk/>
      </pc:docMkLst>
      <pc:sldChg chg="modSp">
        <pc:chgData name="Mery Carrasco Mauricio (Codelco-Casa Matriz)" userId="S::mmery004@codelco.cl::a0378191-74de-4d59-9b37-aa421303daba" providerId="AD" clId="Web-{091AC1B0-6B69-93DC-3735-5C8643381900}" dt="2020-11-04T18:02:34.835" v="6" actId="1076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091AC1B0-6B69-93DC-3735-5C8643381900}" dt="2020-11-04T18:02:29.616" v="5" actId="20577"/>
          <ac:spMkLst>
            <pc:docMk/>
            <pc:sldMk cId="772336465" sldId="346"/>
            <ac:spMk id="9" creationId="{792A0799-6567-4F07-9AC3-5B36D58CDF80}"/>
          </ac:spMkLst>
        </pc:spChg>
        <pc:picChg chg="mod">
          <ac:chgData name="Mery Carrasco Mauricio (Codelco-Casa Matriz)" userId="S::mmery004@codelco.cl::a0378191-74de-4d59-9b37-aa421303daba" providerId="AD" clId="Web-{091AC1B0-6B69-93DC-3735-5C8643381900}" dt="2020-11-04T18:02:34.835" v="6" actId="1076"/>
          <ac:picMkLst>
            <pc:docMk/>
            <pc:sldMk cId="772336465" sldId="346"/>
            <ac:picMk id="2" creationId="{E7DDD9D2-C80A-46E2-8279-276FA9DB258D}"/>
          </ac:picMkLst>
        </pc:picChg>
      </pc:sldChg>
      <pc:sldChg chg="modSp">
        <pc:chgData name="Mery Carrasco Mauricio (Codelco-Casa Matriz)" userId="S::mmery004@codelco.cl::a0378191-74de-4d59-9b37-aa421303daba" providerId="AD" clId="Web-{091AC1B0-6B69-93DC-3735-5C8643381900}" dt="2020-11-04T18:05:46.590" v="28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091AC1B0-6B69-93DC-3735-5C8643381900}" dt="2020-11-04T18:05:15.355" v="20" actId="20577"/>
          <ac:spMkLst>
            <pc:docMk/>
            <pc:sldMk cId="1259302253" sldId="353"/>
            <ac:spMk id="13" creationId="{6A7E20CE-D52C-4255-8F9F-3460CF2D0FBF}"/>
          </ac:spMkLst>
        </pc:spChg>
        <pc:spChg chg="mod">
          <ac:chgData name="Mery Carrasco Mauricio (Codelco-Casa Matriz)" userId="S::mmery004@codelco.cl::a0378191-74de-4d59-9b37-aa421303daba" providerId="AD" clId="Web-{091AC1B0-6B69-93DC-3735-5C8643381900}" dt="2020-11-04T18:05:46.590" v="28" actId="20577"/>
          <ac:spMkLst>
            <pc:docMk/>
            <pc:sldMk cId="1259302253" sldId="353"/>
            <ac:spMk id="15" creationId="{830CACA2-E61A-4701-8D9E-DC5CCD390D77}"/>
          </ac:spMkLst>
        </pc:spChg>
      </pc:sldChg>
      <pc:sldChg chg="del">
        <pc:chgData name="Mery Carrasco Mauricio (Codelco-Casa Matriz)" userId="S::mmery004@codelco.cl::a0378191-74de-4d59-9b37-aa421303daba" providerId="AD" clId="Web-{091AC1B0-6B69-93DC-3735-5C8643381900}" dt="2020-11-04T18:03:42.040" v="8"/>
        <pc:sldMkLst>
          <pc:docMk/>
          <pc:sldMk cId="3044602424" sldId="397"/>
        </pc:sldMkLst>
      </pc:sldChg>
      <pc:sldChg chg="modSp">
        <pc:chgData name="Mery Carrasco Mauricio (Codelco-Casa Matriz)" userId="S::mmery004@codelco.cl::a0378191-74de-4d59-9b37-aa421303daba" providerId="AD" clId="Web-{091AC1B0-6B69-93DC-3735-5C8643381900}" dt="2020-11-04T18:02:03.162" v="1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091AC1B0-6B69-93DC-3735-5C8643381900}" dt="2020-11-04T18:01:52.490" v="0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091AC1B0-6B69-93DC-3735-5C8643381900}" dt="2020-11-04T18:02:03.162" v="1"/>
          <ac:spMkLst>
            <pc:docMk/>
            <pc:sldMk cId="1544981574" sldId="409"/>
            <ac:spMk id="39" creationId="{92D09D5F-B4BB-4B26-A56A-D76176A78E5D}"/>
          </ac:spMkLst>
        </pc:spChg>
      </pc:sldChg>
      <pc:sldChg chg="delSp">
        <pc:chgData name="Mery Carrasco Mauricio (Codelco-Casa Matriz)" userId="S::mmery004@codelco.cl::a0378191-74de-4d59-9b37-aa421303daba" providerId="AD" clId="Web-{091AC1B0-6B69-93DC-3735-5C8643381900}" dt="2020-11-04T18:02:58.726" v="7"/>
        <pc:sldMkLst>
          <pc:docMk/>
          <pc:sldMk cId="131058556" sldId="410"/>
        </pc:sldMkLst>
        <pc:inkChg chg="del">
          <ac:chgData name="Mery Carrasco Mauricio (Codelco-Casa Matriz)" userId="S::mmery004@codelco.cl::a0378191-74de-4d59-9b37-aa421303daba" providerId="AD" clId="Web-{091AC1B0-6B69-93DC-3735-5C8643381900}" dt="2020-11-04T18:02:58.726" v="7"/>
          <ac:inkMkLst>
            <pc:docMk/>
            <pc:sldMk cId="131058556" sldId="410"/>
            <ac:inkMk id="8" creationId="{63B063FA-7D5D-4719-BEEC-90BFAE1EB034}"/>
          </ac:inkMkLst>
        </pc:inkChg>
      </pc:sldChg>
      <pc:sldChg chg="modSp">
        <pc:chgData name="Mery Carrasco Mauricio (Codelco-Casa Matriz)" userId="S::mmery004@codelco.cl::a0378191-74de-4d59-9b37-aa421303daba" providerId="AD" clId="Web-{091AC1B0-6B69-93DC-3735-5C8643381900}" dt="2020-11-04T18:21:24.143" v="90" actId="20577"/>
        <pc:sldMkLst>
          <pc:docMk/>
          <pc:sldMk cId="1943212446" sldId="416"/>
        </pc:sldMkLst>
        <pc:spChg chg="mod">
          <ac:chgData name="Mery Carrasco Mauricio (Codelco-Casa Matriz)" userId="S::mmery004@codelco.cl::a0378191-74de-4d59-9b37-aa421303daba" providerId="AD" clId="Web-{091AC1B0-6B69-93DC-3735-5C8643381900}" dt="2020-11-04T18:11:56.302" v="65" actId="20577"/>
          <ac:spMkLst>
            <pc:docMk/>
            <pc:sldMk cId="1943212446" sldId="416"/>
            <ac:spMk id="17" creationId="{9C4C5E3E-6150-4685-BEAC-9E2042B17D9D}"/>
          </ac:spMkLst>
        </pc:spChg>
        <pc:spChg chg="mod">
          <ac:chgData name="Mery Carrasco Mauricio (Codelco-Casa Matriz)" userId="S::mmery004@codelco.cl::a0378191-74de-4d59-9b37-aa421303daba" providerId="AD" clId="Web-{091AC1B0-6B69-93DC-3735-5C8643381900}" dt="2020-11-04T18:21:24.143" v="90" actId="20577"/>
          <ac:spMkLst>
            <pc:docMk/>
            <pc:sldMk cId="1943212446" sldId="416"/>
            <ac:spMk id="26" creationId="{C05AF7CA-BE06-4010-A753-779C63F68D58}"/>
          </ac:spMkLst>
        </pc:spChg>
        <pc:picChg chg="mod">
          <ac:chgData name="Mery Carrasco Mauricio (Codelco-Casa Matriz)" userId="S::mmery004@codelco.cl::a0378191-74de-4d59-9b37-aa421303daba" providerId="AD" clId="Web-{091AC1B0-6B69-93DC-3735-5C8643381900}" dt="2020-11-04T18:10:23.159" v="30" actId="1076"/>
          <ac:picMkLst>
            <pc:docMk/>
            <pc:sldMk cId="1943212446" sldId="416"/>
            <ac:picMk id="3" creationId="{24E3F924-91D5-4F19-B396-185760E7D819}"/>
          </ac:picMkLst>
        </pc:picChg>
      </pc:sldChg>
      <pc:sldChg chg="del">
        <pc:chgData name="Mery Carrasco Mauricio (Codelco-Casa Matriz)" userId="S::mmery004@codelco.cl::a0378191-74de-4d59-9b37-aa421303daba" providerId="AD" clId="Web-{091AC1B0-6B69-93DC-3735-5C8643381900}" dt="2020-11-04T18:03:48.493" v="9"/>
        <pc:sldMkLst>
          <pc:docMk/>
          <pc:sldMk cId="3137290440" sldId="418"/>
        </pc:sldMkLst>
      </pc:sldChg>
    </pc:docChg>
  </pc:docChgLst>
  <pc:docChgLst>
    <pc:chgData name="Mery Carrasco Mauricio (Codelco-Casa Matriz)" userId="S::mmery004@codelco.cl::a0378191-74de-4d59-9b37-aa421303daba" providerId="AD" clId="Web-{9E4EC99F-707F-0000-C3F1-07969C389663}"/>
    <pc:docChg chg="addSld delSld modSld sldOrd">
      <pc:chgData name="Mery Carrasco Mauricio (Codelco-Casa Matriz)" userId="S::mmery004@codelco.cl::a0378191-74de-4d59-9b37-aa421303daba" providerId="AD" clId="Web-{9E4EC99F-707F-0000-C3F1-07969C389663}" dt="2021-05-19T04:34:14.319" v="263"/>
      <pc:docMkLst>
        <pc:docMk/>
      </pc:docMkLst>
      <pc:sldChg chg="modSp">
        <pc:chgData name="Mery Carrasco Mauricio (Codelco-Casa Matriz)" userId="S::mmery004@codelco.cl::a0378191-74de-4d59-9b37-aa421303daba" providerId="AD" clId="Web-{9E4EC99F-707F-0000-C3F1-07969C389663}" dt="2021-05-19T03:50:45.740" v="3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3:50:36.099" v="1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3:50:45.740" v="3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modSp">
        <pc:chgData name="Mery Carrasco Mauricio (Codelco-Casa Matriz)" userId="S::mmery004@codelco.cl::a0378191-74de-4d59-9b37-aa421303daba" providerId="AD" clId="Web-{9E4EC99F-707F-0000-C3F1-07969C389663}" dt="2021-05-19T04:21:56.446" v="147" actId="20577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21:56.446" v="147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delSp modSp">
        <pc:chgData name="Mery Carrasco Mauricio (Codelco-Casa Matriz)" userId="S::mmery004@codelco.cl::a0378191-74de-4d59-9b37-aa421303daba" providerId="AD" clId="Web-{9E4EC99F-707F-0000-C3F1-07969C389663}" dt="2021-05-19T04:34:03.069" v="262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14:03.250" v="83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266" v="84" actId="1076"/>
          <ac:spMkLst>
            <pc:docMk/>
            <pc:sldMk cId="2155997825" sldId="37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469" v="91" actId="1076"/>
          <ac:spMkLst>
            <pc:docMk/>
            <pc:sldMk cId="2155997825" sldId="375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406" v="89" actId="1076"/>
          <ac:spMkLst>
            <pc:docMk/>
            <pc:sldMk cId="2155997825" sldId="375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453" v="90" actId="1076"/>
          <ac:spMkLst>
            <pc:docMk/>
            <pc:sldMk cId="2155997825" sldId="375"/>
            <ac:spMk id="20" creationId="{147F67F4-8295-4335-A9A3-880D29F245E0}"/>
          </ac:spMkLst>
        </pc:spChg>
        <pc:spChg chg="del">
          <ac:chgData name="Mery Carrasco Mauricio (Codelco-Casa Matriz)" userId="S::mmery004@codelco.cl::a0378191-74de-4d59-9b37-aa421303daba" providerId="AD" clId="Web-{9E4EC99F-707F-0000-C3F1-07969C389663}" dt="2021-05-19T04:07:31.415" v="71"/>
          <ac:spMkLst>
            <pc:docMk/>
            <pc:sldMk cId="2155997825" sldId="375"/>
            <ac:spMk id="23" creationId="{600E4E35-763E-4B81-B795-D3AB27C431DF}"/>
          </ac:spMkLst>
        </pc:spChg>
        <pc:spChg chg="del">
          <ac:chgData name="Mery Carrasco Mauricio (Codelco-Casa Matriz)" userId="S::mmery004@codelco.cl::a0378191-74de-4d59-9b37-aa421303daba" providerId="AD" clId="Web-{9E4EC99F-707F-0000-C3F1-07969C389663}" dt="2021-05-19T04:07:31.415" v="70"/>
          <ac:spMkLst>
            <pc:docMk/>
            <pc:sldMk cId="2155997825" sldId="375"/>
            <ac:spMk id="24" creationId="{99091804-6602-4E77-B3DC-179EC9B09D1A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484" v="92" actId="1076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500" v="93" actId="1076"/>
          <ac:spMkLst>
            <pc:docMk/>
            <pc:sldMk cId="2155997825" sldId="375"/>
            <ac:spMk id="28" creationId="{E62D2DE4-5353-428C-9AD9-568F12103B8B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516" v="94" actId="1076"/>
          <ac:spMkLst>
            <pc:docMk/>
            <pc:sldMk cId="2155997825" sldId="375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3:53.187" v="74" actId="1076"/>
          <ac:spMkLst>
            <pc:docMk/>
            <pc:sldMk cId="2155997825" sldId="375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516" v="95" actId="1076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3:53.203" v="75" actId="1076"/>
          <ac:spMkLst>
            <pc:docMk/>
            <pc:sldMk cId="2155997825" sldId="375"/>
            <ac:spMk id="34" creationId="{4D6685A8-C632-4230-9E08-284878417DE5}"/>
          </ac:spMkLst>
        </pc:spChg>
        <pc:spChg chg="del mod">
          <ac:chgData name="Mery Carrasco Mauricio (Codelco-Casa Matriz)" userId="S::mmery004@codelco.cl::a0378191-74de-4d59-9b37-aa421303daba" providerId="AD" clId="Web-{9E4EC99F-707F-0000-C3F1-07969C389663}" dt="2021-05-19T04:13:42.687" v="73"/>
          <ac:spMkLst>
            <pc:docMk/>
            <pc:sldMk cId="2155997825" sldId="375"/>
            <ac:spMk id="36" creationId="{F8970961-C770-4524-80ED-EA4CCAC96C7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188" v="77" actId="1076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188" v="78" actId="1076"/>
          <ac:spMkLst>
            <pc:docMk/>
            <pc:sldMk cId="2155997825" sldId="37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531" v="96" actId="1076"/>
          <ac:spMkLst>
            <pc:docMk/>
            <pc:sldMk cId="2155997825" sldId="375"/>
            <ac:spMk id="39" creationId="{34432FFB-2946-4134-8124-A7CA5A2902DD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547" v="97" actId="1076"/>
          <ac:spMkLst>
            <pc:docMk/>
            <pc:sldMk cId="2155997825" sldId="375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281" v="85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203" v="79" actId="1076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219" v="80" actId="1076"/>
          <ac:spMkLst>
            <pc:docMk/>
            <pc:sldMk cId="2155997825" sldId="37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3:53.203" v="76" actId="1076"/>
          <ac:spMkLst>
            <pc:docMk/>
            <pc:sldMk cId="2155997825" sldId="375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328" v="86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219" v="81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4:03.069" v="262"/>
          <ac:spMkLst>
            <pc:docMk/>
            <pc:sldMk cId="2155997825" sldId="37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344" v="87" actId="1076"/>
          <ac:spMkLst>
            <pc:docMk/>
            <pc:sldMk cId="2155997825" sldId="375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4:03.391" v="88" actId="1076"/>
          <ac:spMkLst>
            <pc:docMk/>
            <pc:sldMk cId="2155997825" sldId="375"/>
            <ac:spMk id="51" creationId="{F913A60D-2783-4406-9452-4739CB932FC8}"/>
          </ac:spMkLst>
        </pc:spChg>
      </pc:sldChg>
      <pc:sldChg chg="modSp">
        <pc:chgData name="Mery Carrasco Mauricio (Codelco-Casa Matriz)" userId="S::mmery004@codelco.cl::a0378191-74de-4d59-9b37-aa421303daba" providerId="AD" clId="Web-{9E4EC99F-707F-0000-C3F1-07969C389663}" dt="2021-05-19T03:53:27.071" v="25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3:53:17.211" v="24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3:53:27.071" v="25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3:52:57.726" v="23" actId="20577"/>
          <ac:spMkLst>
            <pc:docMk/>
            <pc:sldMk cId="1544981574" sldId="409"/>
            <ac:spMk id="50" creationId="{858D0EEE-7674-4667-BC95-74AC805A08A6}"/>
          </ac:spMkLst>
        </pc:spChg>
      </pc:sldChg>
      <pc:sldChg chg="mod modShow">
        <pc:chgData name="Mery Carrasco Mauricio (Codelco-Casa Matriz)" userId="S::mmery004@codelco.cl::a0378191-74de-4d59-9b37-aa421303daba" providerId="AD" clId="Web-{9E4EC99F-707F-0000-C3F1-07969C389663}" dt="2021-05-19T04:28:05.296" v="197"/>
        <pc:sldMkLst>
          <pc:docMk/>
          <pc:sldMk cId="1775339418" sldId="440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6:36.482" v="190"/>
        <pc:sldMkLst>
          <pc:docMk/>
          <pc:sldMk cId="889978394" sldId="492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3:24.682" v="165"/>
        <pc:sldMkLst>
          <pc:docMk/>
          <pc:sldMk cId="78691940" sldId="493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4:54.621" v="173"/>
        <pc:sldMkLst>
          <pc:docMk/>
          <pc:sldMk cId="2756603616" sldId="495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2:30.791" v="156"/>
        <pc:sldMkLst>
          <pc:docMk/>
          <pc:sldMk cId="1418399147" sldId="500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5:17.028" v="176"/>
        <pc:sldMkLst>
          <pc:docMk/>
          <pc:sldMk cId="3625393472" sldId="502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8:13.453" v="198"/>
        <pc:sldMkLst>
          <pc:docMk/>
          <pc:sldMk cId="1403606244" sldId="503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5:44.122" v="182"/>
        <pc:sldMkLst>
          <pc:docMk/>
          <pc:sldMk cId="3298664609" sldId="504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7:04.139" v="191"/>
        <pc:sldMkLst>
          <pc:docMk/>
          <pc:sldMk cId="3458529993" sldId="505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1:24.790" v="133"/>
        <pc:sldMkLst>
          <pc:docMk/>
          <pc:sldMk cId="136576996" sldId="506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1:24.805" v="134"/>
        <pc:sldMkLst>
          <pc:docMk/>
          <pc:sldMk cId="24165273" sldId="507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19:49.225" v="118"/>
        <pc:sldMkLst>
          <pc:docMk/>
          <pc:sldMk cId="1490313849" sldId="508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0:14.585" v="120"/>
        <pc:sldMkLst>
          <pc:docMk/>
          <pc:sldMk cId="1490156629" sldId="509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2:08.993" v="151"/>
        <pc:sldMkLst>
          <pc:docMk/>
          <pc:sldMk cId="334918088" sldId="510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2:53.822" v="158"/>
        <pc:sldMkLst>
          <pc:docMk/>
          <pc:sldMk cId="4083408312" sldId="511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3:35.495" v="167"/>
        <pc:sldMkLst>
          <pc:docMk/>
          <pc:sldMk cId="3232580586" sldId="512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3:46.683" v="168"/>
        <pc:sldMkLst>
          <pc:docMk/>
          <pc:sldMk cId="1516675172" sldId="513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5:16.919" v="175"/>
        <pc:sldMkLst>
          <pc:docMk/>
          <pc:sldMk cId="3150566601" sldId="514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6:19.904" v="188"/>
        <pc:sldMkLst>
          <pc:docMk/>
          <pc:sldMk cId="503890821" sldId="515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7:15.796" v="193"/>
        <pc:sldMkLst>
          <pc:docMk/>
          <pc:sldMk cId="40304363" sldId="516"/>
        </pc:sldMkLst>
      </pc:sldChg>
      <pc:sldChg chg="del">
        <pc:chgData name="Mery Carrasco Mauricio (Codelco-Casa Matriz)" userId="S::mmery004@codelco.cl::a0378191-74de-4d59-9b37-aa421303daba" providerId="AD" clId="Web-{9E4EC99F-707F-0000-C3F1-07969C389663}" dt="2021-05-19T04:27:40.359" v="196"/>
        <pc:sldMkLst>
          <pc:docMk/>
          <pc:sldMk cId="985900261" sldId="517"/>
        </pc:sldMkLst>
      </pc:sldChg>
      <pc:sldChg chg="modSp add ord replId">
        <pc:chgData name="Mery Carrasco Mauricio (Codelco-Casa Matriz)" userId="S::mmery004@codelco.cl::a0378191-74de-4d59-9b37-aa421303daba" providerId="AD" clId="Web-{9E4EC99F-707F-0000-C3F1-07969C389663}" dt="2021-05-19T04:18:28.161" v="117" actId="20577"/>
        <pc:sldMkLst>
          <pc:docMk/>
          <pc:sldMk cId="542542969" sldId="518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18:27.990" v="115" actId="20577"/>
          <ac:spMkLst>
            <pc:docMk/>
            <pc:sldMk cId="542542969" sldId="518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7:16.582" v="104"/>
          <ac:spMkLst>
            <pc:docMk/>
            <pc:sldMk cId="542542969" sldId="518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8:17.677" v="111" actId="20577"/>
          <ac:spMkLst>
            <pc:docMk/>
            <pc:sldMk cId="542542969" sldId="518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6:45.175" v="102"/>
          <ac:spMkLst>
            <pc:docMk/>
            <pc:sldMk cId="542542969" sldId="518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8:28.161" v="117" actId="20577"/>
          <ac:spMkLst>
            <pc:docMk/>
            <pc:sldMk cId="542542969" sldId="518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7:28.020" v="106"/>
          <ac:spMkLst>
            <pc:docMk/>
            <pc:sldMk cId="542542969" sldId="518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8:18.021" v="114" actId="20577"/>
          <ac:spMkLst>
            <pc:docMk/>
            <pc:sldMk cId="542542969" sldId="518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7:25.973" v="105"/>
          <ac:spMkLst>
            <pc:docMk/>
            <pc:sldMk cId="542542969" sldId="518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7:57.161" v="109" actId="20577"/>
          <ac:spMkLst>
            <pc:docMk/>
            <pc:sldMk cId="542542969" sldId="518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6:26.878" v="100"/>
          <ac:spMkLst>
            <pc:docMk/>
            <pc:sldMk cId="542542969" sldId="518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8:17.786" v="113" actId="20577"/>
          <ac:spMkLst>
            <pc:docMk/>
            <pc:sldMk cId="542542969" sldId="518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6:53.004" v="103"/>
          <ac:spMkLst>
            <pc:docMk/>
            <pc:sldMk cId="542542969" sldId="518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8:07.692" v="110" actId="20577"/>
          <ac:spMkLst>
            <pc:docMk/>
            <pc:sldMk cId="542542969" sldId="518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16:34.847" v="101"/>
          <ac:spMkLst>
            <pc:docMk/>
            <pc:sldMk cId="542542969" sldId="518"/>
            <ac:spMk id="51" creationId="{F913A60D-2783-4406-9452-4739CB932FC8}"/>
          </ac:spMkLst>
        </pc:spChg>
      </pc:sldChg>
      <pc:sldChg chg="modSp add replId">
        <pc:chgData name="Mery Carrasco Mauricio (Codelco-Casa Matriz)" userId="S::mmery004@codelco.cl::a0378191-74de-4d59-9b37-aa421303daba" providerId="AD" clId="Web-{9E4EC99F-707F-0000-C3F1-07969C389663}" dt="2021-05-19T04:30:30.581" v="219"/>
        <pc:sldMkLst>
          <pc:docMk/>
          <pc:sldMk cId="1655563711" sldId="519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20:47.523" v="129" actId="20577"/>
          <ac:spMkLst>
            <pc:docMk/>
            <pc:sldMk cId="1655563711" sldId="519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27.768" v="215"/>
          <ac:spMkLst>
            <pc:docMk/>
            <pc:sldMk cId="1655563711" sldId="519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0:36.929" v="124" actId="20577"/>
          <ac:spMkLst>
            <pc:docMk/>
            <pc:sldMk cId="1655563711" sldId="519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27.783" v="217"/>
          <ac:spMkLst>
            <pc:docMk/>
            <pc:sldMk cId="1655563711" sldId="519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0:57.523" v="130" actId="20577"/>
          <ac:spMkLst>
            <pc:docMk/>
            <pc:sldMk cId="1655563711" sldId="519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27.799" v="218"/>
          <ac:spMkLst>
            <pc:docMk/>
            <pc:sldMk cId="1655563711" sldId="519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0:37.070" v="127" actId="20577"/>
          <ac:spMkLst>
            <pc:docMk/>
            <pc:sldMk cId="1655563711" sldId="519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27.752" v="213"/>
          <ac:spMkLst>
            <pc:docMk/>
            <pc:sldMk cId="1655563711" sldId="519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0:26.523" v="121" actId="20577"/>
          <ac:spMkLst>
            <pc:docMk/>
            <pc:sldMk cId="1655563711" sldId="519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01.752" v="212"/>
          <ac:spMkLst>
            <pc:docMk/>
            <pc:sldMk cId="1655563711" sldId="519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30.581" v="219"/>
          <ac:spMkLst>
            <pc:docMk/>
            <pc:sldMk cId="1655563711" sldId="519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0:37.023" v="126" actId="20577"/>
          <ac:spMkLst>
            <pc:docMk/>
            <pc:sldMk cId="1655563711" sldId="519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27.752" v="214"/>
          <ac:spMkLst>
            <pc:docMk/>
            <pc:sldMk cId="1655563711" sldId="519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0:36.757" v="122" actId="20577"/>
          <ac:spMkLst>
            <pc:docMk/>
            <pc:sldMk cId="1655563711" sldId="519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27.783" v="216"/>
          <ac:spMkLst>
            <pc:docMk/>
            <pc:sldMk cId="1655563711" sldId="519"/>
            <ac:spMk id="51" creationId="{F913A60D-2783-4406-9452-4739CB932FC8}"/>
          </ac:spMkLst>
        </pc:spChg>
      </pc:sldChg>
      <pc:sldChg chg="new ord">
        <pc:chgData name="Mery Carrasco Mauricio (Codelco-Casa Matriz)" userId="S::mmery004@codelco.cl::a0378191-74de-4d59-9b37-aa421303daba" providerId="AD" clId="Web-{9E4EC99F-707F-0000-C3F1-07969C389663}" dt="2021-05-19T04:21:24.649" v="132"/>
        <pc:sldMkLst>
          <pc:docMk/>
          <pc:sldMk cId="1450730610" sldId="520"/>
        </pc:sldMkLst>
      </pc:sldChg>
      <pc:sldChg chg="modSp add replId">
        <pc:chgData name="Mery Carrasco Mauricio (Codelco-Casa Matriz)" userId="S::mmery004@codelco.cl::a0378191-74de-4d59-9b37-aa421303daba" providerId="AD" clId="Web-{9E4EC99F-707F-0000-C3F1-07969C389663}" dt="2021-05-19T04:31:03.597" v="226"/>
        <pc:sldMkLst>
          <pc:docMk/>
          <pc:sldMk cId="1095406074" sldId="521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31:03.581" v="224"/>
          <ac:spMkLst>
            <pc:docMk/>
            <pc:sldMk cId="1095406074" sldId="521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03.581" v="225"/>
          <ac:spMkLst>
            <pc:docMk/>
            <pc:sldMk cId="1095406074" sldId="521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03.597" v="226"/>
          <ac:spMkLst>
            <pc:docMk/>
            <pc:sldMk cId="1095406074" sldId="521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03.550" v="222"/>
          <ac:spMkLst>
            <pc:docMk/>
            <pc:sldMk cId="1095406074" sldId="521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2:28.166" v="154" actId="20577"/>
          <ac:spMkLst>
            <pc:docMk/>
            <pc:sldMk cId="1095406074" sldId="521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50.925" v="220"/>
          <ac:spMkLst>
            <pc:docMk/>
            <pc:sldMk cId="1095406074" sldId="521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0:50.940" v="221"/>
          <ac:spMkLst>
            <pc:docMk/>
            <pc:sldMk cId="1095406074" sldId="521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03.566" v="223"/>
          <ac:spMkLst>
            <pc:docMk/>
            <pc:sldMk cId="1095406074" sldId="521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2:16.900" v="152" actId="20577"/>
          <ac:spMkLst>
            <pc:docMk/>
            <pc:sldMk cId="1095406074" sldId="521"/>
            <ac:spMk id="50" creationId="{CAB885FA-46E1-44EF-8D19-C807FC349CC4}"/>
          </ac:spMkLst>
        </pc:spChg>
      </pc:sldChg>
      <pc:sldChg chg="add del replId">
        <pc:chgData name="Mery Carrasco Mauricio (Codelco-Casa Matriz)" userId="S::mmery004@codelco.cl::a0378191-74de-4d59-9b37-aa421303daba" providerId="AD" clId="Web-{9E4EC99F-707F-0000-C3F1-07969C389663}" dt="2021-05-19T04:22:07.462" v="149"/>
        <pc:sldMkLst>
          <pc:docMk/>
          <pc:sldMk cId="1498623998" sldId="521"/>
        </pc:sldMkLst>
      </pc:sldChg>
      <pc:sldChg chg="new">
        <pc:chgData name="Mery Carrasco Mauricio (Codelco-Casa Matriz)" userId="S::mmery004@codelco.cl::a0378191-74de-4d59-9b37-aa421303daba" providerId="AD" clId="Web-{9E4EC99F-707F-0000-C3F1-07969C389663}" dt="2021-05-19T04:22:28.275" v="155"/>
        <pc:sldMkLst>
          <pc:docMk/>
          <pc:sldMk cId="2744369828" sldId="522"/>
        </pc:sldMkLst>
      </pc:sldChg>
      <pc:sldChg chg="modSp add replId">
        <pc:chgData name="Mery Carrasco Mauricio (Codelco-Casa Matriz)" userId="S::mmery004@codelco.cl::a0378191-74de-4d59-9b37-aa421303daba" providerId="AD" clId="Web-{9E4EC99F-707F-0000-C3F1-07969C389663}" dt="2021-05-19T04:31:28.347" v="233"/>
        <pc:sldMkLst>
          <pc:docMk/>
          <pc:sldMk cId="2681686832" sldId="523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31:28.316" v="230"/>
          <ac:spMkLst>
            <pc:docMk/>
            <pc:sldMk cId="2681686832" sldId="523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2:56.869" v="161" actId="20577"/>
          <ac:spMkLst>
            <pc:docMk/>
            <pc:sldMk cId="2681686832" sldId="523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28.347" v="233"/>
          <ac:spMkLst>
            <pc:docMk/>
            <pc:sldMk cId="2681686832" sldId="523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28.285" v="227"/>
          <ac:spMkLst>
            <pc:docMk/>
            <pc:sldMk cId="2681686832" sldId="523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28.300" v="228"/>
          <ac:spMkLst>
            <pc:docMk/>
            <pc:sldMk cId="2681686832" sldId="523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28.332" v="231"/>
          <ac:spMkLst>
            <pc:docMk/>
            <pc:sldMk cId="2681686832" sldId="523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28.316" v="229"/>
          <ac:spMkLst>
            <pc:docMk/>
            <pc:sldMk cId="2681686832" sldId="523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3:14.041" v="163" actId="20577"/>
          <ac:spMkLst>
            <pc:docMk/>
            <pc:sldMk cId="2681686832" sldId="523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28.332" v="232"/>
          <ac:spMkLst>
            <pc:docMk/>
            <pc:sldMk cId="2681686832" sldId="523"/>
            <ac:spMk id="51" creationId="{F913A60D-2783-4406-9452-4739CB932FC8}"/>
          </ac:spMkLst>
        </pc:spChg>
      </pc:sldChg>
      <pc:sldChg chg="new">
        <pc:chgData name="Mery Carrasco Mauricio (Codelco-Casa Matriz)" userId="S::mmery004@codelco.cl::a0378191-74de-4d59-9b37-aa421303daba" providerId="AD" clId="Web-{9E4EC99F-707F-0000-C3F1-07969C389663}" dt="2021-05-19T04:23:22.167" v="164"/>
        <pc:sldMkLst>
          <pc:docMk/>
          <pc:sldMk cId="4097922123" sldId="524"/>
        </pc:sldMkLst>
      </pc:sldChg>
      <pc:sldChg chg="modSp add replId">
        <pc:chgData name="Mery Carrasco Mauricio (Codelco-Casa Matriz)" userId="S::mmery004@codelco.cl::a0378191-74de-4d59-9b37-aa421303daba" providerId="AD" clId="Web-{9E4EC99F-707F-0000-C3F1-07969C389663}" dt="2021-05-19T04:34:14.319" v="263"/>
        <pc:sldMkLst>
          <pc:docMk/>
          <pc:sldMk cId="3539041446" sldId="525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31:48.473" v="236"/>
          <ac:spMkLst>
            <pc:docMk/>
            <pc:sldMk cId="3539041446" sldId="52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4:05.620" v="171" actId="20577"/>
          <ac:spMkLst>
            <pc:docMk/>
            <pc:sldMk cId="3539041446" sldId="525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48.519" v="239"/>
          <ac:spMkLst>
            <pc:docMk/>
            <pc:sldMk cId="3539041446" sldId="525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48.535" v="240"/>
          <ac:spMkLst>
            <pc:docMk/>
            <pc:sldMk cId="3539041446" sldId="525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48.457" v="234"/>
          <ac:spMkLst>
            <pc:docMk/>
            <pc:sldMk cId="3539041446" sldId="52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48.457" v="235"/>
          <ac:spMkLst>
            <pc:docMk/>
            <pc:sldMk cId="3539041446" sldId="52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48.488" v="237"/>
          <ac:spMkLst>
            <pc:docMk/>
            <pc:sldMk cId="3539041446" sldId="52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3:54.761" v="169" actId="20577"/>
          <ac:spMkLst>
            <pc:docMk/>
            <pc:sldMk cId="3539041446" sldId="52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4:14.319" v="263"/>
          <ac:spMkLst>
            <pc:docMk/>
            <pc:sldMk cId="3539041446" sldId="525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1:48.504" v="238"/>
          <ac:spMkLst>
            <pc:docMk/>
            <pc:sldMk cId="3539041446" sldId="525"/>
            <ac:spMk id="51" creationId="{F913A60D-2783-4406-9452-4739CB932FC8}"/>
          </ac:spMkLst>
        </pc:spChg>
      </pc:sldChg>
      <pc:sldChg chg="new">
        <pc:chgData name="Mery Carrasco Mauricio (Codelco-Casa Matriz)" userId="S::mmery004@codelco.cl::a0378191-74de-4d59-9b37-aa421303daba" providerId="AD" clId="Web-{9E4EC99F-707F-0000-C3F1-07969C389663}" dt="2021-05-19T04:24:54.262" v="172"/>
        <pc:sldMkLst>
          <pc:docMk/>
          <pc:sldMk cId="3254988731" sldId="526"/>
        </pc:sldMkLst>
      </pc:sldChg>
      <pc:sldChg chg="modSp add replId">
        <pc:chgData name="Mery Carrasco Mauricio (Codelco-Casa Matriz)" userId="S::mmery004@codelco.cl::a0378191-74de-4d59-9b37-aa421303daba" providerId="AD" clId="Web-{9E4EC99F-707F-0000-C3F1-07969C389663}" dt="2021-05-19T04:32:30.489" v="247"/>
        <pc:sldMkLst>
          <pc:docMk/>
          <pc:sldMk cId="1795708575" sldId="527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32:30.442" v="243"/>
          <ac:spMkLst>
            <pc:docMk/>
            <pc:sldMk cId="1795708575" sldId="527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30.473" v="246"/>
          <ac:spMkLst>
            <pc:docMk/>
            <pc:sldMk cId="1795708575" sldId="527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30.489" v="247"/>
          <ac:spMkLst>
            <pc:docMk/>
            <pc:sldMk cId="1795708575" sldId="527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5:32.747" v="178" actId="20577"/>
          <ac:spMkLst>
            <pc:docMk/>
            <pc:sldMk cId="1795708575" sldId="527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30.426" v="241"/>
          <ac:spMkLst>
            <pc:docMk/>
            <pc:sldMk cId="1795708575" sldId="527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30.458" v="244"/>
          <ac:spMkLst>
            <pc:docMk/>
            <pc:sldMk cId="1795708575" sldId="527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5:32.856" v="180" actId="20577"/>
          <ac:spMkLst>
            <pc:docMk/>
            <pc:sldMk cId="1795708575" sldId="527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30.442" v="242"/>
          <ac:spMkLst>
            <pc:docMk/>
            <pc:sldMk cId="1795708575" sldId="527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30.473" v="245"/>
          <ac:spMkLst>
            <pc:docMk/>
            <pc:sldMk cId="1795708575" sldId="527"/>
            <ac:spMk id="51" creationId="{F913A60D-2783-4406-9452-4739CB932FC8}"/>
          </ac:spMkLst>
        </pc:spChg>
      </pc:sldChg>
      <pc:sldChg chg="new">
        <pc:chgData name="Mery Carrasco Mauricio (Codelco-Casa Matriz)" userId="S::mmery004@codelco.cl::a0378191-74de-4d59-9b37-aa421303daba" providerId="AD" clId="Web-{9E4EC99F-707F-0000-C3F1-07969C389663}" dt="2021-05-19T04:25:34.559" v="181"/>
        <pc:sldMkLst>
          <pc:docMk/>
          <pc:sldMk cId="1869297631" sldId="528"/>
        </pc:sldMkLst>
      </pc:sldChg>
      <pc:sldChg chg="modSp add ord replId">
        <pc:chgData name="Mery Carrasco Mauricio (Codelco-Casa Matriz)" userId="S::mmery004@codelco.cl::a0378191-74de-4d59-9b37-aa421303daba" providerId="AD" clId="Web-{9E4EC99F-707F-0000-C3F1-07969C389663}" dt="2021-05-19T04:32:51.802" v="254"/>
        <pc:sldMkLst>
          <pc:docMk/>
          <pc:sldMk cId="2435291665" sldId="529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26:01.544" v="185" actId="20577"/>
          <ac:spMkLst>
            <pc:docMk/>
            <pc:sldMk cId="2435291665" sldId="529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786" v="253"/>
          <ac:spMkLst>
            <pc:docMk/>
            <pc:sldMk cId="2435291665" sldId="529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802" v="254"/>
          <ac:spMkLst>
            <pc:docMk/>
            <pc:sldMk cId="2435291665" sldId="529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6:09.826" v="187" actId="20577"/>
          <ac:spMkLst>
            <pc:docMk/>
            <pc:sldMk cId="2435291665" sldId="529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739" v="248"/>
          <ac:spMkLst>
            <pc:docMk/>
            <pc:sldMk cId="2435291665" sldId="529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755" v="249"/>
          <ac:spMkLst>
            <pc:docMk/>
            <pc:sldMk cId="2435291665" sldId="529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771" v="251"/>
          <ac:spMkLst>
            <pc:docMk/>
            <pc:sldMk cId="2435291665" sldId="529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755" v="250"/>
          <ac:spMkLst>
            <pc:docMk/>
            <pc:sldMk cId="2435291665" sldId="529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2:51.771" v="252"/>
          <ac:spMkLst>
            <pc:docMk/>
            <pc:sldMk cId="2435291665" sldId="529"/>
            <ac:spMk id="51" creationId="{F913A60D-2783-4406-9452-4739CB932FC8}"/>
          </ac:spMkLst>
        </pc:spChg>
      </pc:sldChg>
      <pc:sldChg chg="new">
        <pc:chgData name="Mery Carrasco Mauricio (Codelco-Casa Matriz)" userId="S::mmery004@codelco.cl::a0378191-74de-4d59-9b37-aa421303daba" providerId="AD" clId="Web-{9E4EC99F-707F-0000-C3F1-07969C389663}" dt="2021-05-19T04:26:28.764" v="189"/>
        <pc:sldMkLst>
          <pc:docMk/>
          <pc:sldMk cId="1296061766" sldId="530"/>
        </pc:sldMkLst>
      </pc:sldChg>
      <pc:sldChg chg="modSp add replId">
        <pc:chgData name="Mery Carrasco Mauricio (Codelco-Casa Matriz)" userId="S::mmery004@codelco.cl::a0378191-74de-4d59-9b37-aa421303daba" providerId="AD" clId="Web-{9E4EC99F-707F-0000-C3F1-07969C389663}" dt="2021-05-19T04:33:07.661" v="261"/>
        <pc:sldMkLst>
          <pc:docMk/>
          <pc:sldMk cId="2547109870" sldId="531"/>
        </pc:sldMkLst>
        <pc:spChg chg="mod">
          <ac:chgData name="Mery Carrasco Mauricio (Codelco-Casa Matriz)" userId="S::mmery004@codelco.cl::a0378191-74de-4d59-9b37-aa421303daba" providerId="AD" clId="Web-{9E4EC99F-707F-0000-C3F1-07969C389663}" dt="2021-05-19T04:27:40.249" v="195" actId="20577"/>
          <ac:spMkLst>
            <pc:docMk/>
            <pc:sldMk cId="2547109870" sldId="531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630" v="258"/>
          <ac:spMkLst>
            <pc:docMk/>
            <pc:sldMk cId="2547109870" sldId="531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661" v="261"/>
          <ac:spMkLst>
            <pc:docMk/>
            <pc:sldMk cId="2547109870" sldId="531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27:24.108" v="194" actId="20577"/>
          <ac:spMkLst>
            <pc:docMk/>
            <pc:sldMk cId="2547109870" sldId="531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599" v="255"/>
          <ac:spMkLst>
            <pc:docMk/>
            <pc:sldMk cId="2547109870" sldId="531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615" v="256"/>
          <ac:spMkLst>
            <pc:docMk/>
            <pc:sldMk cId="2547109870" sldId="531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646" v="259"/>
          <ac:spMkLst>
            <pc:docMk/>
            <pc:sldMk cId="2547109870" sldId="531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615" v="257"/>
          <ac:spMkLst>
            <pc:docMk/>
            <pc:sldMk cId="2547109870" sldId="531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9E4EC99F-707F-0000-C3F1-07969C389663}" dt="2021-05-19T04:33:07.646" v="260"/>
          <ac:spMkLst>
            <pc:docMk/>
            <pc:sldMk cId="2547109870" sldId="531"/>
            <ac:spMk id="51" creationId="{F913A60D-2783-4406-9452-4739CB932FC8}"/>
          </ac:spMkLst>
        </pc:spChg>
      </pc:sldChg>
    </pc:docChg>
  </pc:docChgLst>
  <pc:docChgLst>
    <pc:chgData name="Paillacar Oyarzo Paulo Ignacio (Codelco-Casa Matriz)" userId="S::ppail001@codelco.cl::3f9c4ec0-dfff-4bc5-ba03-192dd672e537" providerId="AD" clId="Web-{C2AD46AE-619D-47F3-E8EC-5C40F24BC09C}"/>
    <pc:docChg chg="addSld delSld modSld">
      <pc:chgData name="Paillacar Oyarzo Paulo Ignacio (Codelco-Casa Matriz)" userId="S::ppail001@codelco.cl::3f9c4ec0-dfff-4bc5-ba03-192dd672e537" providerId="AD" clId="Web-{C2AD46AE-619D-47F3-E8EC-5C40F24BC09C}" dt="2020-10-08T14:33:09.883" v="627" actId="20577"/>
      <pc:docMkLst>
        <pc:docMk/>
      </pc:docMkLst>
      <pc:sldChg chg="addSp delSp modSp">
        <pc:chgData name="Paillacar Oyarzo Paulo Ignacio (Codelco-Casa Matriz)" userId="S::ppail001@codelco.cl::3f9c4ec0-dfff-4bc5-ba03-192dd672e537" providerId="AD" clId="Web-{C2AD46AE-619D-47F3-E8EC-5C40F24BC09C}" dt="2020-10-08T14:33:09.883" v="626" actId="20577"/>
        <pc:sldMkLst>
          <pc:docMk/>
          <pc:sldMk cId="3044602424" sldId="397"/>
        </pc:sldMkLst>
        <pc:spChg chg="mod">
          <ac:chgData name="Paillacar Oyarzo Paulo Ignacio (Codelco-Casa Matriz)" userId="S::ppail001@codelco.cl::3f9c4ec0-dfff-4bc5-ba03-192dd672e537" providerId="AD" clId="Web-{C2AD46AE-619D-47F3-E8EC-5C40F24BC09C}" dt="2020-10-08T14:02:56.766" v="269" actId="1076"/>
          <ac:spMkLst>
            <pc:docMk/>
            <pc:sldMk cId="3044602424" sldId="397"/>
            <ac:spMk id="3" creationId="{E73EE9E8-A3BD-4DC0-BF96-29D33E6230AE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08.685" v="46"/>
          <ac:spMkLst>
            <pc:docMk/>
            <pc:sldMk cId="3044602424" sldId="397"/>
            <ac:spMk id="5" creationId="{C8A7ECE5-CE9D-47AB-A18B-7DCE07EDA148}"/>
          </ac:spMkLst>
        </pc:spChg>
        <pc:spChg chg="del mod">
          <ac:chgData name="Paillacar Oyarzo Paulo Ignacio (Codelco-Casa Matriz)" userId="S::ppail001@codelco.cl::3f9c4ec0-dfff-4bc5-ba03-192dd672e537" providerId="AD" clId="Web-{C2AD46AE-619D-47F3-E8EC-5C40F24BC09C}" dt="2020-10-08T13:49:58.013" v="109"/>
          <ac:spMkLst>
            <pc:docMk/>
            <pc:sldMk cId="3044602424" sldId="397"/>
            <ac:spMk id="6" creationId="{568F9387-EED3-4ABA-BA3C-51FE35CCFEAB}"/>
          </ac:spMkLst>
        </pc:spChg>
        <pc:spChg chg="add del mod">
          <ac:chgData name="Paillacar Oyarzo Paulo Ignacio (Codelco-Casa Matriz)" userId="S::ppail001@codelco.cl::3f9c4ec0-dfff-4bc5-ba03-192dd672e537" providerId="AD" clId="Web-{C2AD46AE-619D-47F3-E8EC-5C40F24BC09C}" dt="2020-10-08T13:54:08.795" v="191"/>
          <ac:spMkLst>
            <pc:docMk/>
            <pc:sldMk cId="3044602424" sldId="397"/>
            <ac:spMk id="8" creationId="{C39CA5E0-B677-4E1B-A104-85860CA453B4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50.435" v="107"/>
          <ac:spMkLst>
            <pc:docMk/>
            <pc:sldMk cId="3044602424" sldId="397"/>
            <ac:spMk id="9" creationId="{55639D22-6420-4D75-BAD0-FB0E13CDB6F4}"/>
          </ac:spMkLst>
        </pc:spChg>
        <pc:spChg chg="mod">
          <ac:chgData name="Paillacar Oyarzo Paulo Ignacio (Codelco-Casa Matriz)" userId="S::ppail001@codelco.cl::3f9c4ec0-dfff-4bc5-ba03-192dd672e537" providerId="AD" clId="Web-{C2AD46AE-619D-47F3-E8EC-5C40F24BC09C}" dt="2020-10-08T14:03:45.891" v="278" actId="1076"/>
          <ac:spMkLst>
            <pc:docMk/>
            <pc:sldMk cId="3044602424" sldId="397"/>
            <ac:spMk id="11" creationId="{7DE3D8F0-3285-4408-96DF-8936B37C8F4E}"/>
          </ac:spMkLst>
        </pc:spChg>
        <pc:spChg chg="mod">
          <ac:chgData name="Paillacar Oyarzo Paulo Ignacio (Codelco-Casa Matriz)" userId="S::ppail001@codelco.cl::3f9c4ec0-dfff-4bc5-ba03-192dd672e537" providerId="AD" clId="Web-{C2AD46AE-619D-47F3-E8EC-5C40F24BC09C}" dt="2020-10-08T13:59:44.093" v="227" actId="1076"/>
          <ac:spMkLst>
            <pc:docMk/>
            <pc:sldMk cId="3044602424" sldId="397"/>
            <ac:spMk id="13" creationId="{E37C4DCA-501A-46C1-8E0F-EB2F27D3F054}"/>
          </ac:spMkLst>
        </pc:spChg>
        <pc:spChg chg="add mod">
          <ac:chgData name="Paillacar Oyarzo Paulo Ignacio (Codelco-Casa Matriz)" userId="S::ppail001@codelco.cl::3f9c4ec0-dfff-4bc5-ba03-192dd672e537" providerId="AD" clId="Web-{C2AD46AE-619D-47F3-E8EC-5C40F24BC09C}" dt="2020-10-08T14:33:09.883" v="626" actId="20577"/>
          <ac:spMkLst>
            <pc:docMk/>
            <pc:sldMk cId="3044602424" sldId="397"/>
            <ac:spMk id="14" creationId="{83F79AB8-46C3-4A53-AF24-5CA9C5FBD3D6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97" v="75"/>
          <ac:spMkLst>
            <pc:docMk/>
            <pc:sldMk cId="3044602424" sldId="397"/>
            <ac:spMk id="27" creationId="{33BCCE3A-409A-444A-AFBD-8B595495BDB7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97" v="80"/>
          <ac:spMkLst>
            <pc:docMk/>
            <pc:sldMk cId="3044602424" sldId="397"/>
            <ac:spMk id="28" creationId="{B367E335-3A35-47AC-9F33-5E24C4C53004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82" v="69"/>
          <ac:spMkLst>
            <pc:docMk/>
            <pc:sldMk cId="3044602424" sldId="397"/>
            <ac:spMk id="29" creationId="{F372C546-CACE-4B78-9EAB-1AA5B49F592D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82" v="67"/>
          <ac:spMkLst>
            <pc:docMk/>
            <pc:sldMk cId="3044602424" sldId="397"/>
            <ac:spMk id="30" creationId="{F4A43E5C-F419-42BD-9FF2-888CD96CA754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97" v="78"/>
          <ac:spMkLst>
            <pc:docMk/>
            <pc:sldMk cId="3044602424" sldId="397"/>
            <ac:spMk id="32" creationId="{26C4E7C5-D894-40ED-96C0-91CD94606DEB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97" v="76"/>
          <ac:spMkLst>
            <pc:docMk/>
            <pc:sldMk cId="3044602424" sldId="397"/>
            <ac:spMk id="33" creationId="{1140E1C5-296C-41E4-AD8E-B567CB4C3FFD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97" v="73"/>
          <ac:spMkLst>
            <pc:docMk/>
            <pc:sldMk cId="3044602424" sldId="397"/>
            <ac:spMk id="34" creationId="{6E460152-C04C-4ADC-BC20-B53B03A2DAB2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29.482" v="71"/>
          <ac:spMkLst>
            <pc:docMk/>
            <pc:sldMk cId="3044602424" sldId="397"/>
            <ac:spMk id="35" creationId="{0C473F0A-A0AA-4D63-B30C-0991937EA71C}"/>
          </ac:spMkLst>
        </pc:spChg>
        <pc:spChg chg="add mod">
          <ac:chgData name="Paillacar Oyarzo Paulo Ignacio (Codelco-Casa Matriz)" userId="S::ppail001@codelco.cl::3f9c4ec0-dfff-4bc5-ba03-192dd672e537" providerId="AD" clId="Web-{C2AD46AE-619D-47F3-E8EC-5C40F24BC09C}" dt="2020-10-08T14:16:01.347" v="565" actId="1076"/>
          <ac:spMkLst>
            <pc:docMk/>
            <pc:sldMk cId="3044602424" sldId="397"/>
            <ac:spMk id="67" creationId="{017137C6-DB05-46D7-8E88-2AF6CA734537}"/>
          </ac:spMkLst>
        </pc:spChg>
        <pc:spChg chg="add mod">
          <ac:chgData name="Paillacar Oyarzo Paulo Ignacio (Codelco-Casa Matriz)" userId="S::ppail001@codelco.cl::3f9c4ec0-dfff-4bc5-ba03-192dd672e537" providerId="AD" clId="Web-{C2AD46AE-619D-47F3-E8EC-5C40F24BC09C}" dt="2020-10-08T13:59:33.750" v="210" actId="1076"/>
          <ac:spMkLst>
            <pc:docMk/>
            <pc:sldMk cId="3044602424" sldId="397"/>
            <ac:spMk id="73" creationId="{35358F33-D18A-430C-A370-148E107FFD09}"/>
          </ac:spMkLst>
        </pc:spChg>
        <pc:spChg chg="add del">
          <ac:chgData name="Paillacar Oyarzo Paulo Ignacio (Codelco-Casa Matriz)" userId="S::ppail001@codelco.cl::3f9c4ec0-dfff-4bc5-ba03-192dd672e537" providerId="AD" clId="Web-{C2AD46AE-619D-47F3-E8EC-5C40F24BC09C}" dt="2020-10-08T14:14:38.659" v="484"/>
          <ac:spMkLst>
            <pc:docMk/>
            <pc:sldMk cId="3044602424" sldId="397"/>
            <ac:spMk id="74" creationId="{945C6D62-ECD9-4C79-BC73-BD8C714275D0}"/>
          </ac:spMkLst>
        </pc:spChg>
        <pc:spChg chg="add mod">
          <ac:chgData name="Paillacar Oyarzo Paulo Ignacio (Codelco-Casa Matriz)" userId="S::ppail001@codelco.cl::3f9c4ec0-dfff-4bc5-ba03-192dd672e537" providerId="AD" clId="Web-{C2AD46AE-619D-47F3-E8EC-5C40F24BC09C}" dt="2020-10-08T14:32:49.257" v="591" actId="20577"/>
          <ac:spMkLst>
            <pc:docMk/>
            <pc:sldMk cId="3044602424" sldId="397"/>
            <ac:spMk id="75" creationId="{AB75D92A-936D-4E69-92FC-F7A3C635ACEB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6"/>
          <ac:spMkLst>
            <pc:docMk/>
            <pc:sldMk cId="3044602424" sldId="397"/>
            <ac:spMk id="123" creationId="{A6CF0C6D-C2C3-4E0F-8A08-7DC7BC6E35BF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5"/>
          <ac:spMkLst>
            <pc:docMk/>
            <pc:sldMk cId="3044602424" sldId="397"/>
            <ac:spMk id="124" creationId="{BCB5160C-AC2D-44D7-A6A8-FF03B840622E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4"/>
          <ac:spMkLst>
            <pc:docMk/>
            <pc:sldMk cId="3044602424" sldId="397"/>
            <ac:spMk id="125" creationId="{85055BB5-B72C-49E9-B0FB-C649397CF402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3"/>
          <ac:spMkLst>
            <pc:docMk/>
            <pc:sldMk cId="3044602424" sldId="397"/>
            <ac:spMk id="126" creationId="{EA0514BA-82F1-4EDA-89A1-0B3A05D9C6C4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2"/>
          <ac:spMkLst>
            <pc:docMk/>
            <pc:sldMk cId="3044602424" sldId="397"/>
            <ac:spMk id="127" creationId="{80BC7BB2-8440-462E-A1DB-3736E153F817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1"/>
          <ac:spMkLst>
            <pc:docMk/>
            <pc:sldMk cId="3044602424" sldId="397"/>
            <ac:spMk id="128" creationId="{AA44CE52-50F7-4217-8355-4D6430C638CF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94" v="90"/>
          <ac:spMkLst>
            <pc:docMk/>
            <pc:sldMk cId="3044602424" sldId="397"/>
            <ac:spMk id="129" creationId="{E2615AC9-48F9-43E8-9354-1B9CE1C1EE58}"/>
          </ac:spMkLst>
        </pc:spChg>
        <pc:spChg chg="del">
          <ac:chgData name="Paillacar Oyarzo Paulo Ignacio (Codelco-Casa Matriz)" userId="S::ppail001@codelco.cl::3f9c4ec0-dfff-4bc5-ba03-192dd672e537" providerId="AD" clId="Web-{C2AD46AE-619D-47F3-E8EC-5C40F24BC09C}" dt="2020-10-08T13:49:32.778" v="89"/>
          <ac:spMkLst>
            <pc:docMk/>
            <pc:sldMk cId="3044602424" sldId="397"/>
            <ac:spMk id="130" creationId="{B11C2756-9CA7-4790-A02B-DD7B23B6D5A0}"/>
          </ac:spMkLst>
        </pc:spChg>
        <pc:graphicFrameChg chg="del">
          <ac:chgData name="Paillacar Oyarzo Paulo Ignacio (Codelco-Casa Matriz)" userId="S::ppail001@codelco.cl::3f9c4ec0-dfff-4bc5-ba03-192dd672e537" providerId="AD" clId="Web-{C2AD46AE-619D-47F3-E8EC-5C40F24BC09C}" dt="2020-10-08T13:49:32.810" v="105"/>
          <ac:graphicFrameMkLst>
            <pc:docMk/>
            <pc:sldMk cId="3044602424" sldId="397"/>
            <ac:graphicFrameMk id="109" creationId="{A72CB3EF-4990-45E9-A8AB-4E604F7EBFE3}"/>
          </ac:graphicFrameMkLst>
        </pc:graphicFrameChg>
        <pc:graphicFrameChg chg="del">
          <ac:chgData name="Paillacar Oyarzo Paulo Ignacio (Codelco-Casa Matriz)" userId="S::ppail001@codelco.cl::3f9c4ec0-dfff-4bc5-ba03-192dd672e537" providerId="AD" clId="Web-{C2AD46AE-619D-47F3-E8EC-5C40F24BC09C}" dt="2020-10-08T13:49:29.466" v="53"/>
          <ac:graphicFrameMkLst>
            <pc:docMk/>
            <pc:sldMk cId="3044602424" sldId="397"/>
            <ac:graphicFrameMk id="161" creationId="{39138DFD-EFDF-4843-B499-73A6E6954A33}"/>
          </ac:graphicFrameMkLst>
        </pc:graphicFrameChg>
        <pc:graphicFrameChg chg="del">
          <ac:chgData name="Paillacar Oyarzo Paulo Ignacio (Codelco-Casa Matriz)" userId="S::ppail001@codelco.cl::3f9c4ec0-dfff-4bc5-ba03-192dd672e537" providerId="AD" clId="Web-{C2AD46AE-619D-47F3-E8EC-5C40F24BC09C}" dt="2020-10-08T13:49:29.466" v="52"/>
          <ac:graphicFrameMkLst>
            <pc:docMk/>
            <pc:sldMk cId="3044602424" sldId="397"/>
            <ac:graphicFrameMk id="162" creationId="{C0508211-9DC3-4EF9-BB08-6062882C864F}"/>
          </ac:graphicFrameMkLst>
        </pc:graphicFrameChg>
        <pc:graphicFrameChg chg="del">
          <ac:chgData name="Paillacar Oyarzo Paulo Ignacio (Codelco-Casa Matriz)" userId="S::ppail001@codelco.cl::3f9c4ec0-dfff-4bc5-ba03-192dd672e537" providerId="AD" clId="Web-{C2AD46AE-619D-47F3-E8EC-5C40F24BC09C}" dt="2020-10-08T13:49:29.466" v="51"/>
          <ac:graphicFrameMkLst>
            <pc:docMk/>
            <pc:sldMk cId="3044602424" sldId="397"/>
            <ac:graphicFrameMk id="163" creationId="{FAA0CA31-0374-42E6-9AAB-C8F40D2236D2}"/>
          </ac:graphicFrameMkLst>
        </pc:graphicFrameChg>
        <pc:graphicFrameChg chg="del">
          <ac:chgData name="Paillacar Oyarzo Paulo Ignacio (Codelco-Casa Matriz)" userId="S::ppail001@codelco.cl::3f9c4ec0-dfff-4bc5-ba03-192dd672e537" providerId="AD" clId="Web-{C2AD46AE-619D-47F3-E8EC-5C40F24BC09C}" dt="2020-10-08T13:49:29.466" v="50"/>
          <ac:graphicFrameMkLst>
            <pc:docMk/>
            <pc:sldMk cId="3044602424" sldId="397"/>
            <ac:graphicFrameMk id="164" creationId="{334AA054-EF95-417F-9B58-2BCD2FCBF9B3}"/>
          </ac:graphicFrameMkLst>
        </pc:graphicFrameChg>
        <pc:picChg chg="add mod">
          <ac:chgData name="Paillacar Oyarzo Paulo Ignacio (Codelco-Casa Matriz)" userId="S::ppail001@codelco.cl::3f9c4ec0-dfff-4bc5-ba03-192dd672e537" providerId="AD" clId="Web-{C2AD46AE-619D-47F3-E8EC-5C40F24BC09C}" dt="2020-10-08T14:03:02.516" v="272" actId="1076"/>
          <ac:picMkLst>
            <pc:docMk/>
            <pc:sldMk cId="3044602424" sldId="397"/>
            <ac:picMk id="10" creationId="{12AEA7B8-CF71-4E39-8A5D-E9074D08BD5B}"/>
          </ac:picMkLst>
        </pc:picChg>
        <pc:picChg chg="add mod">
          <ac:chgData name="Paillacar Oyarzo Paulo Ignacio (Codelco-Casa Matriz)" userId="S::ppail001@codelco.cl::3f9c4ec0-dfff-4bc5-ba03-192dd672e537" providerId="AD" clId="Web-{C2AD46AE-619D-47F3-E8EC-5C40F24BC09C}" dt="2020-10-08T14:04:41.938" v="284" actId="1076"/>
          <ac:picMkLst>
            <pc:docMk/>
            <pc:sldMk cId="3044602424" sldId="397"/>
            <ac:picMk id="12" creationId="{C59AF3B8-9353-4305-93DA-C36D60672271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97" v="79"/>
          <ac:picMkLst>
            <pc:docMk/>
            <pc:sldMk cId="3044602424" sldId="397"/>
            <ac:picMk id="15" creationId="{AC7B665B-44B4-4A86-92B0-326FFDD6878D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97" v="81"/>
          <ac:picMkLst>
            <pc:docMk/>
            <pc:sldMk cId="3044602424" sldId="397"/>
            <ac:picMk id="17" creationId="{5E9774AE-0BD7-4FBF-AC10-080B8F8A2506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97" v="77"/>
          <ac:picMkLst>
            <pc:docMk/>
            <pc:sldMk cId="3044602424" sldId="397"/>
            <ac:picMk id="20" creationId="{508FDADB-08F8-43FD-A7C6-7A20728020AD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97" v="74"/>
          <ac:picMkLst>
            <pc:docMk/>
            <pc:sldMk cId="3044602424" sldId="397"/>
            <ac:picMk id="31" creationId="{CA8C6DC4-4046-4CBA-B338-79F0EC720A25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97" v="72"/>
          <ac:picMkLst>
            <pc:docMk/>
            <pc:sldMk cId="3044602424" sldId="397"/>
            <ac:picMk id="38" creationId="{AD5CAF65-73E9-4FD1-990C-9E5A3EB1E347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82" v="70"/>
          <ac:picMkLst>
            <pc:docMk/>
            <pc:sldMk cId="3044602424" sldId="397"/>
            <ac:picMk id="39" creationId="{49F27E40-FD1F-464C-85C3-AB9DA7D7E055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82" v="68"/>
          <ac:picMkLst>
            <pc:docMk/>
            <pc:sldMk cId="3044602424" sldId="397"/>
            <ac:picMk id="40" creationId="{58F5056D-C0ED-4DF9-A662-C91D68C0D0AA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29.482" v="66"/>
          <ac:picMkLst>
            <pc:docMk/>
            <pc:sldMk cId="3044602424" sldId="397"/>
            <ac:picMk id="41" creationId="{5466DAEA-EF5A-487E-AB24-1538116B96D0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810" v="104"/>
          <ac:picMkLst>
            <pc:docMk/>
            <pc:sldMk cId="3044602424" sldId="397"/>
            <ac:picMk id="112" creationId="{5BC2D387-DF2D-4309-BBBE-F4C9D426ACA0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810" v="103"/>
          <ac:picMkLst>
            <pc:docMk/>
            <pc:sldMk cId="3044602424" sldId="397"/>
            <ac:picMk id="113" creationId="{5694D9BD-3855-4E6A-9D7B-0A285FA8EEBE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810" v="102"/>
          <ac:picMkLst>
            <pc:docMk/>
            <pc:sldMk cId="3044602424" sldId="397"/>
            <ac:picMk id="114" creationId="{CA876083-AFF7-47E9-B1D9-8EECE443CEF9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794" v="97"/>
          <ac:picMkLst>
            <pc:docMk/>
            <pc:sldMk cId="3044602424" sldId="397"/>
            <ac:picMk id="116" creationId="{C3980A58-D3EB-43AE-9CDB-27637D6060E9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794" v="101"/>
          <ac:picMkLst>
            <pc:docMk/>
            <pc:sldMk cId="3044602424" sldId="397"/>
            <ac:picMk id="117" creationId="{C9F5536C-D601-4500-AF37-48463EEA545E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794" v="100"/>
          <ac:picMkLst>
            <pc:docMk/>
            <pc:sldMk cId="3044602424" sldId="397"/>
            <ac:picMk id="118" creationId="{D108911D-628D-4A98-838F-0D167368765F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794" v="99"/>
          <ac:picMkLst>
            <pc:docMk/>
            <pc:sldMk cId="3044602424" sldId="397"/>
            <ac:picMk id="119" creationId="{E6F5C333-3C98-467B-808C-77BB811813EF}"/>
          </ac:picMkLst>
        </pc:picChg>
        <pc:picChg chg="del">
          <ac:chgData name="Paillacar Oyarzo Paulo Ignacio (Codelco-Casa Matriz)" userId="S::ppail001@codelco.cl::3f9c4ec0-dfff-4bc5-ba03-192dd672e537" providerId="AD" clId="Web-{C2AD46AE-619D-47F3-E8EC-5C40F24BC09C}" dt="2020-10-08T13:49:32.794" v="98"/>
          <ac:picMkLst>
            <pc:docMk/>
            <pc:sldMk cId="3044602424" sldId="397"/>
            <ac:picMk id="120" creationId="{60987BF1-15B4-49E8-9782-059E19934B0D}"/>
          </ac:picMkLst>
        </pc:pic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65"/>
          <ac:cxnSpMkLst>
            <pc:docMk/>
            <pc:sldMk cId="3044602424" sldId="397"/>
            <ac:cxnSpMk id="45" creationId="{8AAF2886-658F-4ECA-AADF-9F05E7C40B75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64"/>
          <ac:cxnSpMkLst>
            <pc:docMk/>
            <pc:sldMk cId="3044602424" sldId="397"/>
            <ac:cxnSpMk id="50" creationId="{E944177D-6716-4C23-8056-164409D26B99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63"/>
          <ac:cxnSpMkLst>
            <pc:docMk/>
            <pc:sldMk cId="3044602424" sldId="397"/>
            <ac:cxnSpMk id="53" creationId="{8AA05DD7-F19F-4ACC-B143-83810BF794AF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62"/>
          <ac:cxnSpMkLst>
            <pc:docMk/>
            <pc:sldMk cId="3044602424" sldId="397"/>
            <ac:cxnSpMk id="55" creationId="{70B5428B-5A88-41AB-AF72-4A4927E7063F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61"/>
          <ac:cxnSpMkLst>
            <pc:docMk/>
            <pc:sldMk cId="3044602424" sldId="397"/>
            <ac:cxnSpMk id="60" creationId="{120DAF27-FBD7-413B-A3AD-E5D2895A09B8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60"/>
          <ac:cxnSpMkLst>
            <pc:docMk/>
            <pc:sldMk cId="3044602424" sldId="397"/>
            <ac:cxnSpMk id="63" creationId="{E7753560-4073-4C7E-BAA2-715C3DDEEE80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82" v="59"/>
          <ac:cxnSpMkLst>
            <pc:docMk/>
            <pc:sldMk cId="3044602424" sldId="397"/>
            <ac:cxnSpMk id="66" creationId="{D9434DF9-1331-48F3-9FEB-F8A2DC897826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66" v="58"/>
          <ac:cxnSpMkLst>
            <pc:docMk/>
            <pc:sldMk cId="3044602424" sldId="397"/>
            <ac:cxnSpMk id="69" creationId="{0C85D6DA-D989-40D2-ADA7-F63E5D355D10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66" v="57"/>
          <ac:cxnSpMkLst>
            <pc:docMk/>
            <pc:sldMk cId="3044602424" sldId="397"/>
            <ac:cxnSpMk id="72" creationId="{585B7B8F-27BA-42D4-8A81-B182B3292DCE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66" v="56"/>
          <ac:cxnSpMkLst>
            <pc:docMk/>
            <pc:sldMk cId="3044602424" sldId="397"/>
            <ac:cxnSpMk id="77" creationId="{A88C561C-4F95-466D-8D6E-5F36A8ED0BB7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66" v="55"/>
          <ac:cxnSpMkLst>
            <pc:docMk/>
            <pc:sldMk cId="3044602424" sldId="397"/>
            <ac:cxnSpMk id="80" creationId="{30172B2D-5923-463A-AF3F-CD33055E5A17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29.466" v="54"/>
          <ac:cxnSpMkLst>
            <pc:docMk/>
            <pc:sldMk cId="3044602424" sldId="397"/>
            <ac:cxnSpMk id="91" creationId="{02D6EB2F-0D3F-4AEE-BD79-2FEA05F54940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8"/>
          <ac:cxnSpMkLst>
            <pc:docMk/>
            <pc:sldMk cId="3044602424" sldId="397"/>
            <ac:cxnSpMk id="131" creationId="{9BF2476D-6319-460E-AF2C-86A7DA5F1499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7"/>
          <ac:cxnSpMkLst>
            <pc:docMk/>
            <pc:sldMk cId="3044602424" sldId="397"/>
            <ac:cxnSpMk id="134" creationId="{A7B8BDE2-8E6A-4DCF-8874-74042766AAB5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6"/>
          <ac:cxnSpMkLst>
            <pc:docMk/>
            <pc:sldMk cId="3044602424" sldId="397"/>
            <ac:cxnSpMk id="138" creationId="{98204002-F46A-43F0-8115-5F0ACFEC237A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5"/>
          <ac:cxnSpMkLst>
            <pc:docMk/>
            <pc:sldMk cId="3044602424" sldId="397"/>
            <ac:cxnSpMk id="141" creationId="{39993752-37C7-4BDB-82CA-D9B060C02ABE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4"/>
          <ac:cxnSpMkLst>
            <pc:docMk/>
            <pc:sldMk cId="3044602424" sldId="397"/>
            <ac:cxnSpMk id="144" creationId="{8A4C3CB3-2764-4902-B1B2-8F727F42C351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3"/>
          <ac:cxnSpMkLst>
            <pc:docMk/>
            <pc:sldMk cId="3044602424" sldId="397"/>
            <ac:cxnSpMk id="147" creationId="{2BBE6355-A8D4-4D2B-AAEE-A06D638E378C}"/>
          </ac:cxnSpMkLst>
        </pc:cxnChg>
        <pc:cxnChg chg="del mod">
          <ac:chgData name="Paillacar Oyarzo Paulo Ignacio (Codelco-Casa Matriz)" userId="S::ppail001@codelco.cl::3f9c4ec0-dfff-4bc5-ba03-192dd672e537" providerId="AD" clId="Web-{C2AD46AE-619D-47F3-E8EC-5C40F24BC09C}" dt="2020-10-08T13:49:32.778" v="82"/>
          <ac:cxnSpMkLst>
            <pc:docMk/>
            <pc:sldMk cId="3044602424" sldId="397"/>
            <ac:cxnSpMk id="151" creationId="{3B234961-DEFF-4FB0-A26A-7A9927D888DA}"/>
          </ac:cxnSpMkLst>
        </pc:cxnChg>
      </pc:sldChg>
      <pc:sldChg chg="modSp">
        <pc:chgData name="Paillacar Oyarzo Paulo Ignacio (Codelco-Casa Matriz)" userId="S::ppail001@codelco.cl::3f9c4ec0-dfff-4bc5-ba03-192dd672e537" providerId="AD" clId="Web-{C2AD46AE-619D-47F3-E8EC-5C40F24BC09C}" dt="2020-10-08T13:27:55.055" v="21" actId="1076"/>
        <pc:sldMkLst>
          <pc:docMk/>
          <pc:sldMk cId="3112561217" sldId="400"/>
        </pc:sldMkLst>
        <pc:spChg chg="mod">
          <ac:chgData name="Paillacar Oyarzo Paulo Ignacio (Codelco-Casa Matriz)" userId="S::ppail001@codelco.cl::3f9c4ec0-dfff-4bc5-ba03-192dd672e537" providerId="AD" clId="Web-{C2AD46AE-619D-47F3-E8EC-5C40F24BC09C}" dt="2020-10-08T13:27:55.055" v="21" actId="1076"/>
          <ac:spMkLst>
            <pc:docMk/>
            <pc:sldMk cId="3112561217" sldId="400"/>
            <ac:spMk id="13" creationId="{C5CCE89E-546E-4D7E-ADC1-67D17A2734BC}"/>
          </ac:spMkLst>
        </pc:spChg>
      </pc:sldChg>
      <pc:sldChg chg="mod modShow">
        <pc:chgData name="Paillacar Oyarzo Paulo Ignacio (Codelco-Casa Matriz)" userId="S::ppail001@codelco.cl::3f9c4ec0-dfff-4bc5-ba03-192dd672e537" providerId="AD" clId="Web-{C2AD46AE-619D-47F3-E8EC-5C40F24BC09C}" dt="2020-10-08T13:28:43.774" v="22"/>
        <pc:sldMkLst>
          <pc:docMk/>
          <pc:sldMk cId="131058556" sldId="410"/>
        </pc:sldMkLst>
      </pc:sldChg>
      <pc:sldChg chg="new del">
        <pc:chgData name="Paillacar Oyarzo Paulo Ignacio (Codelco-Casa Matriz)" userId="S::ppail001@codelco.cl::3f9c4ec0-dfff-4bc5-ba03-192dd672e537" providerId="AD" clId="Web-{C2AD46AE-619D-47F3-E8EC-5C40F24BC09C}" dt="2020-10-08T13:38:34.760" v="24"/>
        <pc:sldMkLst>
          <pc:docMk/>
          <pc:sldMk cId="1889816346" sldId="418"/>
        </pc:sldMkLst>
      </pc:sldChg>
      <pc:sldChg chg="add mod replId modShow">
        <pc:chgData name="Paillacar Oyarzo Paulo Ignacio (Codelco-Casa Matriz)" userId="S::ppail001@codelco.cl::3f9c4ec0-dfff-4bc5-ba03-192dd672e537" providerId="AD" clId="Web-{C2AD46AE-619D-47F3-E8EC-5C40F24BC09C}" dt="2020-10-08T14:28:22.272" v="570"/>
        <pc:sldMkLst>
          <pc:docMk/>
          <pc:sldMk cId="3137290440" sldId="418"/>
        </pc:sldMkLst>
      </pc:sldChg>
    </pc:docChg>
  </pc:docChgLst>
  <pc:docChgLst>
    <pc:chgData name="Valenzuela Alfaro Alvaro (Codelco-Casa Matriz)" userId="S::avale036@codelco.cl::beebaec1-f16e-436d-a3cd-8566efe3ac18" providerId="AD" clId="Web-{AF6DD353-8BEA-8DB6-1B7B-D6F25CEF567D}"/>
    <pc:docChg chg="modSld">
      <pc:chgData name="Valenzuela Alfaro Alvaro (Codelco-Casa Matriz)" userId="S::avale036@codelco.cl::beebaec1-f16e-436d-a3cd-8566efe3ac18" providerId="AD" clId="Web-{AF6DD353-8BEA-8DB6-1B7B-D6F25CEF567D}" dt="2021-02-10T21:27:24.701" v="1" actId="1076"/>
      <pc:docMkLst>
        <pc:docMk/>
      </pc:docMkLst>
      <pc:sldChg chg="addSp modSp">
        <pc:chgData name="Valenzuela Alfaro Alvaro (Codelco-Casa Matriz)" userId="S::avale036@codelco.cl::beebaec1-f16e-436d-a3cd-8566efe3ac18" providerId="AD" clId="Web-{AF6DD353-8BEA-8DB6-1B7B-D6F25CEF567D}" dt="2021-02-10T21:27:24.701" v="1" actId="1076"/>
        <pc:sldMkLst>
          <pc:docMk/>
          <pc:sldMk cId="1357916913" sldId="474"/>
        </pc:sldMkLst>
        <pc:picChg chg="add mod">
          <ac:chgData name="Valenzuela Alfaro Alvaro (Codelco-Casa Matriz)" userId="S::avale036@codelco.cl::beebaec1-f16e-436d-a3cd-8566efe3ac18" providerId="AD" clId="Web-{AF6DD353-8BEA-8DB6-1B7B-D6F25CEF567D}" dt="2021-02-10T21:27:24.701" v="1" actId="1076"/>
          <ac:picMkLst>
            <pc:docMk/>
            <pc:sldMk cId="1357916913" sldId="474"/>
            <ac:picMk id="10" creationId="{39E8F70E-3224-49D0-B44E-91257D9E70AC}"/>
          </ac:picMkLst>
        </pc:picChg>
      </pc:sldChg>
    </pc:docChg>
  </pc:docChgLst>
  <pc:docChgLst>
    <pc:chgData name="Ribbeck Baraibar Magdalena (Codelco-Casa Matriz)" userId="S::mribb001@codelco.cl::7bb6843e-b693-4544-85cb-a362c987f4a4" providerId="AD" clId="Web-{E67930E3-BD4E-4E85-97F1-5A679D6AE93D}"/>
    <pc:docChg chg="modSld">
      <pc:chgData name="Ribbeck Baraibar Magdalena (Codelco-Casa Matriz)" userId="S::mribb001@codelco.cl::7bb6843e-b693-4544-85cb-a362c987f4a4" providerId="AD" clId="Web-{E67930E3-BD4E-4E85-97F1-5A679D6AE93D}" dt="2021-05-06T12:43:29.631" v="1" actId="1076"/>
      <pc:docMkLst>
        <pc:docMk/>
      </pc:docMkLst>
      <pc:sldChg chg="addSp modSp">
        <pc:chgData name="Ribbeck Baraibar Magdalena (Codelco-Casa Matriz)" userId="S::mribb001@codelco.cl::7bb6843e-b693-4544-85cb-a362c987f4a4" providerId="AD" clId="Web-{E67930E3-BD4E-4E85-97F1-5A679D6AE93D}" dt="2021-05-06T12:43:29.631" v="1" actId="1076"/>
        <pc:sldMkLst>
          <pc:docMk/>
          <pc:sldMk cId="3298664609" sldId="504"/>
        </pc:sldMkLst>
        <pc:picChg chg="add mod">
          <ac:chgData name="Ribbeck Baraibar Magdalena (Codelco-Casa Matriz)" userId="S::mribb001@codelco.cl::7bb6843e-b693-4544-85cb-a362c987f4a4" providerId="AD" clId="Web-{E67930E3-BD4E-4E85-97F1-5A679D6AE93D}" dt="2021-05-06T12:43:29.631" v="1" actId="1076"/>
          <ac:picMkLst>
            <pc:docMk/>
            <pc:sldMk cId="3298664609" sldId="504"/>
            <ac:picMk id="3" creationId="{3D911471-D635-48DD-80CC-6569D3D06182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4BB9549B-BE5F-63A2-CF2B-5B5F7EBA1902}"/>
    <pc:docChg chg="delSld">
      <pc:chgData name="Mery Carrasco Mauricio (Codelco-Casa Matriz)" userId="S::mmery004@codelco.cl::a0378191-74de-4d59-9b37-aa421303daba" providerId="AD" clId="Web-{4BB9549B-BE5F-63A2-CF2B-5B5F7EBA1902}" dt="2021-04-15T16:00:13.804" v="0"/>
      <pc:docMkLst>
        <pc:docMk/>
      </pc:docMkLst>
      <pc:sldChg chg="del">
        <pc:chgData name="Mery Carrasco Mauricio (Codelco-Casa Matriz)" userId="S::mmery004@codelco.cl::a0378191-74de-4d59-9b37-aa421303daba" providerId="AD" clId="Web-{4BB9549B-BE5F-63A2-CF2B-5B5F7EBA1902}" dt="2021-04-15T16:00:13.804" v="0"/>
        <pc:sldMkLst>
          <pc:docMk/>
          <pc:sldMk cId="1595313586" sldId="492"/>
        </pc:sldMkLst>
      </pc:sldChg>
    </pc:docChg>
  </pc:docChgLst>
  <pc:docChgLst>
    <pc:chgData name="Ribbeck Baraibar Magdalena (Codelco-Casa Matriz)" userId="S::mribb001@codelco.cl::7bb6843e-b693-4544-85cb-a362c987f4a4" providerId="AD" clId="Web-{E5C4C99F-900B-0000-C22D-9F4537A5FC18}"/>
    <pc:docChg chg="modSld">
      <pc:chgData name="Ribbeck Baraibar Magdalena (Codelco-Casa Matriz)" userId="S::mribb001@codelco.cl::7bb6843e-b693-4544-85cb-a362c987f4a4" providerId="AD" clId="Web-{E5C4C99F-900B-0000-C22D-9F4537A5FC18}" dt="2021-05-20T15:08:11.668" v="126" actId="1076"/>
      <pc:docMkLst>
        <pc:docMk/>
      </pc:docMkLst>
      <pc:sldChg chg="modSp">
        <pc:chgData name="Ribbeck Baraibar Magdalena (Codelco-Casa Matriz)" userId="S::mribb001@codelco.cl::7bb6843e-b693-4544-85cb-a362c987f4a4" providerId="AD" clId="Web-{E5C4C99F-900B-0000-C22D-9F4537A5FC18}" dt="2021-05-20T14:49:45.129" v="110" actId="20577"/>
        <pc:sldMkLst>
          <pc:docMk/>
          <pc:sldMk cId="1544981574" sldId="409"/>
        </pc:sldMkLst>
        <pc:spChg chg="mod">
          <ac:chgData name="Ribbeck Baraibar Magdalena (Codelco-Casa Matriz)" userId="S::mribb001@codelco.cl::7bb6843e-b693-4544-85cb-a362c987f4a4" providerId="AD" clId="Web-{E5C4C99F-900B-0000-C22D-9F4537A5FC18}" dt="2021-05-20T14:49:45.129" v="110" actId="20577"/>
          <ac:spMkLst>
            <pc:docMk/>
            <pc:sldMk cId="1544981574" sldId="409"/>
            <ac:spMk id="32" creationId="{878D481B-74FF-415D-BFF5-A8DD8F0FEC9A}"/>
          </ac:spMkLst>
        </pc:spChg>
        <pc:spChg chg="mod">
          <ac:chgData name="Ribbeck Baraibar Magdalena (Codelco-Casa Matriz)" userId="S::mribb001@codelco.cl::7bb6843e-b693-4544-85cb-a362c987f4a4" providerId="AD" clId="Web-{E5C4C99F-900B-0000-C22D-9F4537A5FC18}" dt="2021-05-20T14:25:08.082" v="3" actId="20577"/>
          <ac:spMkLst>
            <pc:docMk/>
            <pc:sldMk cId="1544981574" sldId="409"/>
            <ac:spMk id="50" creationId="{858D0EEE-7674-4667-BC95-74AC805A08A6}"/>
          </ac:spMkLst>
        </pc:spChg>
      </pc:sldChg>
      <pc:sldChg chg="addSp delSp modSp">
        <pc:chgData name="Ribbeck Baraibar Magdalena (Codelco-Casa Matriz)" userId="S::mribb001@codelco.cl::7bb6843e-b693-4544-85cb-a362c987f4a4" providerId="AD" clId="Web-{E5C4C99F-900B-0000-C22D-9F4537A5FC18}" dt="2021-05-20T15:08:11.668" v="126" actId="1076"/>
        <pc:sldMkLst>
          <pc:docMk/>
          <pc:sldMk cId="4097922123" sldId="524"/>
        </pc:sldMkLst>
        <pc:picChg chg="add mod">
          <ac:chgData name="Ribbeck Baraibar Magdalena (Codelco-Casa Matriz)" userId="S::mribb001@codelco.cl::7bb6843e-b693-4544-85cb-a362c987f4a4" providerId="AD" clId="Web-{E5C4C99F-900B-0000-C22D-9F4537A5FC18}" dt="2021-05-20T15:03:17.881" v="112" actId="1076"/>
          <ac:picMkLst>
            <pc:docMk/>
            <pc:sldMk cId="4097922123" sldId="524"/>
            <ac:picMk id="5" creationId="{2CB55734-DFA4-4C0A-AFB6-68B61AB78CBC}"/>
          </ac:picMkLst>
        </pc:picChg>
        <pc:picChg chg="add del mod">
          <ac:chgData name="Ribbeck Baraibar Magdalena (Codelco-Casa Matriz)" userId="S::mribb001@codelco.cl::7bb6843e-b693-4544-85cb-a362c987f4a4" providerId="AD" clId="Web-{E5C4C99F-900B-0000-C22D-9F4537A5FC18}" dt="2021-05-20T15:07:51.855" v="122"/>
          <ac:picMkLst>
            <pc:docMk/>
            <pc:sldMk cId="4097922123" sldId="524"/>
            <ac:picMk id="6" creationId="{03006C7D-FCE7-4276-A3CC-1B9AE158485C}"/>
          </ac:picMkLst>
        </pc:picChg>
        <pc:picChg chg="add mod">
          <ac:chgData name="Ribbeck Baraibar Magdalena (Codelco-Casa Matriz)" userId="S::mribb001@codelco.cl::7bb6843e-b693-4544-85cb-a362c987f4a4" providerId="AD" clId="Web-{E5C4C99F-900B-0000-C22D-9F4537A5FC18}" dt="2021-05-20T15:08:11.668" v="126" actId="1076"/>
          <ac:picMkLst>
            <pc:docMk/>
            <pc:sldMk cId="4097922123" sldId="524"/>
            <ac:picMk id="7" creationId="{86B993BA-DB90-4C07-BD5D-EE15D83D60E3}"/>
          </ac:picMkLst>
        </pc:picChg>
      </pc:sldChg>
    </pc:docChg>
  </pc:docChgLst>
  <pc:docChgLst>
    <pc:chgData name="Allende Bustamante Jose (Codelco-Casa Matriz)" userId="S::jalle011@codelco.cl::54345eee-8770-43bf-b080-e3e333067d62" providerId="AD" clId="Web-{4FC86E68-F65C-2FD2-753D-2148A4D5FBB1}"/>
    <pc:docChg chg="modSld">
      <pc:chgData name="Allende Bustamante Jose (Codelco-Casa Matriz)" userId="S::jalle011@codelco.cl::54345eee-8770-43bf-b080-e3e333067d62" providerId="AD" clId="Web-{4FC86E68-F65C-2FD2-753D-2148A4D5FBB1}" dt="2020-10-22T14:31:58.737" v="586"/>
      <pc:docMkLst>
        <pc:docMk/>
      </pc:docMkLst>
      <pc:sldChg chg="addSp delSp modSp">
        <pc:chgData name="Allende Bustamante Jose (Codelco-Casa Matriz)" userId="S::jalle011@codelco.cl::54345eee-8770-43bf-b080-e3e333067d62" providerId="AD" clId="Web-{4FC86E68-F65C-2FD2-753D-2148A4D5FBB1}" dt="2020-10-22T14:31:58.737" v="586"/>
        <pc:sldMkLst>
          <pc:docMk/>
          <pc:sldMk cId="3508652071" sldId="423"/>
        </pc:sldMkLst>
        <pc:spChg chg="add del mod ord">
          <ac:chgData name="Allende Bustamante Jose (Codelco-Casa Matriz)" userId="S::jalle011@codelco.cl::54345eee-8770-43bf-b080-e3e333067d62" providerId="AD" clId="Web-{4FC86E68-F65C-2FD2-753D-2148A4D5FBB1}" dt="2020-10-22T14:04:58.998" v="9"/>
          <ac:spMkLst>
            <pc:docMk/>
            <pc:sldMk cId="3508652071" sldId="423"/>
            <ac:spMk id="2" creationId="{8CAC145C-6A67-4172-99FA-55B3632175A3}"/>
          </ac:spMkLst>
        </pc:spChg>
        <pc:spChg chg="mod">
          <ac:chgData name="Allende Bustamante Jose (Codelco-Casa Matriz)" userId="S::jalle011@codelco.cl::54345eee-8770-43bf-b080-e3e333067d62" providerId="AD" clId="Web-{4FC86E68-F65C-2FD2-753D-2148A4D5FBB1}" dt="2020-10-22T14:11:35.600" v="20" actId="20577"/>
          <ac:spMkLst>
            <pc:docMk/>
            <pc:sldMk cId="3508652071" sldId="423"/>
            <ac:spMk id="6" creationId="{CEC036D1-36BF-2B47-B38D-37C36728233F}"/>
          </ac:spMkLst>
        </pc:spChg>
        <pc:spChg chg="add mod">
          <ac:chgData name="Allende Bustamante Jose (Codelco-Casa Matriz)" userId="S::jalle011@codelco.cl::54345eee-8770-43bf-b080-e3e333067d62" providerId="AD" clId="Web-{4FC86E68-F65C-2FD2-753D-2148A4D5FBB1}" dt="2020-10-22T14:24:31.571" v="531" actId="20577"/>
          <ac:spMkLst>
            <pc:docMk/>
            <pc:sldMk cId="3508652071" sldId="423"/>
            <ac:spMk id="7" creationId="{0B1AB149-E3D4-4021-9880-1E1EB3B15FDE}"/>
          </ac:spMkLst>
        </pc:spChg>
        <pc:spChg chg="add mod">
          <ac:chgData name="Allende Bustamante Jose (Codelco-Casa Matriz)" userId="S::jalle011@codelco.cl::54345eee-8770-43bf-b080-e3e333067d62" providerId="AD" clId="Web-{4FC86E68-F65C-2FD2-753D-2148A4D5FBB1}" dt="2020-10-22T14:31:58.737" v="586"/>
          <ac:spMkLst>
            <pc:docMk/>
            <pc:sldMk cId="3508652071" sldId="423"/>
            <ac:spMk id="8" creationId="{55F757BF-FB19-4D7E-A783-708605F322E6}"/>
          </ac:spMkLst>
        </pc:spChg>
        <pc:spChg chg="mod">
          <ac:chgData name="Allende Bustamante Jose (Codelco-Casa Matriz)" userId="S::jalle011@codelco.cl::54345eee-8770-43bf-b080-e3e333067d62" providerId="AD" clId="Web-{4FC86E68-F65C-2FD2-753D-2148A4D5FBB1}" dt="2020-10-22T14:04:25.653" v="1" actId="20577"/>
          <ac:spMkLst>
            <pc:docMk/>
            <pc:sldMk cId="3508652071" sldId="423"/>
            <ac:spMk id="93" creationId="{ED3D7D87-8763-4935-8007-1AB5DEC82804}"/>
          </ac:spMkLst>
        </pc:spChg>
        <pc:grpChg chg="del mod">
          <ac:chgData name="Allende Bustamante Jose (Codelco-Casa Matriz)" userId="S::jalle011@codelco.cl::54345eee-8770-43bf-b080-e3e333067d62" providerId="AD" clId="Web-{4FC86E68-F65C-2FD2-753D-2148A4D5FBB1}" dt="2020-10-22T14:04:54.482" v="7"/>
          <ac:grpSpMkLst>
            <pc:docMk/>
            <pc:sldMk cId="3508652071" sldId="423"/>
            <ac:grpSpMk id="4" creationId="{651C81DE-5A32-485B-BE7B-692C50C40765}"/>
          </ac:grpSpMkLst>
        </pc:grpChg>
        <pc:picChg chg="add del mod modCrop">
          <ac:chgData name="Allende Bustamante Jose (Codelco-Casa Matriz)" userId="S::jalle011@codelco.cl::54345eee-8770-43bf-b080-e3e333067d62" providerId="AD" clId="Web-{4FC86E68-F65C-2FD2-753D-2148A4D5FBB1}" dt="2020-10-22T14:21:05.176" v="485"/>
          <ac:picMkLst>
            <pc:docMk/>
            <pc:sldMk cId="3508652071" sldId="423"/>
            <ac:picMk id="3" creationId="{172F18AC-3BA4-4F27-B01C-BD582C7509BF}"/>
          </ac:picMkLst>
        </pc:picChg>
        <pc:picChg chg="add mod modCrop">
          <ac:chgData name="Allende Bustamante Jose (Codelco-Casa Matriz)" userId="S::jalle011@codelco.cl::54345eee-8770-43bf-b080-e3e333067d62" providerId="AD" clId="Web-{4FC86E68-F65C-2FD2-753D-2148A4D5FBB1}" dt="2020-10-22T14:24:01.508" v="528" actId="1076"/>
          <ac:picMkLst>
            <pc:docMk/>
            <pc:sldMk cId="3508652071" sldId="423"/>
            <ac:picMk id="117" creationId="{98674596-1A7D-4A49-AFC9-00284D50B5FA}"/>
          </ac:picMkLst>
        </pc:picChg>
        <pc:cxnChg chg="del mod">
          <ac:chgData name="Allende Bustamante Jose (Codelco-Casa Matriz)" userId="S::jalle011@codelco.cl::54345eee-8770-43bf-b080-e3e333067d62" providerId="AD" clId="Web-{4FC86E68-F65C-2FD2-753D-2148A4D5FBB1}" dt="2020-10-22T14:04:56.701" v="8"/>
          <ac:cxnSpMkLst>
            <pc:docMk/>
            <pc:sldMk cId="3508652071" sldId="423"/>
            <ac:cxnSpMk id="5" creationId="{AFEFDA1F-F249-004C-B93D-C8C1998CE3E7}"/>
          </ac:cxnSpMkLst>
        </pc:cxnChg>
      </pc:sldChg>
    </pc:docChg>
  </pc:docChgLst>
  <pc:docChgLst>
    <pc:chgData name="Jerez Ortiz Alonso (Codelco-Casa Matriz)" userId="S::ajere002@codelco.cl::0a270fae-b3c5-4943-ba4f-0e2dd2800d21" providerId="AD" clId="Web-{49079A78-AC50-42C4-957B-20E27879CABF}"/>
    <pc:docChg chg="addSld modSld sldOrd">
      <pc:chgData name="Jerez Ortiz Alonso (Codelco-Casa Matriz)" userId="S::ajere002@codelco.cl::0a270fae-b3c5-4943-ba4f-0e2dd2800d21" providerId="AD" clId="Web-{49079A78-AC50-42C4-957B-20E27879CABF}" dt="2021-10-12T15:24:46.485" v="99"/>
      <pc:docMkLst>
        <pc:docMk/>
      </pc:docMkLst>
      <pc:sldChg chg="addSp delSp modSp add ord replId">
        <pc:chgData name="Jerez Ortiz Alonso (Codelco-Casa Matriz)" userId="S::ajere002@codelco.cl::0a270fae-b3c5-4943-ba4f-0e2dd2800d21" providerId="AD" clId="Web-{49079A78-AC50-42C4-957B-20E27879CABF}" dt="2021-10-12T15:24:46.485" v="99"/>
        <pc:sldMkLst>
          <pc:docMk/>
          <pc:sldMk cId="2648493667" sldId="618"/>
        </pc:sldMkLst>
        <pc:spChg chg="mod">
          <ac:chgData name="Jerez Ortiz Alonso (Codelco-Casa Matriz)" userId="S::ajere002@codelco.cl::0a270fae-b3c5-4943-ba4f-0e2dd2800d21" providerId="AD" clId="Web-{49079A78-AC50-42C4-957B-20E27879CABF}" dt="2021-10-12T15:18:35.136" v="38" actId="20577"/>
          <ac:spMkLst>
            <pc:docMk/>
            <pc:sldMk cId="2648493667" sldId="618"/>
            <ac:spMk id="22" creationId="{00000000-0000-0000-0000-000000000000}"/>
          </ac:spMkLst>
        </pc:spChg>
        <pc:spChg chg="del">
          <ac:chgData name="Jerez Ortiz Alonso (Codelco-Casa Matriz)" userId="S::ajere002@codelco.cl::0a270fae-b3c5-4943-ba4f-0e2dd2800d21" providerId="AD" clId="Web-{49079A78-AC50-42C4-957B-20E27879CABF}" dt="2021-10-12T15:18:09.526" v="4"/>
          <ac:spMkLst>
            <pc:docMk/>
            <pc:sldMk cId="2648493667" sldId="618"/>
            <ac:spMk id="24" creationId="{97FA4FFC-0615-47F6-8B01-E9C4F580F2AC}"/>
          </ac:spMkLst>
        </pc:spChg>
        <pc:spChg chg="del mod">
          <ac:chgData name="Jerez Ortiz Alonso (Codelco-Casa Matriz)" userId="S::ajere002@codelco.cl::0a270fae-b3c5-4943-ba4f-0e2dd2800d21" providerId="AD" clId="Web-{49079A78-AC50-42C4-957B-20E27879CABF}" dt="2021-10-12T15:18:39.417" v="39"/>
          <ac:spMkLst>
            <pc:docMk/>
            <pc:sldMk cId="2648493667" sldId="618"/>
            <ac:spMk id="25" creationId="{CD9BD3A8-3FFB-42F7-9236-B6A9F53B752E}"/>
          </ac:spMkLst>
        </pc:spChg>
        <pc:spChg chg="del mod">
          <ac:chgData name="Jerez Ortiz Alonso (Codelco-Casa Matriz)" userId="S::ajere002@codelco.cl::0a270fae-b3c5-4943-ba4f-0e2dd2800d21" providerId="AD" clId="Web-{49079A78-AC50-42C4-957B-20E27879CABF}" dt="2021-10-12T15:18:09.964" v="10"/>
          <ac:spMkLst>
            <pc:docMk/>
            <pc:sldMk cId="2648493667" sldId="618"/>
            <ac:spMk id="37" creationId="{97FA4FFC-0615-47F6-8B01-E9C4F580F2AC}"/>
          </ac:spMkLst>
        </pc:spChg>
        <pc:spChg chg="del">
          <ac:chgData name="Jerez Ortiz Alonso (Codelco-Casa Matriz)" userId="S::ajere002@codelco.cl::0a270fae-b3c5-4943-ba4f-0e2dd2800d21" providerId="AD" clId="Web-{49079A78-AC50-42C4-957B-20E27879CABF}" dt="2021-10-12T15:18:09.917" v="9"/>
          <ac:spMkLst>
            <pc:docMk/>
            <pc:sldMk cId="2648493667" sldId="618"/>
            <ac:spMk id="38" creationId="{CD9BD3A8-3FFB-42F7-9236-B6A9F53B752E}"/>
          </ac:spMkLst>
        </pc:spChg>
        <pc:graphicFrameChg chg="add mod modGraphic">
          <ac:chgData name="Jerez Ortiz Alonso (Codelco-Casa Matriz)" userId="S::ajere002@codelco.cl::0a270fae-b3c5-4943-ba4f-0e2dd2800d21" providerId="AD" clId="Web-{49079A78-AC50-42C4-957B-20E27879CABF}" dt="2021-10-12T15:22:55.843" v="90" actId="1076"/>
          <ac:graphicFrameMkLst>
            <pc:docMk/>
            <pc:sldMk cId="2648493667" sldId="618"/>
            <ac:graphicFrameMk id="2" creationId="{D9BF54FB-DD4C-4174-B991-D6A3B3C72FE6}"/>
          </ac:graphicFrameMkLst>
        </pc:graphicFrameChg>
        <pc:picChg chg="del">
          <ac:chgData name="Jerez Ortiz Alonso (Codelco-Casa Matriz)" userId="S::ajere002@codelco.cl::0a270fae-b3c5-4943-ba4f-0e2dd2800d21" providerId="AD" clId="Web-{49079A78-AC50-42C4-957B-20E27879CABF}" dt="2021-10-12T15:18:09.089" v="3"/>
          <ac:picMkLst>
            <pc:docMk/>
            <pc:sldMk cId="2648493667" sldId="618"/>
            <ac:picMk id="21" creationId="{330B0625-8DDC-4344-BC3C-74997F2A70A9}"/>
          </ac:picMkLst>
        </pc:picChg>
        <pc:picChg chg="del">
          <ac:chgData name="Jerez Ortiz Alonso (Codelco-Casa Matriz)" userId="S::ajere002@codelco.cl::0a270fae-b3c5-4943-ba4f-0e2dd2800d21" providerId="AD" clId="Web-{49079A78-AC50-42C4-957B-20E27879CABF}" dt="2021-10-12T15:18:09.682" v="7"/>
          <ac:picMkLst>
            <pc:docMk/>
            <pc:sldMk cId="2648493667" sldId="618"/>
            <ac:picMk id="26" creationId="{00000000-0000-0000-0000-000000000000}"/>
          </ac:picMkLst>
        </pc:picChg>
        <pc:picChg chg="del">
          <ac:chgData name="Jerez Ortiz Alonso (Codelco-Casa Matriz)" userId="S::ajere002@codelco.cl::0a270fae-b3c5-4943-ba4f-0e2dd2800d21" providerId="AD" clId="Web-{49079A78-AC50-42C4-957B-20E27879CABF}" dt="2021-10-12T15:18:09.636" v="6"/>
          <ac:picMkLst>
            <pc:docMk/>
            <pc:sldMk cId="2648493667" sldId="618"/>
            <ac:picMk id="28" creationId="{00000000-0000-0000-0000-000000000000}"/>
          </ac:picMkLst>
        </pc:picChg>
        <pc:picChg chg="del">
          <ac:chgData name="Jerez Ortiz Alonso (Codelco-Casa Matriz)" userId="S::ajere002@codelco.cl::0a270fae-b3c5-4943-ba4f-0e2dd2800d21" providerId="AD" clId="Web-{49079A78-AC50-42C4-957B-20E27879CABF}" dt="2021-10-12T15:17:48.370" v="2"/>
          <ac:picMkLst>
            <pc:docMk/>
            <pc:sldMk cId="2648493667" sldId="618"/>
            <ac:picMk id="39" creationId="{00000000-0000-0000-0000-000000000000}"/>
          </ac:picMkLst>
        </pc:picChg>
        <pc:picChg chg="add mod">
          <ac:chgData name="Jerez Ortiz Alonso (Codelco-Casa Matriz)" userId="S::ajere002@codelco.cl::0a270fae-b3c5-4943-ba4f-0e2dd2800d21" providerId="AD" clId="Web-{49079A78-AC50-42C4-957B-20E27879CABF}" dt="2021-10-12T15:24:16.094" v="95" actId="1076"/>
          <ac:picMkLst>
            <pc:docMk/>
            <pc:sldMk cId="2648493667" sldId="618"/>
            <ac:picMk id="348" creationId="{5EF09728-71A9-4418-A7DA-0AAAFA8CC023}"/>
          </ac:picMkLst>
        </pc:picChg>
        <pc:picChg chg="add del mod">
          <ac:chgData name="Jerez Ortiz Alonso (Codelco-Casa Matriz)" userId="S::ajere002@codelco.cl::0a270fae-b3c5-4943-ba4f-0e2dd2800d21" providerId="AD" clId="Web-{49079A78-AC50-42C4-957B-20E27879CABF}" dt="2021-10-12T15:24:16.625" v="97"/>
          <ac:picMkLst>
            <pc:docMk/>
            <pc:sldMk cId="2648493667" sldId="618"/>
            <ac:picMk id="349" creationId="{D678F631-C781-4C17-ADCD-A8CD424AE9EC}"/>
          </ac:picMkLst>
        </pc:picChg>
        <pc:picChg chg="add del mod">
          <ac:chgData name="Jerez Ortiz Alonso (Codelco-Casa Matriz)" userId="S::ajere002@codelco.cl::0a270fae-b3c5-4943-ba4f-0e2dd2800d21" providerId="AD" clId="Web-{49079A78-AC50-42C4-957B-20E27879CABF}" dt="2021-10-12T15:24:46.485" v="99"/>
          <ac:picMkLst>
            <pc:docMk/>
            <pc:sldMk cId="2648493667" sldId="618"/>
            <ac:picMk id="356" creationId="{D6C88F59-016F-4AA6-A215-AA0CD81E2565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5897573B-8EB7-6D3D-650B-75E59F39AE39}"/>
    <pc:docChg chg="modSld">
      <pc:chgData name="Paillacar Oyarzo Paulo Ignacio (Codelco-Casa Matriz)" userId="S::ppail001@codelco.cl::3f9c4ec0-dfff-4bc5-ba03-192dd672e537" providerId="AD" clId="Web-{5897573B-8EB7-6D3D-650B-75E59F39AE39}" dt="2020-10-22T12:56:51.999" v="2" actId="1076"/>
      <pc:docMkLst>
        <pc:docMk/>
      </pc:docMkLst>
      <pc:sldChg chg="modSp">
        <pc:chgData name="Paillacar Oyarzo Paulo Ignacio (Codelco-Casa Matriz)" userId="S::ppail001@codelco.cl::3f9c4ec0-dfff-4bc5-ba03-192dd672e537" providerId="AD" clId="Web-{5897573B-8EB7-6D3D-650B-75E59F39AE39}" dt="2020-10-22T12:56:51.999" v="2" actId="1076"/>
        <pc:sldMkLst>
          <pc:docMk/>
          <pc:sldMk cId="2155997825" sldId="375"/>
        </pc:sldMkLst>
        <pc:spChg chg="mod">
          <ac:chgData name="Paillacar Oyarzo Paulo Ignacio (Codelco-Casa Matriz)" userId="S::ppail001@codelco.cl::3f9c4ec0-dfff-4bc5-ba03-192dd672e537" providerId="AD" clId="Web-{5897573B-8EB7-6D3D-650B-75E59F39AE39}" dt="2020-10-22T12:56:51.999" v="2" actId="1076"/>
          <ac:spMkLst>
            <pc:docMk/>
            <pc:sldMk cId="2155997825" sldId="375"/>
            <ac:spMk id="31" creationId="{24493FDB-8748-48AC-9C1E-26039568AB51}"/>
          </ac:spMkLst>
        </pc:spChg>
        <pc:spChg chg="mod">
          <ac:chgData name="Paillacar Oyarzo Paulo Ignacio (Codelco-Casa Matriz)" userId="S::ppail001@codelco.cl::3f9c4ec0-dfff-4bc5-ba03-192dd672e537" providerId="AD" clId="Web-{5897573B-8EB7-6D3D-650B-75E59F39AE39}" dt="2020-10-22T12:56:46.389" v="1" actId="1076"/>
          <ac:spMkLst>
            <pc:docMk/>
            <pc:sldMk cId="2155997825" sldId="375"/>
            <ac:spMk id="34" creationId="{94882F7D-BE97-41DF-B498-BE9984F1B6A9}"/>
          </ac:spMkLst>
        </pc:spChg>
      </pc:sldChg>
    </pc:docChg>
  </pc:docChgLst>
  <pc:docChgLst>
    <pc:chgData name="Valenzuela Alfaro Alvaro (Codelco-Casa Matriz)" userId="S::avale036@codelco.cl::beebaec1-f16e-436d-a3cd-8566efe3ac18" providerId="AD" clId="Web-{CBFD54D6-2AE6-4208-B650-897BC5A93366}"/>
    <pc:docChg chg="addSld delSld modSld">
      <pc:chgData name="Valenzuela Alfaro Alvaro (Codelco-Casa Matriz)" userId="S::avale036@codelco.cl::beebaec1-f16e-436d-a3cd-8566efe3ac18" providerId="AD" clId="Web-{CBFD54D6-2AE6-4208-B650-897BC5A93366}" dt="2021-04-28T21:58:40.161" v="291"/>
      <pc:docMkLst>
        <pc:docMk/>
      </pc:docMkLst>
      <pc:sldChg chg="addSp delSp modSp new del mod setBg">
        <pc:chgData name="Valenzuela Alfaro Alvaro (Codelco-Casa Matriz)" userId="S::avale036@codelco.cl::beebaec1-f16e-436d-a3cd-8566efe3ac18" providerId="AD" clId="Web-{CBFD54D6-2AE6-4208-B650-897BC5A93366}" dt="2021-04-28T21:31:58.822" v="40"/>
        <pc:sldMkLst>
          <pc:docMk/>
          <pc:sldMk cId="1429734863" sldId="491"/>
        </pc:sldMkLst>
        <pc:spChg chg="mod">
          <ac:chgData name="Valenzuela Alfaro Alvaro (Codelco-Casa Matriz)" userId="S::avale036@codelco.cl::beebaec1-f16e-436d-a3cd-8566efe3ac18" providerId="AD" clId="Web-{CBFD54D6-2AE6-4208-B650-897BC5A93366}" dt="2021-04-28T21:30:34.305" v="26" actId="20577"/>
          <ac:spMkLst>
            <pc:docMk/>
            <pc:sldMk cId="1429734863" sldId="491"/>
            <ac:spMk id="2" creationId="{4CCE17BF-04D7-4151-9292-E49AD99F4A78}"/>
          </ac:spMkLst>
        </pc:spChg>
        <pc:spChg chg="del mod">
          <ac:chgData name="Valenzuela Alfaro Alvaro (Codelco-Casa Matriz)" userId="S::avale036@codelco.cl::beebaec1-f16e-436d-a3cd-8566efe3ac18" providerId="AD" clId="Web-{CBFD54D6-2AE6-4208-B650-897BC5A93366}" dt="2021-04-28T21:30:13.695" v="19"/>
          <ac:spMkLst>
            <pc:docMk/>
            <pc:sldMk cId="1429734863" sldId="491"/>
            <ac:spMk id="3" creationId="{89EDD066-CD59-4D17-83D2-E50E1777E893}"/>
          </ac:spMkLst>
        </pc:spChg>
        <pc:spChg chg="add del">
          <ac:chgData name="Valenzuela Alfaro Alvaro (Codelco-Casa Matriz)" userId="S::avale036@codelco.cl::beebaec1-f16e-436d-a3cd-8566efe3ac18" providerId="AD" clId="Web-{CBFD54D6-2AE6-4208-B650-897BC5A93366}" dt="2021-04-28T21:26:21.986" v="6"/>
          <ac:spMkLst>
            <pc:docMk/>
            <pc:sldMk cId="1429734863" sldId="491"/>
            <ac:spMk id="9" creationId="{1A95671B-3CC6-4792-9114-B74FAEA224E6}"/>
          </ac:spMkLst>
        </pc:spChg>
        <pc:picChg chg="add del mod">
          <ac:chgData name="Valenzuela Alfaro Alvaro (Codelco-Casa Matriz)" userId="S::avale036@codelco.cl::beebaec1-f16e-436d-a3cd-8566efe3ac18" providerId="AD" clId="Web-{CBFD54D6-2AE6-4208-B650-897BC5A93366}" dt="2021-04-28T21:30:52.430" v="27"/>
          <ac:picMkLst>
            <pc:docMk/>
            <pc:sldMk cId="1429734863" sldId="491"/>
            <ac:picMk id="4" creationId="{52D888A2-B6C6-4493-9C1A-5CFFD4CF7536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31:38.166" v="35"/>
          <ac:picMkLst>
            <pc:docMk/>
            <pc:sldMk cId="1429734863" sldId="491"/>
            <ac:picMk id="5" creationId="{0F903E36-E647-425D-9319-10E560EE58F0}"/>
          </ac:picMkLst>
        </pc:picChg>
      </pc:sldChg>
      <pc:sldChg chg="addSp delSp modSp new modNotes">
        <pc:chgData name="Valenzuela Alfaro Alvaro (Codelco-Casa Matriz)" userId="S::avale036@codelco.cl::beebaec1-f16e-436d-a3cd-8566efe3ac18" providerId="AD" clId="Web-{CBFD54D6-2AE6-4208-B650-897BC5A93366}" dt="2021-04-28T21:58:40.161" v="291"/>
        <pc:sldMkLst>
          <pc:docMk/>
          <pc:sldMk cId="889978394" sldId="492"/>
        </pc:sldMkLst>
        <pc:spChg chg="mod">
          <ac:chgData name="Valenzuela Alfaro Alvaro (Codelco-Casa Matriz)" userId="S::avale036@codelco.cl::beebaec1-f16e-436d-a3cd-8566efe3ac18" providerId="AD" clId="Web-{CBFD54D6-2AE6-4208-B650-897BC5A93366}" dt="2021-04-28T21:46:18.530" v="108" actId="20577"/>
          <ac:spMkLst>
            <pc:docMk/>
            <pc:sldMk cId="889978394" sldId="492"/>
            <ac:spMk id="2" creationId="{727B74A5-D37A-4F3F-AD4A-C2E78C224FA6}"/>
          </ac:spMkLst>
        </pc:spChg>
        <pc:spChg chg="mod">
          <ac:chgData name="Valenzuela Alfaro Alvaro (Codelco-Casa Matriz)" userId="S::avale036@codelco.cl::beebaec1-f16e-436d-a3cd-8566efe3ac18" providerId="AD" clId="Web-{CBFD54D6-2AE6-4208-B650-897BC5A93366}" dt="2021-04-28T21:49:48.613" v="166" actId="1076"/>
          <ac:spMkLst>
            <pc:docMk/>
            <pc:sldMk cId="889978394" sldId="492"/>
            <ac:spMk id="3" creationId="{D7C875BC-084C-4F06-BF9D-201171638BC0}"/>
          </ac:spMkLst>
        </pc:spChg>
        <pc:spChg chg="del mod">
          <ac:chgData name="Valenzuela Alfaro Alvaro (Codelco-Casa Matriz)" userId="S::avale036@codelco.cl::beebaec1-f16e-436d-a3cd-8566efe3ac18" providerId="AD" clId="Web-{CBFD54D6-2AE6-4208-B650-897BC5A93366}" dt="2021-04-28T21:33:05.480" v="50"/>
          <ac:spMkLst>
            <pc:docMk/>
            <pc:sldMk cId="889978394" sldId="492"/>
            <ac:spMk id="4" creationId="{755D3144-D948-446D-A840-4C92785AE99B}"/>
          </ac:spMkLst>
        </pc:spChg>
        <pc:spChg chg="add mod">
          <ac:chgData name="Valenzuela Alfaro Alvaro (Codelco-Casa Matriz)" userId="S::avale036@codelco.cl::beebaec1-f16e-436d-a3cd-8566efe3ac18" providerId="AD" clId="Web-{CBFD54D6-2AE6-4208-B650-897BC5A93366}" dt="2021-04-28T21:33:05.480" v="50"/>
          <ac:spMkLst>
            <pc:docMk/>
            <pc:sldMk cId="889978394" sldId="492"/>
            <ac:spMk id="7" creationId="{299D7E0D-9C74-419A-9BF6-EF1B2D6B7A26}"/>
          </ac:spMkLst>
        </pc:spChg>
        <pc:spChg chg="add mod">
          <ac:chgData name="Valenzuela Alfaro Alvaro (Codelco-Casa Matriz)" userId="S::avale036@codelco.cl::beebaec1-f16e-436d-a3cd-8566efe3ac18" providerId="AD" clId="Web-{CBFD54D6-2AE6-4208-B650-897BC5A93366}" dt="2021-04-28T21:50:19.286" v="177" actId="20577"/>
          <ac:spMkLst>
            <pc:docMk/>
            <pc:sldMk cId="889978394" sldId="492"/>
            <ac:spMk id="27" creationId="{A0D50F22-DA8F-499D-83C6-B579887A5BF6}"/>
          </ac:spMkLst>
        </pc:spChg>
        <pc:picChg chg="add mod">
          <ac:chgData name="Valenzuela Alfaro Alvaro (Codelco-Casa Matriz)" userId="S::avale036@codelco.cl::beebaec1-f16e-436d-a3cd-8566efe3ac18" providerId="AD" clId="Web-{CBFD54D6-2AE6-4208-B650-897BC5A93366}" dt="2021-04-28T21:47:34.001" v="134" actId="1076"/>
          <ac:picMkLst>
            <pc:docMk/>
            <pc:sldMk cId="889978394" sldId="492"/>
            <ac:picMk id="5" creationId="{A7BA7ED4-DEA7-4D07-B6C8-0CB380761311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37:06.033" v="53"/>
          <ac:picMkLst>
            <pc:docMk/>
            <pc:sldMk cId="889978394" sldId="492"/>
            <ac:picMk id="8" creationId="{8A9551A2-90EC-4DD4-86EB-D4B44F09B1E5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38:08.972" v="56"/>
          <ac:picMkLst>
            <pc:docMk/>
            <pc:sldMk cId="889978394" sldId="492"/>
            <ac:picMk id="9" creationId="{91819D70-5A4C-449E-B68F-D4BB7122B225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769" v="154" actId="1076"/>
          <ac:picMkLst>
            <pc:docMk/>
            <pc:sldMk cId="889978394" sldId="492"/>
            <ac:picMk id="10" creationId="{8E2FE320-1658-428C-B9B0-9599E55D0766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785" v="155" actId="1076"/>
          <ac:picMkLst>
            <pc:docMk/>
            <pc:sldMk cId="889978394" sldId="492"/>
            <ac:picMk id="11" creationId="{01320BDE-31B0-4F19-A645-67A000CCF3B7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785" v="156" actId="1076"/>
          <ac:picMkLst>
            <pc:docMk/>
            <pc:sldMk cId="889978394" sldId="492"/>
            <ac:picMk id="12" creationId="{AD1220C4-0E1D-4A6E-9F96-466ACFF59D47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40:47.772" v="72"/>
          <ac:picMkLst>
            <pc:docMk/>
            <pc:sldMk cId="889978394" sldId="492"/>
            <ac:picMk id="13" creationId="{8ACD7929-C06B-4399-99F7-C15747D68912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785" v="157" actId="1076"/>
          <ac:picMkLst>
            <pc:docMk/>
            <pc:sldMk cId="889978394" sldId="492"/>
            <ac:picMk id="14" creationId="{B75ED3B7-AE6D-41F3-83BC-CBB35445EBC1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01" v="158" actId="1076"/>
          <ac:picMkLst>
            <pc:docMk/>
            <pc:sldMk cId="889978394" sldId="492"/>
            <ac:picMk id="15" creationId="{093AD648-7222-4CC0-A6A0-F9D50FAC9AFE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01" v="159" actId="1076"/>
          <ac:picMkLst>
            <pc:docMk/>
            <pc:sldMk cId="889978394" sldId="492"/>
            <ac:picMk id="16" creationId="{951A7D72-177A-4E6F-AE2E-B7DFCDE47412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01" v="160" actId="1076"/>
          <ac:picMkLst>
            <pc:docMk/>
            <pc:sldMk cId="889978394" sldId="492"/>
            <ac:picMk id="17" creationId="{4228DA34-31DF-4BE3-A0AC-D59FB7604CBE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58:40.161" v="291"/>
          <ac:picMkLst>
            <pc:docMk/>
            <pc:sldMk cId="889978394" sldId="492"/>
            <ac:picMk id="18" creationId="{D6C7692A-74EB-4C49-B5F3-E716E1A48D59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47:00.516" v="124"/>
          <ac:picMkLst>
            <pc:docMk/>
            <pc:sldMk cId="889978394" sldId="492"/>
            <ac:picMk id="18" creationId="{DD402D52-A0BE-4BC2-A1E9-B35B096F3F87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47:00.516" v="123"/>
          <ac:picMkLst>
            <pc:docMk/>
            <pc:sldMk cId="889978394" sldId="492"/>
            <ac:picMk id="19" creationId="{94F3856D-405E-4A6C-A7CE-9B3DF39CCE30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47:00.516" v="122"/>
          <ac:picMkLst>
            <pc:docMk/>
            <pc:sldMk cId="889978394" sldId="492"/>
            <ac:picMk id="20" creationId="{3637C540-3808-4974-ACB7-4AE1347E3EE7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47:00.500" v="121"/>
          <ac:picMkLst>
            <pc:docMk/>
            <pc:sldMk cId="889978394" sldId="492"/>
            <ac:picMk id="21" creationId="{5743135D-E8B2-4496-AF51-468F48BBA491}"/>
          </ac:picMkLst>
        </pc:picChg>
        <pc:picChg chg="add del mod">
          <ac:chgData name="Valenzuela Alfaro Alvaro (Codelco-Casa Matriz)" userId="S::avale036@codelco.cl::beebaec1-f16e-436d-a3cd-8566efe3ac18" providerId="AD" clId="Web-{CBFD54D6-2AE6-4208-B650-897BC5A93366}" dt="2021-04-28T21:47:17.032" v="128"/>
          <ac:picMkLst>
            <pc:docMk/>
            <pc:sldMk cId="889978394" sldId="492"/>
            <ac:picMk id="22" creationId="{188032CF-C94F-4293-B0AA-6D3A601A8473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16" v="163" actId="1076"/>
          <ac:picMkLst>
            <pc:docMk/>
            <pc:sldMk cId="889978394" sldId="492"/>
            <ac:picMk id="23" creationId="{4FADCFD3-5539-4AED-A450-3131D1FC1BA3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16" v="161" actId="1076"/>
          <ac:picMkLst>
            <pc:docMk/>
            <pc:sldMk cId="889978394" sldId="492"/>
            <ac:picMk id="24" creationId="{155EFD1F-7E00-4A31-8C62-21D15EBC5657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16" v="162" actId="1076"/>
          <ac:picMkLst>
            <pc:docMk/>
            <pc:sldMk cId="889978394" sldId="492"/>
            <ac:picMk id="25" creationId="{C75459DA-CA1C-4366-BC84-5887B2D2B98F}"/>
          </ac:picMkLst>
        </pc:picChg>
        <pc:picChg chg="add mod">
          <ac:chgData name="Valenzuela Alfaro Alvaro (Codelco-Casa Matriz)" userId="S::avale036@codelco.cl::beebaec1-f16e-436d-a3cd-8566efe3ac18" providerId="AD" clId="Web-{CBFD54D6-2AE6-4208-B650-897BC5A93366}" dt="2021-04-28T21:49:34.832" v="164" actId="1076"/>
          <ac:picMkLst>
            <pc:docMk/>
            <pc:sldMk cId="889978394" sldId="492"/>
            <ac:picMk id="26" creationId="{B1EA16E1-4D22-43C9-860A-F422AE5E68B4}"/>
          </ac:picMkLst>
        </pc:picChg>
      </pc:sldChg>
    </pc:docChg>
  </pc:docChgLst>
  <pc:docChgLst>
    <pc:chgData name="López Peñafiel Cristian (Codelco-Casa Matriz)" userId="S::clope043@codelco.cl::381c3bc6-4449-46be-b8ff-f88ef887b85f" providerId="AD" clId="Web-{66ADFDFA-B0EB-327E-A9B1-2D97621DB7F7}"/>
    <pc:docChg chg="modSld">
      <pc:chgData name="López Peñafiel Cristian (Codelco-Casa Matriz)" userId="S::clope043@codelco.cl::381c3bc6-4449-46be-b8ff-f88ef887b85f" providerId="AD" clId="Web-{66ADFDFA-B0EB-327E-A9B1-2D97621DB7F7}" dt="2020-10-20T15:32:15.203" v="0"/>
      <pc:docMkLst>
        <pc:docMk/>
      </pc:docMkLst>
      <pc:sldChg chg="delSp">
        <pc:chgData name="López Peñafiel Cristian (Codelco-Casa Matriz)" userId="S::clope043@codelco.cl::381c3bc6-4449-46be-b8ff-f88ef887b85f" providerId="AD" clId="Web-{66ADFDFA-B0EB-327E-A9B1-2D97621DB7F7}" dt="2020-10-20T15:32:15.203" v="0"/>
        <pc:sldMkLst>
          <pc:docMk/>
          <pc:sldMk cId="2155997825" sldId="375"/>
        </pc:sldMkLst>
        <pc:inkChg chg="del">
          <ac:chgData name="López Peñafiel Cristian (Codelco-Casa Matriz)" userId="S::clope043@codelco.cl::381c3bc6-4449-46be-b8ff-f88ef887b85f" providerId="AD" clId="Web-{66ADFDFA-B0EB-327E-A9B1-2D97621DB7F7}" dt="2020-10-20T15:32:15.203" v="0"/>
          <ac:inkMkLst>
            <pc:docMk/>
            <pc:sldMk cId="2155997825" sldId="375"/>
            <ac:inkMk id="6" creationId="{43E0B965-4311-40FE-9438-AE980061FAD0}"/>
          </ac:inkMkLst>
        </pc:inkChg>
      </pc:sldChg>
    </pc:docChg>
  </pc:docChgLst>
  <pc:docChgLst>
    <pc:chgData name="Calquin Veas Alexis (Codelco-Casa Matriz)" userId="S::acalq001@codelco.cl::bed4172a-53a7-4851-8acf-473ef95dec61" providerId="AD" clId="Web-{C9AF6A10-8EB7-925C-2CFA-D3BFEC2B1D4A}"/>
    <pc:docChg chg="addSld modSld">
      <pc:chgData name="Calquin Veas Alexis (Codelco-Casa Matriz)" userId="S::acalq001@codelco.cl::bed4172a-53a7-4851-8acf-473ef95dec61" providerId="AD" clId="Web-{C9AF6A10-8EB7-925C-2CFA-D3BFEC2B1D4A}" dt="2021-08-03T20:19:22.385" v="3" actId="14100"/>
      <pc:docMkLst>
        <pc:docMk/>
      </pc:docMkLst>
      <pc:sldChg chg="modSp">
        <pc:chgData name="Calquin Veas Alexis (Codelco-Casa Matriz)" userId="S::acalq001@codelco.cl::bed4172a-53a7-4851-8acf-473ef95dec61" providerId="AD" clId="Web-{C9AF6A10-8EB7-925C-2CFA-D3BFEC2B1D4A}" dt="2021-08-03T20:19:22.385" v="3" actId="14100"/>
        <pc:sldMkLst>
          <pc:docMk/>
          <pc:sldMk cId="1775339418" sldId="440"/>
        </pc:sldMkLst>
        <pc:picChg chg="mod">
          <ac:chgData name="Calquin Veas Alexis (Codelco-Casa Matriz)" userId="S::acalq001@codelco.cl::bed4172a-53a7-4851-8acf-473ef95dec61" providerId="AD" clId="Web-{C9AF6A10-8EB7-925C-2CFA-D3BFEC2B1D4A}" dt="2021-08-03T20:19:22.385" v="3" actId="14100"/>
          <ac:picMkLst>
            <pc:docMk/>
            <pc:sldMk cId="1775339418" sldId="440"/>
            <ac:picMk id="8" creationId="{050A6878-1514-4CF1-9212-F0F0E75A95D6}"/>
          </ac:picMkLst>
        </pc:picChg>
      </pc:sldChg>
      <pc:sldChg chg="new">
        <pc:chgData name="Calquin Veas Alexis (Codelco-Casa Matriz)" userId="S::acalq001@codelco.cl::bed4172a-53a7-4851-8acf-473ef95dec61" providerId="AD" clId="Web-{C9AF6A10-8EB7-925C-2CFA-D3BFEC2B1D4A}" dt="2021-08-03T19:21:15.137" v="0"/>
        <pc:sldMkLst>
          <pc:docMk/>
          <pc:sldMk cId="2140894581" sldId="567"/>
        </pc:sldMkLst>
      </pc:sldChg>
    </pc:docChg>
  </pc:docChgLst>
  <pc:docChgLst>
    <pc:chgData name="Quezada Castaneda Rene (Codelco-Chuquicamata)" userId="S::fquez002@codelco.cl::ef8fb00d-8882-4f44-b64d-1ed74a02736c" providerId="AD" clId="Web-{DA18B36F-F496-DF10-7F98-14507049145C}"/>
    <pc:docChg chg="modSld">
      <pc:chgData name="Quezada Castaneda Rene (Codelco-Chuquicamata)" userId="S::fquez002@codelco.cl::ef8fb00d-8882-4f44-b64d-1ed74a02736c" providerId="AD" clId="Web-{DA18B36F-F496-DF10-7F98-14507049145C}" dt="2020-10-22T14:53:57.708" v="10" actId="20577"/>
      <pc:docMkLst>
        <pc:docMk/>
      </pc:docMkLst>
      <pc:sldChg chg="modSp">
        <pc:chgData name="Quezada Castaneda Rene (Codelco-Chuquicamata)" userId="S::fquez002@codelco.cl::ef8fb00d-8882-4f44-b64d-1ed74a02736c" providerId="AD" clId="Web-{DA18B36F-F496-DF10-7F98-14507049145C}" dt="2020-10-22T14:53:57.708" v="10" actId="20577"/>
        <pc:sldMkLst>
          <pc:docMk/>
          <pc:sldMk cId="1101719943" sldId="420"/>
        </pc:sldMkLst>
        <pc:spChg chg="mod">
          <ac:chgData name="Quezada Castaneda Rene (Codelco-Chuquicamata)" userId="S::fquez002@codelco.cl::ef8fb00d-8882-4f44-b64d-1ed74a02736c" providerId="AD" clId="Web-{DA18B36F-F496-DF10-7F98-14507049145C}" dt="2020-10-22T14:53:57.708" v="10" actId="20577"/>
          <ac:spMkLst>
            <pc:docMk/>
            <pc:sldMk cId="1101719943" sldId="420"/>
            <ac:spMk id="21" creationId="{4EC392FA-ABF6-904E-A605-5E2E887876BD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B144A28E-CC8C-481C-CAAE-4DC040BAEAB9}"/>
    <pc:docChg chg="modSld">
      <pc:chgData name="Mery Carrasco Mauricio (Codelco-Casa Matriz)" userId="S::mmery004@codelco.cl::a0378191-74de-4d59-9b37-aa421303daba" providerId="AD" clId="Web-{B144A28E-CC8C-481C-CAAE-4DC040BAEAB9}" dt="2021-09-08T17:02:01.052" v="7" actId="20577"/>
      <pc:docMkLst>
        <pc:docMk/>
      </pc:docMkLst>
      <pc:sldChg chg="modSp">
        <pc:chgData name="Mery Carrasco Mauricio (Codelco-Casa Matriz)" userId="S::mmery004@codelco.cl::a0378191-74de-4d59-9b37-aa421303daba" providerId="AD" clId="Web-{B144A28E-CC8C-481C-CAAE-4DC040BAEAB9}" dt="2021-09-08T17:02:01.052" v="7" actId="20577"/>
        <pc:sldMkLst>
          <pc:docMk/>
          <pc:sldMk cId="2159727526" sldId="603"/>
        </pc:sldMkLst>
        <pc:spChg chg="mod">
          <ac:chgData name="Mery Carrasco Mauricio (Codelco-Casa Matriz)" userId="S::mmery004@codelco.cl::a0378191-74de-4d59-9b37-aa421303daba" providerId="AD" clId="Web-{B144A28E-CC8C-481C-CAAE-4DC040BAEAB9}" dt="2021-09-08T17:02:01.052" v="7" actId="20577"/>
          <ac:spMkLst>
            <pc:docMk/>
            <pc:sldMk cId="2159727526" sldId="603"/>
            <ac:spMk id="2" creationId="{755F471E-EC70-4A1D-A048-321F54208221}"/>
          </ac:spMkLst>
        </pc:spChg>
      </pc:sldChg>
    </pc:docChg>
  </pc:docChgLst>
  <pc:docChgLst>
    <pc:chgData name="Manuel Larenas" userId="S::manuel_larenas_mckinsey.com#ext#@codelcochile.onmicrosoft.com::4f002d6c-3840-4e9e-a4d5-d83f0c0e85e0" providerId="AD" clId="Web-{5131749B-E8A3-82B4-0E52-89B8ED0D6BA4}"/>
    <pc:docChg chg="modSld">
      <pc:chgData name="Manuel Larenas" userId="S::manuel_larenas_mckinsey.com#ext#@codelcochile.onmicrosoft.com::4f002d6c-3840-4e9e-a4d5-d83f0c0e85e0" providerId="AD" clId="Web-{5131749B-E8A3-82B4-0E52-89B8ED0D6BA4}" dt="2021-02-11T01:53:05.483" v="72" actId="20577"/>
      <pc:docMkLst>
        <pc:docMk/>
      </pc:docMkLst>
      <pc:sldChg chg="modSp">
        <pc:chgData name="Manuel Larenas" userId="S::manuel_larenas_mckinsey.com#ext#@codelcochile.onmicrosoft.com::4f002d6c-3840-4e9e-a4d5-d83f0c0e85e0" providerId="AD" clId="Web-{5131749B-E8A3-82B4-0E52-89B8ED0D6BA4}" dt="2021-02-11T01:53:05.483" v="72" actId="20577"/>
        <pc:sldMkLst>
          <pc:docMk/>
          <pc:sldMk cId="1240417353" sldId="476"/>
        </pc:sldMkLst>
        <pc:spChg chg="mod">
          <ac:chgData name="Manuel Larenas" userId="S::manuel_larenas_mckinsey.com#ext#@codelcochile.onmicrosoft.com::4f002d6c-3840-4e9e-a4d5-d83f0c0e85e0" providerId="AD" clId="Web-{5131749B-E8A3-82B4-0E52-89B8ED0D6BA4}" dt="2021-02-11T01:50:20.057" v="13" actId="20577"/>
          <ac:spMkLst>
            <pc:docMk/>
            <pc:sldMk cId="1240417353" sldId="476"/>
            <ac:spMk id="6" creationId="{B0C72395-80A9-4B15-937E-6DDF4F9FE19A}"/>
          </ac:spMkLst>
        </pc:spChg>
        <pc:spChg chg="mod">
          <ac:chgData name="Manuel Larenas" userId="S::manuel_larenas_mckinsey.com#ext#@codelcochile.onmicrosoft.com::4f002d6c-3840-4e9e-a4d5-d83f0c0e85e0" providerId="AD" clId="Web-{5131749B-E8A3-82B4-0E52-89B8ED0D6BA4}" dt="2021-02-11T01:52:37.920" v="63" actId="20577"/>
          <ac:spMkLst>
            <pc:docMk/>
            <pc:sldMk cId="1240417353" sldId="476"/>
            <ac:spMk id="8" creationId="{8429EE91-DD3E-40A7-BCB7-0D775BA821A7}"/>
          </ac:spMkLst>
        </pc:spChg>
        <pc:spChg chg="mod">
          <ac:chgData name="Manuel Larenas" userId="S::manuel_larenas_mckinsey.com#ext#@codelcochile.onmicrosoft.com::4f002d6c-3840-4e9e-a4d5-d83f0c0e85e0" providerId="AD" clId="Web-{5131749B-E8A3-82B4-0E52-89B8ED0D6BA4}" dt="2021-02-11T01:53:05.483" v="72" actId="20577"/>
          <ac:spMkLst>
            <pc:docMk/>
            <pc:sldMk cId="1240417353" sldId="476"/>
            <ac:spMk id="10" creationId="{72F42CDF-1A7B-4AA0-B8B5-598C8C37336F}"/>
          </ac:spMkLst>
        </pc:spChg>
      </pc:sldChg>
    </pc:docChg>
  </pc:docChgLst>
  <pc:docChgLst>
    <pc:chgData name="Huidobro Matamala Juan (Codelco-Chuquicamata)" userId="S::jhuid001@codelco.cl::afdd00f7-4d72-4a9e-8227-cd11f72dd823" providerId="AD" clId="Web-{C77BC196-E91E-72F8-FFD0-EB11E3B80509}"/>
    <pc:docChg chg="modSld">
      <pc:chgData name="Huidobro Matamala Juan (Codelco-Chuquicamata)" userId="S::jhuid001@codelco.cl::afdd00f7-4d72-4a9e-8227-cd11f72dd823" providerId="AD" clId="Web-{C77BC196-E91E-72F8-FFD0-EB11E3B80509}" dt="2021-02-11T12:06:10.573" v="0"/>
      <pc:docMkLst>
        <pc:docMk/>
      </pc:docMkLst>
      <pc:sldChg chg="addSp">
        <pc:chgData name="Huidobro Matamala Juan (Codelco-Chuquicamata)" userId="S::jhuid001@codelco.cl::afdd00f7-4d72-4a9e-8227-cd11f72dd823" providerId="AD" clId="Web-{C77BC196-E91E-72F8-FFD0-EB11E3B80509}" dt="2021-02-11T12:06:10.573" v="0"/>
        <pc:sldMkLst>
          <pc:docMk/>
          <pc:sldMk cId="772336465" sldId="346"/>
        </pc:sldMkLst>
        <pc:inkChg chg="add">
          <ac:chgData name="Huidobro Matamala Juan (Codelco-Chuquicamata)" userId="S::jhuid001@codelco.cl::afdd00f7-4d72-4a9e-8227-cd11f72dd823" providerId="AD" clId="Web-{C77BC196-E91E-72F8-FFD0-EB11E3B80509}" dt="2021-02-11T12:06:10.573" v="0"/>
          <ac:inkMkLst>
            <pc:docMk/>
            <pc:sldMk cId="772336465" sldId="346"/>
            <ac:inkMk id="4" creationId="{413BD247-1589-405A-9488-C83B5428E8B0}"/>
          </ac:inkMkLst>
        </pc:inkChg>
      </pc:sldChg>
    </pc:docChg>
  </pc:docChgLst>
  <pc:docChgLst>
    <pc:chgData name="Mery Carrasco Mauricio (Codelco-Casa Matriz)" userId="S::mmery004@codelco.cl::a0378191-74de-4d59-9b37-aa421303daba" providerId="AD" clId="Web-{E25DBEBF-3D73-CCF9-58D8-27C0A05B46B8}"/>
    <pc:docChg chg="addSld delSld modSld sldOrd addMainMaster">
      <pc:chgData name="Mery Carrasco Mauricio (Codelco-Casa Matriz)" userId="S::mmery004@codelco.cl::a0378191-74de-4d59-9b37-aa421303daba" providerId="AD" clId="Web-{E25DBEBF-3D73-CCF9-58D8-27C0A05B46B8}" dt="2021-06-30T19:56:28.129" v="941" actId="1076"/>
      <pc:docMkLst>
        <pc:docMk/>
      </pc:docMkLst>
      <pc:sldChg chg="addSp delSp modSp">
        <pc:chgData name="Mery Carrasco Mauricio (Codelco-Casa Matriz)" userId="S::mmery004@codelco.cl::a0378191-74de-4d59-9b37-aa421303daba" providerId="AD" clId="Web-{E25DBEBF-3D73-CCF9-58D8-27C0A05B46B8}" dt="2021-06-30T19:56:28.129" v="941" actId="1076"/>
        <pc:sldMkLst>
          <pc:docMk/>
          <pc:sldMk cId="1544981574" sldId="409"/>
        </pc:sldMkLst>
        <pc:spChg chg="del">
          <ac:chgData name="Mery Carrasco Mauricio (Codelco-Casa Matriz)" userId="S::mmery004@codelco.cl::a0378191-74de-4d59-9b37-aa421303daba" providerId="AD" clId="Web-{E25DBEBF-3D73-CCF9-58D8-27C0A05B46B8}" dt="2021-06-30T19:56:27.254" v="940"/>
          <ac:spMkLst>
            <pc:docMk/>
            <pc:sldMk cId="1544981574" sldId="409"/>
            <ac:spMk id="2" creationId="{8AAD5BFB-6D48-41AA-A2AB-CA4CAA3DEBAD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50:55.649" v="752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53:33.420" v="844" actId="20577"/>
          <ac:spMkLst>
            <pc:docMk/>
            <pc:sldMk cId="1544981574" sldId="409"/>
            <ac:spMk id="30" creationId="{44A25184-26B8-4AAA-9E65-3A78929CCFB6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56:28.129" v="941" actId="1076"/>
          <ac:spMkLst>
            <pc:docMk/>
            <pc:sldMk cId="1544981574" sldId="409"/>
            <ac:spMk id="32" creationId="{878D481B-74FF-415D-BFF5-A8DD8F0FEC9A}"/>
          </ac:spMkLst>
        </pc:spChg>
        <pc:spChg chg="add mod">
          <ac:chgData name="Mery Carrasco Mauricio (Codelco-Casa Matriz)" userId="S::mmery004@codelco.cl::a0378191-74de-4d59-9b37-aa421303daba" providerId="AD" clId="Web-{E25DBEBF-3D73-CCF9-58D8-27C0A05B46B8}" dt="2021-06-30T19:50:35.383" v="749" actId="1076"/>
          <ac:spMkLst>
            <pc:docMk/>
            <pc:sldMk cId="1544981574" sldId="409"/>
            <ac:spMk id="33" creationId="{4DD75768-B690-436E-BF50-8EF72DC731CE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8:05.144" v="679" actId="20577"/>
          <ac:spMkLst>
            <pc:docMk/>
            <pc:sldMk cId="1544981574" sldId="409"/>
            <ac:spMk id="35" creationId="{413C3D54-2186-4FCD-BF79-CC9F7E7512E4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8:36.301" v="686" actId="20577"/>
          <ac:spMkLst>
            <pc:docMk/>
            <pc:sldMk cId="1544981574" sldId="409"/>
            <ac:spMk id="45" creationId="{6B6D7AF3-CD2C-4C43-9BC8-76C21B1521B2}"/>
          </ac:spMkLst>
        </pc:spChg>
        <pc:spChg chg="del mod">
          <ac:chgData name="Mery Carrasco Mauricio (Codelco-Casa Matriz)" userId="S::mmery004@codelco.cl::a0378191-74de-4d59-9b37-aa421303daba" providerId="AD" clId="Web-{E25DBEBF-3D73-CCF9-58D8-27C0A05B46B8}" dt="2021-06-30T19:50:27.992" v="747"/>
          <ac:spMkLst>
            <pc:docMk/>
            <pc:sldMk cId="1544981574" sldId="409"/>
            <ac:spMk id="48" creationId="{DC72A8FA-3B7A-403B-88B7-54617FF605B5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54:12.422" v="864" actId="20577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5:31.264" v="646" actId="20577"/>
          <ac:spMkLst>
            <pc:docMk/>
            <pc:sldMk cId="1544981574" sldId="409"/>
            <ac:spMk id="52" creationId="{B595D2F3-9C47-4FEE-9CCC-EBCC6DF263EC}"/>
          </ac:spMkLst>
        </pc:spChg>
      </pc:sldChg>
      <pc:sldChg chg="modSp addCm">
        <pc:chgData name="Mery Carrasco Mauricio (Codelco-Casa Matriz)" userId="S::mmery004@codelco.cl::a0378191-74de-4d59-9b37-aa421303daba" providerId="AD" clId="Web-{E25DBEBF-3D73-CCF9-58D8-27C0A05B46B8}" dt="2021-06-30T16:41:39.815" v="210" actId="2057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6:41:39.815" v="210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Mery Carrasco Mauricio (Codelco-Casa Matriz)" userId="S::mmery004@codelco.cl::a0378191-74de-4d59-9b37-aa421303daba" providerId="AD" clId="Web-{E25DBEBF-3D73-CCF9-58D8-27C0A05B46B8}" dt="2021-06-30T17:22:51.998" v="224"/>
        <pc:sldMkLst>
          <pc:docMk/>
          <pc:sldMk cId="953770067" sldId="530"/>
        </pc:sldMkLst>
      </pc:sldChg>
      <pc:sldChg chg="del">
        <pc:chgData name="Mery Carrasco Mauricio (Codelco-Casa Matriz)" userId="S::mmery004@codelco.cl::a0378191-74de-4d59-9b37-aa421303daba" providerId="AD" clId="Web-{E25DBEBF-3D73-CCF9-58D8-27C0A05B46B8}" dt="2021-06-30T16:04:14.479" v="71"/>
        <pc:sldMkLst>
          <pc:docMk/>
          <pc:sldMk cId="114498264" sldId="531"/>
        </pc:sldMkLst>
      </pc:sldChg>
      <pc:sldChg chg="addSp modSp addCm">
        <pc:chgData name="Mery Carrasco Mauricio (Codelco-Casa Matriz)" userId="S::mmery004@codelco.cl::a0378191-74de-4d59-9b37-aa421303daba" providerId="AD" clId="Web-{E25DBEBF-3D73-CCF9-58D8-27C0A05B46B8}" dt="2021-06-30T19:22:48.797" v="492" actId="14100"/>
        <pc:sldMkLst>
          <pc:docMk/>
          <pc:sldMk cId="3660273785" sldId="533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9:22:48.797" v="492" actId="14100"/>
          <ac:spMkLst>
            <pc:docMk/>
            <pc:sldMk cId="3660273785" sldId="533"/>
            <ac:spMk id="12" creationId="{C8E06216-BBE3-428E-9C13-D937203EFCB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21:55.046" v="484" actId="1076"/>
          <ac:spMkLst>
            <pc:docMk/>
            <pc:sldMk cId="3660273785" sldId="533"/>
            <ac:spMk id="25" creationId="{30E51C1E-2836-4CC7-8AFD-487DEE36BF12}"/>
          </ac:spMkLst>
        </pc:spChg>
        <pc:grpChg chg="add mod">
          <ac:chgData name="Mery Carrasco Mauricio (Codelco-Casa Matriz)" userId="S::mmery004@codelco.cl::a0378191-74de-4d59-9b37-aa421303daba" providerId="AD" clId="Web-{E25DBEBF-3D73-CCF9-58D8-27C0A05B46B8}" dt="2021-06-30T18:55:04.774" v="410" actId="1076"/>
          <ac:grpSpMkLst>
            <pc:docMk/>
            <pc:sldMk cId="3660273785" sldId="533"/>
            <ac:grpSpMk id="32" creationId="{A5456521-EA8D-4DB0-B450-D8585CB787F8}"/>
          </ac:grpSpMkLst>
        </pc:grpChg>
        <pc:picChg chg="mod">
          <ac:chgData name="Mery Carrasco Mauricio (Codelco-Casa Matriz)" userId="S::mmery004@codelco.cl::a0378191-74de-4d59-9b37-aa421303daba" providerId="AD" clId="Web-{E25DBEBF-3D73-CCF9-58D8-27C0A05B46B8}" dt="2021-06-30T19:21:58.874" v="485" actId="1076"/>
          <ac:picMkLst>
            <pc:docMk/>
            <pc:sldMk cId="3660273785" sldId="533"/>
            <ac:picMk id="29" creationId="{19AC4C6B-28B7-4434-93BB-F5730A8EEF1B}"/>
          </ac:picMkLst>
        </pc:picChg>
        <pc:cxnChg chg="mod">
          <ac:chgData name="Mery Carrasco Mauricio (Codelco-Casa Matriz)" userId="S::mmery004@codelco.cl::a0378191-74de-4d59-9b37-aa421303daba" providerId="AD" clId="Web-{E25DBEBF-3D73-CCF9-58D8-27C0A05B46B8}" dt="2021-06-30T18:54:19.772" v="408"/>
          <ac:cxnSpMkLst>
            <pc:docMk/>
            <pc:sldMk cId="3660273785" sldId="533"/>
            <ac:cxnSpMk id="23" creationId="{B027A9C1-8BF6-4209-897A-80AAB7F39FD9}"/>
          </ac:cxnSpMkLst>
        </pc:cxnChg>
      </pc:sldChg>
      <pc:sldChg chg="del">
        <pc:chgData name="Mery Carrasco Mauricio (Codelco-Casa Matriz)" userId="S::mmery004@codelco.cl::a0378191-74de-4d59-9b37-aa421303daba" providerId="AD" clId="Web-{E25DBEBF-3D73-CCF9-58D8-27C0A05B46B8}" dt="2021-06-30T16:00:16.824" v="43"/>
        <pc:sldMkLst>
          <pc:docMk/>
          <pc:sldMk cId="680563334" sldId="534"/>
        </pc:sldMkLst>
      </pc:sldChg>
      <pc:sldChg chg="del">
        <pc:chgData name="Mery Carrasco Mauricio (Codelco-Casa Matriz)" userId="S::mmery004@codelco.cl::a0378191-74de-4d59-9b37-aa421303daba" providerId="AD" clId="Web-{E25DBEBF-3D73-CCF9-58D8-27C0A05B46B8}" dt="2021-06-30T16:33:53.834" v="130"/>
        <pc:sldMkLst>
          <pc:docMk/>
          <pc:sldMk cId="3708898252" sldId="535"/>
        </pc:sldMkLst>
      </pc:sldChg>
      <pc:sldChg chg="addSp delSp modSp">
        <pc:chgData name="Mery Carrasco Mauricio (Codelco-Casa Matriz)" userId="S::mmery004@codelco.cl::a0378191-74de-4d59-9b37-aa421303daba" providerId="AD" clId="Web-{E25DBEBF-3D73-CCF9-58D8-27C0A05B46B8}" dt="2021-06-30T19:15:45.690" v="441"/>
        <pc:sldMkLst>
          <pc:docMk/>
          <pc:sldMk cId="1731287607" sldId="536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5:54:00.707" v="5" actId="1076"/>
          <ac:spMkLst>
            <pc:docMk/>
            <pc:sldMk cId="1731287607" sldId="536"/>
            <ac:spMk id="2" creationId="{93CD3BA4-8C19-4BF4-A9CC-A0989BCA9850}"/>
          </ac:spMkLst>
        </pc:spChg>
        <pc:spChg chg="del">
          <ac:chgData name="Mery Carrasco Mauricio (Codelco-Casa Matriz)" userId="S::mmery004@codelco.cl::a0378191-74de-4d59-9b37-aa421303daba" providerId="AD" clId="Web-{E25DBEBF-3D73-CCF9-58D8-27C0A05B46B8}" dt="2021-06-30T15:54:13.489" v="6"/>
          <ac:spMkLst>
            <pc:docMk/>
            <pc:sldMk cId="1731287607" sldId="536"/>
            <ac:spMk id="3" creationId="{73731382-712D-4713-AA60-5F9A81586785}"/>
          </ac:spMkLst>
        </pc:spChg>
        <pc:spChg chg="add mod">
          <ac:chgData name="Mery Carrasco Mauricio (Codelco-Casa Matriz)" userId="S::mmery004@codelco.cl::a0378191-74de-4d59-9b37-aa421303daba" providerId="AD" clId="Web-{E25DBEBF-3D73-CCF9-58D8-27C0A05B46B8}" dt="2021-06-30T15:55:40.307" v="17" actId="1076"/>
          <ac:spMkLst>
            <pc:docMk/>
            <pc:sldMk cId="1731287607" sldId="536"/>
            <ac:spMk id="12" creationId="{CBDB3780-6B26-4F4F-932B-F156D23137C8}"/>
          </ac:spMkLst>
        </pc:spChg>
        <pc:picChg chg="add mod">
          <ac:chgData name="Mery Carrasco Mauricio (Codelco-Casa Matriz)" userId="S::mmery004@codelco.cl::a0378191-74de-4d59-9b37-aa421303daba" providerId="AD" clId="Web-{E25DBEBF-3D73-CCF9-58D8-27C0A05B46B8}" dt="2021-06-30T15:55:31.838" v="16" actId="1076"/>
          <ac:picMkLst>
            <pc:docMk/>
            <pc:sldMk cId="1731287607" sldId="536"/>
            <ac:picMk id="6" creationId="{9083EAD4-78DB-429D-A2E0-4DE8AD9FFD6A}"/>
          </ac:picMkLst>
        </pc:picChg>
        <pc:picChg chg="add del">
          <ac:chgData name="Mery Carrasco Mauricio (Codelco-Casa Matriz)" userId="S::mmery004@codelco.cl::a0378191-74de-4d59-9b37-aa421303daba" providerId="AD" clId="Web-{E25DBEBF-3D73-CCF9-58D8-27C0A05B46B8}" dt="2021-06-30T15:54:33.741" v="9"/>
          <ac:picMkLst>
            <pc:docMk/>
            <pc:sldMk cId="1731287607" sldId="536"/>
            <ac:picMk id="8" creationId="{BCD01C16-F067-4C57-A88A-EEE5B6E594A3}"/>
          </ac:picMkLst>
        </pc:picChg>
        <pc:picChg chg="add del">
          <ac:chgData name="Mery Carrasco Mauricio (Codelco-Casa Matriz)" userId="S::mmery004@codelco.cl::a0378191-74de-4d59-9b37-aa421303daba" providerId="AD" clId="Web-{E25DBEBF-3D73-CCF9-58D8-27C0A05B46B8}" dt="2021-06-30T15:54:52.367" v="13"/>
          <ac:picMkLst>
            <pc:docMk/>
            <pc:sldMk cId="1731287607" sldId="536"/>
            <ac:picMk id="10" creationId="{AD0490A4-EFDB-46C6-8EF7-68C8459B8F9F}"/>
          </ac:picMkLst>
        </pc:picChg>
        <pc:cxnChg chg="add mod">
          <ac:chgData name="Mery Carrasco Mauricio (Codelco-Casa Matriz)" userId="S::mmery004@codelco.cl::a0378191-74de-4d59-9b37-aa421303daba" providerId="AD" clId="Web-{E25DBEBF-3D73-CCF9-58D8-27C0A05B46B8}" dt="2021-06-30T19:15:45.690" v="441"/>
          <ac:cxnSpMkLst>
            <pc:docMk/>
            <pc:sldMk cId="1731287607" sldId="536"/>
            <ac:cxnSpMk id="13" creationId="{D2A5593E-304B-4491-ACCC-5C1EC188D8E0}"/>
          </ac:cxnSpMkLst>
        </pc:cxnChg>
      </pc:sldChg>
      <pc:sldChg chg="del">
        <pc:chgData name="Mery Carrasco Mauricio (Codelco-Casa Matriz)" userId="S::mmery004@codelco.cl::a0378191-74de-4d59-9b37-aa421303daba" providerId="AD" clId="Web-{E25DBEBF-3D73-CCF9-58D8-27C0A05B46B8}" dt="2021-06-30T15:56:42.139" v="26"/>
        <pc:sldMkLst>
          <pc:docMk/>
          <pc:sldMk cId="2416833515" sldId="537"/>
        </pc:sldMkLst>
      </pc:sldChg>
      <pc:sldChg chg="addSp delSp modSp add">
        <pc:chgData name="Mery Carrasco Mauricio (Codelco-Casa Matriz)" userId="S::mmery004@codelco.cl::a0378191-74de-4d59-9b37-aa421303daba" providerId="AD" clId="Web-{E25DBEBF-3D73-CCF9-58D8-27C0A05B46B8}" dt="2021-06-30T18:47:16.946" v="399" actId="1076"/>
        <pc:sldMkLst>
          <pc:docMk/>
          <pc:sldMk cId="3699923379" sldId="537"/>
        </pc:sldMkLst>
        <pc:spChg chg="add mod">
          <ac:chgData name="Mery Carrasco Mauricio (Codelco-Casa Matriz)" userId="S::mmery004@codelco.cl::a0378191-74de-4d59-9b37-aa421303daba" providerId="AD" clId="Web-{E25DBEBF-3D73-CCF9-58D8-27C0A05B46B8}" dt="2021-06-30T18:41:43.622" v="388" actId="14100"/>
          <ac:spMkLst>
            <pc:docMk/>
            <pc:sldMk cId="3699923379" sldId="537"/>
            <ac:spMk id="2" creationId="{CB18ADAD-3956-406D-83EA-0A3B1C633D9C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6:00:12.589" v="42" actId="20577"/>
          <ac:spMkLst>
            <pc:docMk/>
            <pc:sldMk cId="3699923379" sldId="537"/>
            <ac:spMk id="7" creationId="{3F302836-4F68-4641-BD29-64B0A72CA38E}"/>
          </ac:spMkLst>
        </pc:spChg>
        <pc:spChg chg="del mod">
          <ac:chgData name="Mery Carrasco Mauricio (Codelco-Casa Matriz)" userId="S::mmery004@codelco.cl::a0378191-74de-4d59-9b37-aa421303daba" providerId="AD" clId="Web-{E25DBEBF-3D73-CCF9-58D8-27C0A05B46B8}" dt="2021-06-30T18:40:29.651" v="374"/>
          <ac:spMkLst>
            <pc:docMk/>
            <pc:sldMk cId="3699923379" sldId="537"/>
            <ac:spMk id="8" creationId="{00000000-0000-0000-0000-000000000000}"/>
          </ac:spMkLst>
        </pc:spChg>
        <pc:spChg chg="del mod">
          <ac:chgData name="Mery Carrasco Mauricio (Codelco-Casa Matriz)" userId="S::mmery004@codelco.cl::a0378191-74de-4d59-9b37-aa421303daba" providerId="AD" clId="Web-{E25DBEBF-3D73-CCF9-58D8-27C0A05B46B8}" dt="2021-06-30T18:46:44.070" v="393"/>
          <ac:spMkLst>
            <pc:docMk/>
            <pc:sldMk cId="3699923379" sldId="537"/>
            <ac:spMk id="9" creationId="{00000000-0000-0000-0000-000000000000}"/>
          </ac:spMkLst>
        </pc:spChg>
        <pc:spChg chg="add mod">
          <ac:chgData name="Mery Carrasco Mauricio (Codelco-Casa Matriz)" userId="S::mmery004@codelco.cl::a0378191-74de-4d59-9b37-aa421303daba" providerId="AD" clId="Web-{E25DBEBF-3D73-CCF9-58D8-27C0A05B46B8}" dt="2021-06-30T18:47:16.946" v="399" actId="1076"/>
          <ac:spMkLst>
            <pc:docMk/>
            <pc:sldMk cId="3699923379" sldId="537"/>
            <ac:spMk id="16" creationId="{D357F6FB-9034-4778-8663-6204D1CD4AC1}"/>
          </ac:spMkLst>
        </pc:spChg>
        <pc:grpChg chg="mod">
          <ac:chgData name="Mery Carrasco Mauricio (Codelco-Casa Matriz)" userId="S::mmery004@codelco.cl::a0378191-74de-4d59-9b37-aa421303daba" providerId="AD" clId="Web-{E25DBEBF-3D73-CCF9-58D8-27C0A05B46B8}" dt="2021-06-30T18:47:16.946" v="398" actId="1076"/>
          <ac:grpSpMkLst>
            <pc:docMk/>
            <pc:sldMk cId="3699923379" sldId="537"/>
            <ac:grpSpMk id="13" creationId="{00000000-0000-0000-0000-000000000000}"/>
          </ac:grpSpMkLst>
        </pc:grpChg>
        <pc:grpChg chg="mod">
          <ac:chgData name="Mery Carrasco Mauricio (Codelco-Casa Matriz)" userId="S::mmery004@codelco.cl::a0378191-74de-4d59-9b37-aa421303daba" providerId="AD" clId="Web-{E25DBEBF-3D73-CCF9-58D8-27C0A05B46B8}" dt="2021-06-30T18:41:40.450" v="387" actId="14100"/>
          <ac:grpSpMkLst>
            <pc:docMk/>
            <pc:sldMk cId="3699923379" sldId="537"/>
            <ac:grpSpMk id="14" creationId="{00000000-0000-0000-0000-000000000000}"/>
          </ac:grpSpMkLst>
        </pc:grpChg>
      </pc:sldChg>
      <pc:sldChg chg="addSp delSp modSp add mod modClrScheme addCm chgLayout">
        <pc:chgData name="Mery Carrasco Mauricio (Codelco-Casa Matriz)" userId="S::mmery004@codelco.cl::a0378191-74de-4d59-9b37-aa421303daba" providerId="AD" clId="Web-{E25DBEBF-3D73-CCF9-58D8-27C0A05B46B8}" dt="2021-06-30T19:16:34.191" v="447" actId="1076"/>
        <pc:sldMkLst>
          <pc:docMk/>
          <pc:sldMk cId="2989328519" sldId="538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9:16:23.816" v="445" actId="20577"/>
          <ac:spMkLst>
            <pc:docMk/>
            <pc:sldMk cId="2989328519" sldId="538"/>
            <ac:spMk id="2" creationId="{7C461E72-C19F-4EF0-AEFA-4ED7817856C9}"/>
          </ac:spMkLst>
        </pc:spChg>
        <pc:spChg chg="mod ord">
          <ac:chgData name="Mery Carrasco Mauricio (Codelco-Casa Matriz)" userId="S::mmery004@codelco.cl::a0378191-74de-4d59-9b37-aa421303daba" providerId="AD" clId="Web-{E25DBEBF-3D73-CCF9-58D8-27C0A05B46B8}" dt="2021-06-30T16:31:47.514" v="117"/>
          <ac:spMkLst>
            <pc:docMk/>
            <pc:sldMk cId="2989328519" sldId="538"/>
            <ac:spMk id="4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6:32:09.375" v="123" actId="1076"/>
          <ac:spMkLst>
            <pc:docMk/>
            <pc:sldMk cId="2989328519" sldId="538"/>
            <ac:spMk id="5" creationId="{99744DA7-2B25-48C5-B9AE-CBFCCE51747F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16:27.769" v="446" actId="1076"/>
          <ac:spMkLst>
            <pc:docMk/>
            <pc:sldMk cId="2989328519" sldId="538"/>
            <ac:spMk id="6" creationId="{1E1E4BC3-0AEA-48D7-841B-7B27F8FC66F3}"/>
          </ac:spMkLst>
        </pc:spChg>
        <pc:spChg chg="add del mod ord">
          <ac:chgData name="Mery Carrasco Mauricio (Codelco-Casa Matriz)" userId="S::mmery004@codelco.cl::a0378191-74de-4d59-9b37-aa421303daba" providerId="AD" clId="Web-{E25DBEBF-3D73-CCF9-58D8-27C0A05B46B8}" dt="2021-06-30T15:59:41.118" v="37"/>
          <ac:spMkLst>
            <pc:docMk/>
            <pc:sldMk cId="2989328519" sldId="538"/>
            <ac:spMk id="7" creationId="{5D0DA1AE-0E33-4023-9691-E0DA9C676D47}"/>
          </ac:spMkLst>
        </pc:spChg>
        <pc:spChg chg="add del mod ord">
          <ac:chgData name="Mery Carrasco Mauricio (Codelco-Casa Matriz)" userId="S::mmery004@codelco.cl::a0378191-74de-4d59-9b37-aa421303daba" providerId="AD" clId="Web-{E25DBEBF-3D73-CCF9-58D8-27C0A05B46B8}" dt="2021-06-30T15:59:32.805" v="35"/>
          <ac:spMkLst>
            <pc:docMk/>
            <pc:sldMk cId="2989328519" sldId="538"/>
            <ac:spMk id="8" creationId="{BE7A93D4-1D1D-4680-94C1-829A8A5C4CC6}"/>
          </ac:spMkLst>
        </pc:spChg>
        <pc:spChg chg="add del mod ord">
          <ac:chgData name="Mery Carrasco Mauricio (Codelco-Casa Matriz)" userId="S::mmery004@codelco.cl::a0378191-74de-4d59-9b37-aa421303daba" providerId="AD" clId="Web-{E25DBEBF-3D73-CCF9-58D8-27C0A05B46B8}" dt="2021-06-30T16:32:00.656" v="120"/>
          <ac:spMkLst>
            <pc:docMk/>
            <pc:sldMk cId="2989328519" sldId="538"/>
            <ac:spMk id="9" creationId="{4F501BDD-498F-4378-BFB3-100BCE5E470C}"/>
          </ac:spMkLst>
        </pc:spChg>
        <pc:spChg chg="add del mod ord">
          <ac:chgData name="Mery Carrasco Mauricio (Codelco-Casa Matriz)" userId="S::mmery004@codelco.cl::a0378191-74de-4d59-9b37-aa421303daba" providerId="AD" clId="Web-{E25DBEBF-3D73-CCF9-58D8-27C0A05B46B8}" dt="2021-06-30T16:31:53.327" v="118"/>
          <ac:spMkLst>
            <pc:docMk/>
            <pc:sldMk cId="2989328519" sldId="538"/>
            <ac:spMk id="10" creationId="{304F7AC0-B3A3-4444-A407-49DC2CCEC0B4}"/>
          </ac:spMkLst>
        </pc:spChg>
        <pc:spChg chg="add mod">
          <ac:chgData name="Mery Carrasco Mauricio (Codelco-Casa Matriz)" userId="S::mmery004@codelco.cl::a0378191-74de-4d59-9b37-aa421303daba" providerId="AD" clId="Web-{E25DBEBF-3D73-CCF9-58D8-27C0A05B46B8}" dt="2021-06-30T18:29:47.646" v="344" actId="1076"/>
          <ac:spMkLst>
            <pc:docMk/>
            <pc:sldMk cId="2989328519" sldId="538"/>
            <ac:spMk id="14" creationId="{B8725CF4-620C-4B98-BD85-FCA99BB19348}"/>
          </ac:spMkLst>
        </pc:spChg>
        <pc:spChg chg="add mod">
          <ac:chgData name="Mery Carrasco Mauricio (Codelco-Casa Matriz)" userId="S::mmery004@codelco.cl::a0378191-74de-4d59-9b37-aa421303daba" providerId="AD" clId="Web-{E25DBEBF-3D73-CCF9-58D8-27C0A05B46B8}" dt="2021-06-30T18:31:12.649" v="363" actId="14100"/>
          <ac:spMkLst>
            <pc:docMk/>
            <pc:sldMk cId="2989328519" sldId="538"/>
            <ac:spMk id="15" creationId="{2AA61BC6-F1DE-40F3-9949-37EA6CF26A37}"/>
          </ac:spMkLst>
        </pc:spChg>
        <pc:grpChg chg="add del mod">
          <ac:chgData name="Mery Carrasco Mauricio (Codelco-Casa Matriz)" userId="S::mmery004@codelco.cl::a0378191-74de-4d59-9b37-aa421303daba" providerId="AD" clId="Web-{E25DBEBF-3D73-CCF9-58D8-27C0A05B46B8}" dt="2021-06-30T18:28:18.424" v="322"/>
          <ac:grpSpMkLst>
            <pc:docMk/>
            <pc:sldMk cId="2989328519" sldId="538"/>
            <ac:grpSpMk id="12" creationId="{1B603485-D7BD-4C99-871E-635B7BFDA255}"/>
          </ac:grpSpMkLst>
        </pc:grpChg>
        <pc:picChg chg="mod">
          <ac:chgData name="Mery Carrasco Mauricio (Codelco-Casa Matriz)" userId="S::mmery004@codelco.cl::a0378191-74de-4d59-9b37-aa421303daba" providerId="AD" clId="Web-{E25DBEBF-3D73-CCF9-58D8-27C0A05B46B8}" dt="2021-06-30T19:16:34.191" v="447" actId="1076"/>
          <ac:picMkLst>
            <pc:docMk/>
            <pc:sldMk cId="2989328519" sldId="538"/>
            <ac:picMk id="3" creationId="{F8432DC0-C5A8-433F-83D7-E25E20F9CFC1}"/>
          </ac:picMkLst>
        </pc:picChg>
        <pc:cxnChg chg="add mod">
          <ac:chgData name="Mery Carrasco Mauricio (Codelco-Casa Matriz)" userId="S::mmery004@codelco.cl::a0378191-74de-4d59-9b37-aa421303daba" providerId="AD" clId="Web-{E25DBEBF-3D73-CCF9-58D8-27C0A05B46B8}" dt="2021-06-30T18:31:28.915" v="365" actId="14100"/>
          <ac:cxnSpMkLst>
            <pc:docMk/>
            <pc:sldMk cId="2989328519" sldId="538"/>
            <ac:cxnSpMk id="8" creationId="{1CA39FD3-3EA3-49CD-8F23-15712F392C97}"/>
          </ac:cxnSpMkLst>
        </pc:cxnChg>
      </pc:sldChg>
      <pc:sldChg chg="add del">
        <pc:chgData name="Mery Carrasco Mauricio (Codelco-Casa Matriz)" userId="S::mmery004@codelco.cl::a0378191-74de-4d59-9b37-aa421303daba" providerId="AD" clId="Web-{E25DBEBF-3D73-CCF9-58D8-27C0A05B46B8}" dt="2021-06-30T16:29:08.505" v="107"/>
        <pc:sldMkLst>
          <pc:docMk/>
          <pc:sldMk cId="4074816798" sldId="539"/>
        </pc:sldMkLst>
      </pc:sldChg>
      <pc:sldChg chg="modSp add del">
        <pc:chgData name="Mery Carrasco Mauricio (Codelco-Casa Matriz)" userId="S::mmery004@codelco.cl::a0378191-74de-4d59-9b37-aa421303daba" providerId="AD" clId="Web-{E25DBEBF-3D73-CCF9-58D8-27C0A05B46B8}" dt="2021-06-30T16:02:26.441" v="61"/>
        <pc:sldMkLst>
          <pc:docMk/>
          <pc:sldMk cId="3383811262" sldId="540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6:01:56.642" v="58" actId="20577"/>
          <ac:spMkLst>
            <pc:docMk/>
            <pc:sldMk cId="3383811262" sldId="540"/>
            <ac:spMk id="6" creationId="{3F302836-4F68-4641-BD29-64B0A72CA38E}"/>
          </ac:spMkLst>
        </pc:spChg>
      </pc:sldChg>
      <pc:sldChg chg="modSp add ord addCm">
        <pc:chgData name="Mery Carrasco Mauricio (Codelco-Casa Matriz)" userId="S::mmery004@codelco.cl::a0378191-74de-4d59-9b37-aa421303daba" providerId="AD" clId="Web-{E25DBEBF-3D73-CCF9-58D8-27C0A05B46B8}" dt="2021-06-30T18:48:04.385" v="401" actId="14100"/>
        <pc:sldMkLst>
          <pc:docMk/>
          <pc:sldMk cId="2372349752" sldId="541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8:48:04.385" v="401" actId="14100"/>
          <ac:spMkLst>
            <pc:docMk/>
            <pc:sldMk cId="2372349752" sldId="541"/>
            <ac:spMk id="8" creationId="{FAC23C8B-BD22-483F-9A8E-C7C5E8D4635A}"/>
          </ac:spMkLst>
        </pc:spChg>
      </pc:sldChg>
      <pc:sldChg chg="add ord">
        <pc:chgData name="Mery Carrasco Mauricio (Codelco-Casa Matriz)" userId="S::mmery004@codelco.cl::a0378191-74de-4d59-9b37-aa421303daba" providerId="AD" clId="Web-{E25DBEBF-3D73-CCF9-58D8-27C0A05B46B8}" dt="2021-06-30T16:02:21.878" v="60"/>
        <pc:sldMkLst>
          <pc:docMk/>
          <pc:sldMk cId="2727499125" sldId="542"/>
        </pc:sldMkLst>
      </pc:sldChg>
      <pc:sldChg chg="modSp add del">
        <pc:chgData name="Mery Carrasco Mauricio (Codelco-Casa Matriz)" userId="S::mmery004@codelco.cl::a0378191-74de-4d59-9b37-aa421303daba" providerId="AD" clId="Web-{E25DBEBF-3D73-CCF9-58D8-27C0A05B46B8}" dt="2021-06-30T16:03:29.054" v="67"/>
        <pc:sldMkLst>
          <pc:docMk/>
          <pc:sldMk cId="2466984942" sldId="543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6:03:17.335" v="65"/>
          <ac:spMkLst>
            <pc:docMk/>
            <pc:sldMk cId="2466984942" sldId="543"/>
            <ac:spMk id="6" creationId="{3F302836-4F68-4641-BD29-64B0A72CA38E}"/>
          </ac:spMkLst>
        </pc:spChg>
      </pc:sldChg>
      <pc:sldChg chg="addSp delSp modSp add ord">
        <pc:chgData name="Mery Carrasco Mauricio (Codelco-Casa Matriz)" userId="S::mmery004@codelco.cl::a0378191-74de-4d59-9b37-aa421303daba" providerId="AD" clId="Web-{E25DBEBF-3D73-CCF9-58D8-27C0A05B46B8}" dt="2021-06-30T19:11:40.338" v="439" actId="1076"/>
        <pc:sldMkLst>
          <pc:docMk/>
          <pc:sldMk cId="2238237886" sldId="544"/>
        </pc:sldMkLst>
        <pc:spChg chg="add mod">
          <ac:chgData name="Mery Carrasco Mauricio (Codelco-Casa Matriz)" userId="S::mmery004@codelco.cl::a0378191-74de-4d59-9b37-aa421303daba" providerId="AD" clId="Web-{E25DBEBF-3D73-CCF9-58D8-27C0A05B46B8}" dt="2021-06-30T19:11:40.338" v="439" actId="1076"/>
          <ac:spMkLst>
            <pc:docMk/>
            <pc:sldMk cId="2238237886" sldId="544"/>
            <ac:spMk id="2" creationId="{0D1BFC14-E836-41EA-8AC8-2D229C4548C0}"/>
          </ac:spMkLst>
        </pc:spChg>
        <pc:spChg chg="del">
          <ac:chgData name="Mery Carrasco Mauricio (Codelco-Casa Matriz)" userId="S::mmery004@codelco.cl::a0378191-74de-4d59-9b37-aa421303daba" providerId="AD" clId="Web-{E25DBEBF-3D73-CCF9-58D8-27C0A05B46B8}" dt="2021-06-30T19:10:17.632" v="421"/>
          <ac:spMkLst>
            <pc:docMk/>
            <pc:sldMk cId="2238237886" sldId="544"/>
            <ac:spMk id="6" creationId="{3F302836-4F68-4641-BD29-64B0A72CA38E}"/>
          </ac:spMkLst>
        </pc:spChg>
        <pc:picChg chg="mod">
          <ac:chgData name="Mery Carrasco Mauricio (Codelco-Casa Matriz)" userId="S::mmery004@codelco.cl::a0378191-74de-4d59-9b37-aa421303daba" providerId="AD" clId="Web-{E25DBEBF-3D73-CCF9-58D8-27C0A05B46B8}" dt="2021-06-30T19:10:44.992" v="426" actId="1076"/>
          <ac:picMkLst>
            <pc:docMk/>
            <pc:sldMk cId="2238237886" sldId="544"/>
            <ac:picMk id="5" creationId="{00000000-0000-0000-0000-000000000000}"/>
          </ac:picMkLst>
        </pc:picChg>
      </pc:sldChg>
      <pc:sldChg chg="addSp delSp modSp add del addCm">
        <pc:chgData name="Mery Carrasco Mauricio (Codelco-Casa Matriz)" userId="S::mmery004@codelco.cl::a0378191-74de-4d59-9b37-aa421303daba" providerId="AD" clId="Web-{E25DBEBF-3D73-CCF9-58D8-27C0A05B46B8}" dt="2021-06-30T19:28:15.511" v="501"/>
        <pc:sldMkLst>
          <pc:docMk/>
          <pc:sldMk cId="3012838089" sldId="545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8:09:12.386" v="241" actId="1076"/>
          <ac:spMkLst>
            <pc:docMk/>
            <pc:sldMk cId="3012838089" sldId="545"/>
            <ac:spMk id="36" creationId="{03AB6464-BE3D-4F92-8E1D-E84406623404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08:53.729" v="240" actId="20577"/>
          <ac:spMkLst>
            <pc:docMk/>
            <pc:sldMk cId="3012838089" sldId="545"/>
            <ac:spMk id="145" creationId="{3F302836-4F68-4641-BD29-64B0A72CA38E}"/>
          </ac:spMkLst>
        </pc:spChg>
        <pc:grpChg chg="add mod">
          <ac:chgData name="Mery Carrasco Mauricio (Codelco-Casa Matriz)" userId="S::mmery004@codelco.cl::a0378191-74de-4d59-9b37-aa421303daba" providerId="AD" clId="Web-{E25DBEBF-3D73-CCF9-58D8-27C0A05B46B8}" dt="2021-06-30T18:07:10.867" v="238" actId="1076"/>
          <ac:grpSpMkLst>
            <pc:docMk/>
            <pc:sldMk cId="3012838089" sldId="545"/>
            <ac:grpSpMk id="6" creationId="{D1CA6ADF-63C1-4D1A-B928-845FDFED7621}"/>
          </ac:grpSpMkLst>
        </pc:grpChg>
        <pc:graphicFrameChg chg="mod">
          <ac:chgData name="Mery Carrasco Mauricio (Codelco-Casa Matriz)" userId="S::mmery004@codelco.cl::a0378191-74de-4d59-9b37-aa421303daba" providerId="AD" clId="Web-{E25DBEBF-3D73-CCF9-58D8-27C0A05B46B8}" dt="2021-06-30T16:45:20.703" v="214" actId="1076"/>
          <ac:graphicFrameMkLst>
            <pc:docMk/>
            <pc:sldMk cId="3012838089" sldId="545"/>
            <ac:graphicFrameMk id="33" creationId="{5F905CFF-27E7-407C-9BE4-F7DF0501575D}"/>
          </ac:graphicFrameMkLst>
        </pc:graphicFrameChg>
        <pc:cxnChg chg="add mod">
          <ac:chgData name="Mery Carrasco Mauricio (Codelco-Casa Matriz)" userId="S::mmery004@codelco.cl::a0378191-74de-4d59-9b37-aa421303daba" providerId="AD" clId="Web-{E25DBEBF-3D73-CCF9-58D8-27C0A05B46B8}" dt="2021-06-30T18:53:28.208" v="405"/>
          <ac:cxnSpMkLst>
            <pc:docMk/>
            <pc:sldMk cId="3012838089" sldId="545"/>
            <ac:cxnSpMk id="2" creationId="{4EFD1564-FA58-4625-A6B5-545E4E342B0B}"/>
          </ac:cxnSpMkLst>
        </pc:cxnChg>
        <pc:cxnChg chg="del">
          <ac:chgData name="Mery Carrasco Mauricio (Codelco-Casa Matriz)" userId="S::mmery004@codelco.cl::a0378191-74de-4d59-9b37-aa421303daba" providerId="AD" clId="Web-{E25DBEBF-3D73-CCF9-58D8-27C0A05B46B8}" dt="2021-06-30T18:06:59.429" v="234"/>
          <ac:cxnSpMkLst>
            <pc:docMk/>
            <pc:sldMk cId="3012838089" sldId="545"/>
            <ac:cxnSpMk id="34" creationId="{D44CE474-F7FC-4F1A-919B-A540DD59A1EB}"/>
          </ac:cxnSpMkLst>
        </pc:cxnChg>
      </pc:sldChg>
      <pc:sldChg chg="addSp modSp add del ord addCm">
        <pc:chgData name="Mery Carrasco Mauricio (Codelco-Casa Matriz)" userId="S::mmery004@codelco.cl::a0378191-74de-4d59-9b37-aa421303daba" providerId="AD" clId="Web-{E25DBEBF-3D73-CCF9-58D8-27C0A05B46B8}" dt="2021-06-30T19:31:53.143" v="521"/>
        <pc:sldMkLst>
          <pc:docMk/>
          <pc:sldMk cId="1087999943" sldId="546"/>
        </pc:sldMkLst>
        <pc:spChg chg="add mod">
          <ac:chgData name="Mery Carrasco Mauricio (Codelco-Casa Matriz)" userId="S::mmery004@codelco.cl::a0378191-74de-4d59-9b37-aa421303daba" providerId="AD" clId="Web-{E25DBEBF-3D73-CCF9-58D8-27C0A05B46B8}" dt="2021-06-30T18:18:02.935" v="290" actId="14100"/>
          <ac:spMkLst>
            <pc:docMk/>
            <pc:sldMk cId="1087999943" sldId="546"/>
            <ac:spMk id="31" creationId="{9D9A4CF5-7C9E-46C6-90E6-1E3D29185CCD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4:46.725" v="280" actId="20577"/>
          <ac:spMkLst>
            <pc:docMk/>
            <pc:sldMk cId="1087999943" sldId="546"/>
            <ac:spMk id="36" creationId="{03AB6464-BE3D-4F92-8E1D-E84406623404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108" v="294" actId="1076"/>
          <ac:spMkLst>
            <pc:docMk/>
            <pc:sldMk cId="1087999943" sldId="546"/>
            <ac:spMk id="48" creationId="{B6078FC3-00BD-47D8-97A4-CBA7392A668F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170" v="295" actId="1076"/>
          <ac:spMkLst>
            <pc:docMk/>
            <pc:sldMk cId="1087999943" sldId="546"/>
            <ac:spMk id="50" creationId="{97F7FB06-192C-41B5-9E8D-E8272C647F68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233" v="296" actId="1076"/>
          <ac:spMkLst>
            <pc:docMk/>
            <pc:sldMk cId="1087999943" sldId="546"/>
            <ac:spMk id="52" creationId="{018D3B62-D650-44FF-9E30-B9106521CFE9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295" v="297" actId="1076"/>
          <ac:spMkLst>
            <pc:docMk/>
            <pc:sldMk cId="1087999943" sldId="546"/>
            <ac:spMk id="54" creationId="{B10D4908-2597-478D-AAA1-7DA3C4D72D5F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358" v="298" actId="1076"/>
          <ac:spMkLst>
            <pc:docMk/>
            <pc:sldMk cId="1087999943" sldId="546"/>
            <ac:spMk id="57" creationId="{223D902F-770D-4378-8E13-E1CBDFA3836B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436" v="299" actId="1076"/>
          <ac:spMkLst>
            <pc:docMk/>
            <pc:sldMk cId="1087999943" sldId="546"/>
            <ac:spMk id="60" creationId="{C91A28AC-CDCE-4990-84A4-30E82BDA8493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4.920" v="291" actId="1076"/>
          <ac:spMkLst>
            <pc:docMk/>
            <pc:sldMk cId="1087999943" sldId="546"/>
            <ac:spMk id="64" creationId="{8D3FD4C3-15BB-4013-8435-5068E3C9C4EA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498" v="300" actId="1076"/>
          <ac:spMkLst>
            <pc:docMk/>
            <pc:sldMk cId="1087999943" sldId="546"/>
            <ac:spMk id="69" creationId="{EC458537-0384-4BD6-92A2-40E58FA69C45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561" v="301" actId="1076"/>
          <ac:spMkLst>
            <pc:docMk/>
            <pc:sldMk cId="1087999943" sldId="546"/>
            <ac:spMk id="70" creationId="{723CF32D-FBEF-49B2-97EA-E3D74F3C6622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4.967" v="292" actId="1076"/>
          <ac:spMkLst>
            <pc:docMk/>
            <pc:sldMk cId="1087999943" sldId="546"/>
            <ac:spMk id="77" creationId="{8D3FD4C3-15BB-4013-8435-5068E3C9C4EA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6:10:42.830" v="77" actId="14100"/>
          <ac:spMkLst>
            <pc:docMk/>
            <pc:sldMk cId="1087999943" sldId="546"/>
            <ac:spMk id="81" creationId="{8D3FD4C3-15BB-4013-8435-5068E3C9C4EA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639" v="302" actId="1076"/>
          <ac:spMkLst>
            <pc:docMk/>
            <pc:sldMk cId="1087999943" sldId="546"/>
            <ac:spMk id="82" creationId="{A1C78848-961C-422A-80C4-82A97A15E466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717" v="303" actId="1076"/>
          <ac:spMkLst>
            <pc:docMk/>
            <pc:sldMk cId="1087999943" sldId="546"/>
            <ac:spMk id="83" creationId="{65C8511C-8632-4474-AD87-219F5B57ACF8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795" v="304" actId="1076"/>
          <ac:spMkLst>
            <pc:docMk/>
            <pc:sldMk cId="1087999943" sldId="546"/>
            <ac:spMk id="84" creationId="{7EB209D8-ED30-4A68-9FF3-760E3AFBBF4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889" v="305" actId="1076"/>
          <ac:spMkLst>
            <pc:docMk/>
            <pc:sldMk cId="1087999943" sldId="546"/>
            <ac:spMk id="86" creationId="{B255491D-B3B6-4A45-B027-65C06E071ABD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5.967" v="306" actId="1076"/>
          <ac:spMkLst>
            <pc:docMk/>
            <pc:sldMk cId="1087999943" sldId="546"/>
            <ac:spMk id="87" creationId="{CEC72D5C-026A-4DAC-9FE0-97D4372F52D3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6.061" v="307" actId="1076"/>
          <ac:spMkLst>
            <pc:docMk/>
            <pc:sldMk cId="1087999943" sldId="546"/>
            <ac:spMk id="88" creationId="{F482CD0F-8649-4FE6-9049-FC47263FCE4C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6.123" v="308" actId="1076"/>
          <ac:spMkLst>
            <pc:docMk/>
            <pc:sldMk cId="1087999943" sldId="546"/>
            <ac:spMk id="89" creationId="{DA454127-9D7E-4B1B-98FD-2F6A67D81E4D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8:18:26.201" v="309" actId="1076"/>
          <ac:spMkLst>
            <pc:docMk/>
            <pc:sldMk cId="1087999943" sldId="546"/>
            <ac:spMk id="90" creationId="{A24FF02A-15C0-4496-B33B-9BFBFEBF14AE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6:10:19.282" v="75" actId="20577"/>
          <ac:spMkLst>
            <pc:docMk/>
            <pc:sldMk cId="1087999943" sldId="546"/>
            <ac:spMk id="145" creationId="{3F302836-4F68-4641-BD29-64B0A72CA38E}"/>
          </ac:spMkLst>
        </pc:spChg>
        <pc:grpChg chg="add mod">
          <ac:chgData name="Mery Carrasco Mauricio (Codelco-Casa Matriz)" userId="S::mmery004@codelco.cl::a0378191-74de-4d59-9b37-aa421303daba" providerId="AD" clId="Web-{E25DBEBF-3D73-CCF9-58D8-27C0A05B46B8}" dt="2021-06-30T18:25:14.090" v="317" actId="1076"/>
          <ac:grpSpMkLst>
            <pc:docMk/>
            <pc:sldMk cId="1087999943" sldId="546"/>
            <ac:grpSpMk id="2" creationId="{B066A230-D8BE-49AD-94B1-C3C6BC57AABA}"/>
          </ac:grpSpMkLst>
        </pc:grpChg>
        <pc:graphicFrameChg chg="mod">
          <ac:chgData name="Mery Carrasco Mauricio (Codelco-Casa Matriz)" userId="S::mmery004@codelco.cl::a0378191-74de-4d59-9b37-aa421303daba" providerId="AD" clId="Web-{E25DBEBF-3D73-CCF9-58D8-27C0A05B46B8}" dt="2021-06-30T18:18:25.045" v="293" actId="1076"/>
          <ac:graphicFrameMkLst>
            <pc:docMk/>
            <pc:sldMk cId="1087999943" sldId="546"/>
            <ac:graphicFrameMk id="47" creationId="{42D1AAEA-2620-4249-9CBD-524ADB0DA093}"/>
          </ac:graphicFrameMkLst>
        </pc:graphicFrameChg>
        <pc:graphicFrameChg chg="mod">
          <ac:chgData name="Mery Carrasco Mauricio (Codelco-Casa Matriz)" userId="S::mmery004@codelco.cl::a0378191-74de-4d59-9b37-aa421303daba" providerId="AD" clId="Web-{E25DBEBF-3D73-CCF9-58D8-27C0A05B46B8}" dt="2021-06-30T18:18:36.639" v="311" actId="1076"/>
          <ac:graphicFrameMkLst>
            <pc:docMk/>
            <pc:sldMk cId="1087999943" sldId="546"/>
            <ac:graphicFrameMk id="61" creationId="{D4167C2C-98EE-42D1-8119-67AE2897B452}"/>
          </ac:graphicFrameMkLst>
        </pc:graphicFrameChg>
        <pc:cxnChg chg="mod">
          <ac:chgData name="Mery Carrasco Mauricio (Codelco-Casa Matriz)" userId="S::mmery004@codelco.cl::a0378191-74de-4d59-9b37-aa421303daba" providerId="AD" clId="Web-{E25DBEBF-3D73-CCF9-58D8-27C0A05B46B8}" dt="2021-06-30T18:53:06.426" v="403"/>
          <ac:cxnSpMkLst>
            <pc:docMk/>
            <pc:sldMk cId="1087999943" sldId="546"/>
            <ac:cxnSpMk id="494598" creationId="{E92A0B56-6807-42D6-91F7-A234F6FDC02E}"/>
          </ac:cxnSpMkLst>
        </pc:cxnChg>
      </pc:sldChg>
      <pc:sldChg chg="addSp delSp modSp add del addCm">
        <pc:chgData name="Mery Carrasco Mauricio (Codelco-Casa Matriz)" userId="S::mmery004@codelco.cl::a0378191-74de-4d59-9b37-aa421303daba" providerId="AD" clId="Web-{E25DBEBF-3D73-CCF9-58D8-27C0A05B46B8}" dt="2021-06-30T19:33:26.209" v="531"/>
        <pc:sldMkLst>
          <pc:docMk/>
          <pc:sldMk cId="822589265" sldId="547"/>
        </pc:sldMkLst>
        <pc:spChg chg="del">
          <ac:chgData name="Mery Carrasco Mauricio (Codelco-Casa Matriz)" userId="S::mmery004@codelco.cl::a0378191-74de-4d59-9b37-aa421303daba" providerId="AD" clId="Web-{E25DBEBF-3D73-CCF9-58D8-27C0A05B46B8}" dt="2021-06-30T16:04:31.308" v="72"/>
          <ac:spMkLst>
            <pc:docMk/>
            <pc:sldMk cId="822589265" sldId="547"/>
            <ac:spMk id="3" creationId="{BEEF5B70-189F-4E7E-94A0-86000016E955}"/>
          </ac:spMkLst>
        </pc:spChg>
        <pc:spChg chg="add del mod">
          <ac:chgData name="Mery Carrasco Mauricio (Codelco-Casa Matriz)" userId="S::mmery004@codelco.cl::a0378191-74de-4d59-9b37-aa421303daba" providerId="AD" clId="Web-{E25DBEBF-3D73-CCF9-58D8-27C0A05B46B8}" dt="2021-06-30T18:04:20.486" v="228"/>
          <ac:spMkLst>
            <pc:docMk/>
            <pc:sldMk cId="822589265" sldId="547"/>
            <ac:spMk id="3" creationId="{C4C14087-502E-4C1A-8181-4084AAF18A5A}"/>
          </ac:spMkLst>
        </pc:spChg>
        <pc:grpChg chg="add mod">
          <ac:chgData name="Mery Carrasco Mauricio (Codelco-Casa Matriz)" userId="S::mmery004@codelco.cl::a0378191-74de-4d59-9b37-aa421303daba" providerId="AD" clId="Web-{E25DBEBF-3D73-CCF9-58D8-27C0A05B46B8}" dt="2021-06-30T18:04:56.019" v="231" actId="1076"/>
          <ac:grpSpMkLst>
            <pc:docMk/>
            <pc:sldMk cId="822589265" sldId="547"/>
            <ac:grpSpMk id="5" creationId="{E1E30E10-9FF0-4F91-8D4F-3DF30B802AD8}"/>
          </ac:grpSpMkLst>
        </pc:grpChg>
        <pc:cxnChg chg="mod">
          <ac:chgData name="Mery Carrasco Mauricio (Codelco-Casa Matriz)" userId="S::mmery004@codelco.cl::a0378191-74de-4d59-9b37-aa421303daba" providerId="AD" clId="Web-{E25DBEBF-3D73-CCF9-58D8-27C0A05B46B8}" dt="2021-06-30T18:53:17.411" v="404"/>
          <ac:cxnSpMkLst>
            <pc:docMk/>
            <pc:sldMk cId="822589265" sldId="547"/>
            <ac:cxnSpMk id="14" creationId="{886B66F4-FBFE-4E9A-A8CA-C9E34082616E}"/>
          </ac:cxnSpMkLst>
        </pc:cxnChg>
      </pc:sldChg>
      <pc:sldChg chg="modSp add addCm">
        <pc:chgData name="Mery Carrasco Mauricio (Codelco-Casa Matriz)" userId="S::mmery004@codelco.cl::a0378191-74de-4d59-9b37-aa421303daba" providerId="AD" clId="Web-{E25DBEBF-3D73-CCF9-58D8-27C0A05B46B8}" dt="2021-06-30T19:24:29.269" v="498" actId="14100"/>
        <pc:sldMkLst>
          <pc:docMk/>
          <pc:sldMk cId="3703057871" sldId="548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7:10:48.662" v="220" actId="20577"/>
          <ac:spMkLst>
            <pc:docMk/>
            <pc:sldMk cId="3703057871" sldId="548"/>
            <ac:spMk id="2" creationId="{C603D3FA-2B71-40FE-81E3-B6FD2C3DA7C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24:21.035" v="497" actId="14100"/>
          <ac:spMkLst>
            <pc:docMk/>
            <pc:sldMk cId="3703057871" sldId="548"/>
            <ac:spMk id="6" creationId="{27FDF2F2-B70E-4308-BF47-293308FFF851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24:16.566" v="496" actId="14100"/>
          <ac:spMkLst>
            <pc:docMk/>
            <pc:sldMk cId="3703057871" sldId="548"/>
            <ac:spMk id="14" creationId="{BC7F0B9E-191E-4FC5-A59E-2E3973815ED1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24:13.034" v="495" actId="14100"/>
          <ac:spMkLst>
            <pc:docMk/>
            <pc:sldMk cId="3703057871" sldId="548"/>
            <ac:spMk id="48" creationId="{4ECA42F0-2D41-453E-A1BC-21D3B65DFE25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24:29.269" v="498" actId="14100"/>
          <ac:spMkLst>
            <pc:docMk/>
            <pc:sldMk cId="3703057871" sldId="548"/>
            <ac:spMk id="200" creationId="{7F287BFB-646E-42CE-9207-ABD9E428113C}"/>
          </ac:spMkLst>
        </pc:spChg>
      </pc:sldChg>
      <pc:sldChg chg="add">
        <pc:chgData name="Mery Carrasco Mauricio (Codelco-Casa Matriz)" userId="S::mmery004@codelco.cl::a0378191-74de-4d59-9b37-aa421303daba" providerId="AD" clId="Web-{E25DBEBF-3D73-CCF9-58D8-27C0A05B46B8}" dt="2021-06-30T17:22:41.576" v="222"/>
        <pc:sldMkLst>
          <pc:docMk/>
          <pc:sldMk cId="3338979914" sldId="549"/>
        </pc:sldMkLst>
      </pc:sldChg>
      <pc:sldChg chg="addSp modSp add">
        <pc:chgData name="Mery Carrasco Mauricio (Codelco-Casa Matriz)" userId="S::mmery004@codelco.cl::a0378191-74de-4d59-9b37-aa421303daba" providerId="AD" clId="Web-{E25DBEBF-3D73-CCF9-58D8-27C0A05B46B8}" dt="2021-06-30T19:43:34.932" v="637" actId="1076"/>
        <pc:sldMkLst>
          <pc:docMk/>
          <pc:sldMk cId="372377247" sldId="550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9:42:41.258" v="630" actId="20577"/>
          <ac:spMkLst>
            <pc:docMk/>
            <pc:sldMk cId="372377247" sldId="550"/>
            <ac:spMk id="3" creationId="{FF48D6DC-F862-479E-8B37-EB01915385B4}"/>
          </ac:spMkLst>
        </pc:spChg>
        <pc:spChg chg="add mod">
          <ac:chgData name="Mery Carrasco Mauricio (Codelco-Casa Matriz)" userId="S::mmery004@codelco.cl::a0378191-74de-4d59-9b37-aa421303daba" providerId="AD" clId="Web-{E25DBEBF-3D73-CCF9-58D8-27C0A05B46B8}" dt="2021-06-30T19:38:46.469" v="592" actId="20577"/>
          <ac:spMkLst>
            <pc:docMk/>
            <pc:sldMk cId="372377247" sldId="550"/>
            <ac:spMk id="5" creationId="{C5871D0A-6D94-4691-AA8C-8060F9AA7086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37:43.764" v="570" actId="1076"/>
          <ac:spMkLst>
            <pc:docMk/>
            <pc:sldMk cId="372377247" sldId="550"/>
            <ac:spMk id="6" creationId="{BBCA609F-5B82-4D56-AFAD-045D09898859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2:27.383" v="627"/>
          <ac:spMkLst>
            <pc:docMk/>
            <pc:sldMk cId="372377247" sldId="550"/>
            <ac:spMk id="102" creationId="{FF48D6DC-F862-479E-8B37-EB01915385B4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38:19.484" v="582" actId="20577"/>
          <ac:spMkLst>
            <pc:docMk/>
            <pc:sldMk cId="372377247" sldId="550"/>
            <ac:spMk id="103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1:25.975" v="621" actId="1076"/>
          <ac:spMkLst>
            <pc:docMk/>
            <pc:sldMk cId="372377247" sldId="550"/>
            <ac:spMk id="104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1:13.818" v="617" actId="14100"/>
          <ac:spMkLst>
            <pc:docMk/>
            <pc:sldMk cId="372377247" sldId="550"/>
            <ac:spMk id="105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39:55.847" v="598" actId="1076"/>
          <ac:spMkLst>
            <pc:docMk/>
            <pc:sldMk cId="372377247" sldId="550"/>
            <ac:spMk id="106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39:24.767" v="597" actId="1076"/>
          <ac:spMkLst>
            <pc:docMk/>
            <pc:sldMk cId="372377247" sldId="550"/>
            <ac:spMk id="108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0:00.253" v="599" actId="1076"/>
          <ac:spMkLst>
            <pc:docMk/>
            <pc:sldMk cId="372377247" sldId="550"/>
            <ac:spMk id="109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0:29.191" v="606" actId="1076"/>
          <ac:spMkLst>
            <pc:docMk/>
            <pc:sldMk cId="372377247" sldId="550"/>
            <ac:spMk id="110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40:34.379" v="607" actId="14100"/>
          <ac:spMkLst>
            <pc:docMk/>
            <pc:sldMk cId="372377247" sldId="550"/>
            <ac:spMk id="111" creationId="{00000000-0000-0000-0000-000000000000}"/>
          </ac:spMkLst>
        </pc:spChg>
        <pc:grpChg chg="add mod">
          <ac:chgData name="Mery Carrasco Mauricio (Codelco-Casa Matriz)" userId="S::mmery004@codelco.cl::a0378191-74de-4d59-9b37-aa421303daba" providerId="AD" clId="Web-{E25DBEBF-3D73-CCF9-58D8-27C0A05B46B8}" dt="2021-06-30T19:43:34.932" v="637" actId="1076"/>
          <ac:grpSpMkLst>
            <pc:docMk/>
            <pc:sldMk cId="372377247" sldId="550"/>
            <ac:grpSpMk id="9" creationId="{A073AFFF-A8F8-4A1E-AA7C-6B5657AA5F50}"/>
          </ac:grpSpMkLst>
        </pc:grpChg>
        <pc:graphicFrameChg chg="mod">
          <ac:chgData name="Mery Carrasco Mauricio (Codelco-Casa Matriz)" userId="S::mmery004@codelco.cl::a0378191-74de-4d59-9b37-aa421303daba" providerId="AD" clId="Web-{E25DBEBF-3D73-CCF9-58D8-27C0A05B46B8}" dt="2021-06-30T19:43:17.541" v="633" actId="1076"/>
          <ac:graphicFrameMkLst>
            <pc:docMk/>
            <pc:sldMk cId="372377247" sldId="550"/>
            <ac:graphicFrameMk id="80" creationId="{00000000-0000-0000-0000-000000000000}"/>
          </ac:graphicFrameMkLst>
        </pc:graphicFrameChg>
        <pc:cxnChg chg="add mod">
          <ac:chgData name="Mery Carrasco Mauricio (Codelco-Casa Matriz)" userId="S::mmery004@codelco.cl::a0378191-74de-4d59-9b37-aa421303daba" providerId="AD" clId="Web-{E25DBEBF-3D73-CCF9-58D8-27C0A05B46B8}" dt="2021-06-30T19:43:30.572" v="636" actId="14100"/>
          <ac:cxnSpMkLst>
            <pc:docMk/>
            <pc:sldMk cId="372377247" sldId="550"/>
            <ac:cxnSpMk id="7" creationId="{FABA108E-FAF2-41B1-B9AC-67831305C1C9}"/>
          </ac:cxnSpMkLst>
        </pc:cxnChg>
      </pc:sldChg>
      <pc:sldChg chg="modSp add ord">
        <pc:chgData name="Mery Carrasco Mauricio (Codelco-Casa Matriz)" userId="S::mmery004@codelco.cl::a0378191-74de-4d59-9b37-aa421303daba" providerId="AD" clId="Web-{E25DBEBF-3D73-CCF9-58D8-27C0A05B46B8}" dt="2021-06-30T19:35:53.886" v="557" actId="20577"/>
        <pc:sldMkLst>
          <pc:docMk/>
          <pc:sldMk cId="1451991468" sldId="551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9:35:53.886" v="557" actId="20577"/>
          <ac:spMkLst>
            <pc:docMk/>
            <pc:sldMk cId="1451991468" sldId="551"/>
            <ac:spMk id="35" creationId="{1E4C4AB3-F6D0-4ED6-B474-054251626C37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30:27.250" v="517" actId="1076"/>
          <ac:spMkLst>
            <pc:docMk/>
            <pc:sldMk cId="1451991468" sldId="551"/>
            <ac:spMk id="36" creationId="{03AB6464-BE3D-4F92-8E1D-E84406623404}"/>
          </ac:spMkLst>
        </pc:spChg>
      </pc:sldChg>
      <pc:sldChg chg="add del">
        <pc:chgData name="Mery Carrasco Mauricio (Codelco-Casa Matriz)" userId="S::mmery004@codelco.cl::a0378191-74de-4d59-9b37-aa421303daba" providerId="AD" clId="Web-{E25DBEBF-3D73-CCF9-58D8-27C0A05B46B8}" dt="2021-06-30T18:06:27.459" v="233"/>
        <pc:sldMkLst>
          <pc:docMk/>
          <pc:sldMk cId="3875254925" sldId="551"/>
        </pc:sldMkLst>
      </pc:sldChg>
      <pc:sldChg chg="modSp add">
        <pc:chgData name="Mery Carrasco Mauricio (Codelco-Casa Matriz)" userId="S::mmery004@codelco.cl::a0378191-74de-4d59-9b37-aa421303daba" providerId="AD" clId="Web-{E25DBEBF-3D73-CCF9-58D8-27C0A05B46B8}" dt="2021-06-30T19:35:22.369" v="544" actId="20577"/>
        <pc:sldMkLst>
          <pc:docMk/>
          <pc:sldMk cId="2244277401" sldId="552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9:31:34.502" v="520" actId="14100"/>
          <ac:spMkLst>
            <pc:docMk/>
            <pc:sldMk cId="2244277401" sldId="552"/>
            <ac:spMk id="31" creationId="{9D9A4CF5-7C9E-46C6-90E6-1E3D29185CCD}"/>
          </ac:spMkLst>
        </pc:spChg>
        <pc:spChg chg="mod">
          <ac:chgData name="Mery Carrasco Mauricio (Codelco-Casa Matriz)" userId="S::mmery004@codelco.cl::a0378191-74de-4d59-9b37-aa421303daba" providerId="AD" clId="Web-{E25DBEBF-3D73-CCF9-58D8-27C0A05B46B8}" dt="2021-06-30T19:35:22.369" v="544" actId="20577"/>
          <ac:spMkLst>
            <pc:docMk/>
            <pc:sldMk cId="2244277401" sldId="552"/>
            <ac:spMk id="81" creationId="{8D3FD4C3-15BB-4013-8435-5068E3C9C4EA}"/>
          </ac:spMkLst>
        </pc:spChg>
      </pc:sldChg>
      <pc:sldChg chg="modSp add ord">
        <pc:chgData name="Mery Carrasco Mauricio (Codelco-Casa Matriz)" userId="S::mmery004@codelco.cl::a0378191-74de-4d59-9b37-aa421303daba" providerId="AD" clId="Web-{E25DBEBF-3D73-CCF9-58D8-27C0A05B46B8}" dt="2021-06-30T19:33:35.709" v="532"/>
        <pc:sldMkLst>
          <pc:docMk/>
          <pc:sldMk cId="2243645923" sldId="553"/>
        </pc:sldMkLst>
        <pc:spChg chg="mod">
          <ac:chgData name="Mery Carrasco Mauricio (Codelco-Casa Matriz)" userId="S::mmery004@codelco.cl::a0378191-74de-4d59-9b37-aa421303daba" providerId="AD" clId="Web-{E25DBEBF-3D73-CCF9-58D8-27C0A05B46B8}" dt="2021-06-30T19:33:20.146" v="530" actId="1076"/>
          <ac:spMkLst>
            <pc:docMk/>
            <pc:sldMk cId="2243645923" sldId="553"/>
            <ac:spMk id="11" creationId="{A2484972-1E02-4CEF-B41A-2F9CF71F7530}"/>
          </ac:spMkLst>
        </pc:spChg>
      </pc:sldChg>
      <pc:sldMasterChg chg="add addSldLayout">
        <pc:chgData name="Mery Carrasco Mauricio (Codelco-Casa Matriz)" userId="S::mmery004@codelco.cl::a0378191-74de-4d59-9b37-aa421303daba" providerId="AD" clId="Web-{E25DBEBF-3D73-CCF9-58D8-27C0A05B46B8}" dt="2021-06-30T17:22:41.576" v="222"/>
        <pc:sldMasterMkLst>
          <pc:docMk/>
          <pc:sldMasterMk cId="1483736372" sldId="2147484427"/>
        </pc:sldMasterMkLst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2875749326" sldId="2147484428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1246577849" sldId="2147484429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1892425772" sldId="2147484430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3429055014" sldId="2147484431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3462345350" sldId="2147484432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3834324367" sldId="2147484433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2664754821" sldId="2147484434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757950045" sldId="2147484435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3338812451" sldId="2147484436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1566510803" sldId="2147484437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1771080821" sldId="2147484438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3879504276" sldId="2147484439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604462793" sldId="2147484440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1031026366" sldId="2147484441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1807483272" sldId="2147484442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7:22:41.576" v="222"/>
          <pc:sldLayoutMkLst>
            <pc:docMk/>
            <pc:sldMasterMk cId="1483736372" sldId="2147484427"/>
            <pc:sldLayoutMk cId="831975692" sldId="2147484443"/>
          </pc:sldLayoutMkLst>
        </pc:sldLayoutChg>
      </pc:sldMasterChg>
      <pc:sldMasterChg chg="add addSldLayout">
        <pc:chgData name="Mery Carrasco Mauricio (Codelco-Casa Matriz)" userId="S::mmery004@codelco.cl::a0378191-74de-4d59-9b37-aa421303daba" providerId="AD" clId="Web-{E25DBEBF-3D73-CCF9-58D8-27C0A05B46B8}" dt="2021-06-30T19:27:36.791" v="499"/>
        <pc:sldMasterMkLst>
          <pc:docMk/>
          <pc:sldMasterMk cId="1483736372" sldId="2147484444"/>
        </pc:sldMasterMkLst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2875749326" sldId="2147484445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246577849" sldId="2147484446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892425772" sldId="2147484447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954803907" sldId="2147484448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854017939" sldId="2147484449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892425772" sldId="2147484450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429055014" sldId="2147484451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462345350" sldId="2147484452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834324367" sldId="2147484453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2664754821" sldId="2147484454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757950045" sldId="2147484455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338812451" sldId="2147484456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566510803" sldId="2147484457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771080821" sldId="2147484458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879504276" sldId="2147484459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604462793" sldId="2147484460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031026366" sldId="2147484461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807483272" sldId="2147484462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831975692" sldId="2147484463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832059893" sldId="2147484464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68019989" sldId="2147484465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484835447" sldId="2147484466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1616625935" sldId="2147484467"/>
          </pc:sldLayoutMkLst>
        </pc:sldLayoutChg>
        <pc:sldLayoutChg chg="add">
          <pc:chgData name="Mery Carrasco Mauricio (Codelco-Casa Matriz)" userId="S::mmery004@codelco.cl::a0378191-74de-4d59-9b37-aa421303daba" providerId="AD" clId="Web-{E25DBEBF-3D73-CCF9-58D8-27C0A05B46B8}" dt="2021-06-30T19:27:36.791" v="499"/>
          <pc:sldLayoutMkLst>
            <pc:docMk/>
            <pc:sldMasterMk cId="1483736372" sldId="2147484444"/>
            <pc:sldLayoutMk cId="3041999612" sldId="2147484468"/>
          </pc:sldLayoutMkLst>
        </pc:sldLayoutChg>
      </pc:sldMasterChg>
    </pc:docChg>
  </pc:docChgLst>
  <pc:docChgLst>
    <pc:chgData name="Mery Carrasco Mauricio (Codelco-Casa Matriz)" userId="S::mmery004@codelco.cl::a0378191-74de-4d59-9b37-aa421303daba" providerId="AD" clId="Web-{0F4570ED-25C3-33BD-46C1-D37C5FBF497E}"/>
    <pc:docChg chg="">
      <pc:chgData name="Mery Carrasco Mauricio (Codelco-Casa Matriz)" userId="S::mmery004@codelco.cl::a0378191-74de-4d59-9b37-aa421303daba" providerId="AD" clId="Web-{0F4570ED-25C3-33BD-46C1-D37C5FBF497E}" dt="2021-08-04T00:53:12.484" v="0"/>
      <pc:docMkLst>
        <pc:docMk/>
      </pc:docMkLst>
      <pc:sldChg chg="addCm">
        <pc:chgData name="Mery Carrasco Mauricio (Codelco-Casa Matriz)" userId="S::mmery004@codelco.cl::a0378191-74de-4d59-9b37-aa421303daba" providerId="AD" clId="Web-{0F4570ED-25C3-33BD-46C1-D37C5FBF497E}" dt="2021-08-04T00:53:12.484" v="0"/>
        <pc:sldMkLst>
          <pc:docMk/>
          <pc:sldMk cId="513596260" sldId="564"/>
        </pc:sldMkLst>
      </pc:sldChg>
    </pc:docChg>
  </pc:docChgLst>
  <pc:docChgLst>
    <pc:chgData name="Cortes Fredes Julio (Codelco-Casa Matriz)" userId="S::jcort126@codelco.cl::fdbe8921-93c4-42c2-a95f-6ad483c8c93d" providerId="AD" clId="Web-{93026D53-9349-8DC3-5CC2-46D89AD2FC74}"/>
    <pc:docChg chg="modSld">
      <pc:chgData name="Cortes Fredes Julio (Codelco-Casa Matriz)" userId="S::jcort126@codelco.cl::fdbe8921-93c4-42c2-a95f-6ad483c8c93d" providerId="AD" clId="Web-{93026D53-9349-8DC3-5CC2-46D89AD2FC74}" dt="2021-06-30T19:05:54.566" v="51" actId="1076"/>
      <pc:docMkLst>
        <pc:docMk/>
      </pc:docMkLst>
      <pc:sldChg chg="addSp delSp modSp">
        <pc:chgData name="Cortes Fredes Julio (Codelco-Casa Matriz)" userId="S::jcort126@codelco.cl::fdbe8921-93c4-42c2-a95f-6ad483c8c93d" providerId="AD" clId="Web-{93026D53-9349-8DC3-5CC2-46D89AD2FC74}" dt="2021-06-30T19:05:54.566" v="51" actId="1076"/>
        <pc:sldMkLst>
          <pc:docMk/>
          <pc:sldMk cId="3660273785" sldId="533"/>
        </pc:sldMkLst>
        <pc:spChg chg="mod">
          <ac:chgData name="Cortes Fredes Julio (Codelco-Casa Matriz)" userId="S::jcort126@codelco.cl::fdbe8921-93c4-42c2-a95f-6ad483c8c93d" providerId="AD" clId="Web-{93026D53-9349-8DC3-5CC2-46D89AD2FC74}" dt="2021-06-30T19:05:54.566" v="51" actId="1076"/>
          <ac:spMkLst>
            <pc:docMk/>
            <pc:sldMk cId="3660273785" sldId="533"/>
            <ac:spMk id="25" creationId="{30E51C1E-2836-4CC7-8AFD-487DEE36BF12}"/>
          </ac:spMkLst>
        </pc:spChg>
        <pc:spChg chg="add del mod">
          <ac:chgData name="Cortes Fredes Julio (Codelco-Casa Matriz)" userId="S::jcort126@codelco.cl::fdbe8921-93c4-42c2-a95f-6ad483c8c93d" providerId="AD" clId="Web-{93026D53-9349-8DC3-5CC2-46D89AD2FC74}" dt="2021-06-30T18:55:43.156" v="38"/>
          <ac:spMkLst>
            <pc:docMk/>
            <pc:sldMk cId="3660273785" sldId="533"/>
            <ac:spMk id="29" creationId="{2FA46B67-FC82-4F8B-9405-8AE3D4D4E8F0}"/>
          </ac:spMkLst>
        </pc:spChg>
        <pc:picChg chg="add mod">
          <ac:chgData name="Cortes Fredes Julio (Codelco-Casa Matriz)" userId="S::jcort126@codelco.cl::fdbe8921-93c4-42c2-a95f-6ad483c8c93d" providerId="AD" clId="Web-{93026D53-9349-8DC3-5CC2-46D89AD2FC74}" dt="2021-06-30T18:53:23.026" v="26" actId="14100"/>
          <ac:picMkLst>
            <pc:docMk/>
            <pc:sldMk cId="3660273785" sldId="533"/>
            <ac:picMk id="17" creationId="{01EFA55A-7733-45F5-86BA-50CFCD8F0DCD}"/>
          </ac:picMkLst>
        </pc:picChg>
        <pc:picChg chg="mod">
          <ac:chgData name="Cortes Fredes Julio (Codelco-Casa Matriz)" userId="S::jcort126@codelco.cl::fdbe8921-93c4-42c2-a95f-6ad483c8c93d" providerId="AD" clId="Web-{93026D53-9349-8DC3-5CC2-46D89AD2FC74}" dt="2021-06-30T18:52:04.930" v="5" actId="1076"/>
          <ac:picMkLst>
            <pc:docMk/>
            <pc:sldMk cId="3660273785" sldId="533"/>
            <ac:picMk id="24" creationId="{9AF856E0-7169-46E0-A7B9-658F3B9B31B4}"/>
          </ac:picMkLst>
        </pc:picChg>
        <pc:picChg chg="add mod">
          <ac:chgData name="Cortes Fredes Julio (Codelco-Casa Matriz)" userId="S::jcort126@codelco.cl::fdbe8921-93c4-42c2-a95f-6ad483c8c93d" providerId="AD" clId="Web-{93026D53-9349-8DC3-5CC2-46D89AD2FC74}" dt="2021-06-30T18:53:36.448" v="30" actId="1076"/>
          <ac:picMkLst>
            <pc:docMk/>
            <pc:sldMk cId="3660273785" sldId="533"/>
            <ac:picMk id="27" creationId="{024722BE-A07A-439C-90BC-32B0342EE3B4}"/>
          </ac:picMkLst>
        </pc:picChg>
        <pc:picChg chg="add mod">
          <ac:chgData name="Cortes Fredes Julio (Codelco-Casa Matriz)" userId="S::jcort126@codelco.cl::fdbe8921-93c4-42c2-a95f-6ad483c8c93d" providerId="AD" clId="Web-{93026D53-9349-8DC3-5CC2-46D89AD2FC74}" dt="2021-06-30T18:55:30.421" v="34" actId="1076"/>
          <ac:picMkLst>
            <pc:docMk/>
            <pc:sldMk cId="3660273785" sldId="533"/>
            <ac:picMk id="28" creationId="{BEAD048A-63F7-4E37-A69A-70082124C4CE}"/>
          </ac:picMkLst>
        </pc:picChg>
        <pc:picChg chg="add del mod">
          <ac:chgData name="Cortes Fredes Julio (Codelco-Casa Matriz)" userId="S::jcort126@codelco.cl::fdbe8921-93c4-42c2-a95f-6ad483c8c93d" providerId="AD" clId="Web-{93026D53-9349-8DC3-5CC2-46D89AD2FC74}" dt="2021-06-30T18:54:08.778" v="32"/>
          <ac:picMkLst>
            <pc:docMk/>
            <pc:sldMk cId="3660273785" sldId="533"/>
            <ac:picMk id="29" creationId="{CA8E15E2-7EAC-414A-8669-70C47E659AE0}"/>
          </ac:picMkLst>
        </pc:picChg>
        <pc:cxnChg chg="add mod">
          <ac:chgData name="Cortes Fredes Julio (Codelco-Casa Matriz)" userId="S::jcort126@codelco.cl::fdbe8921-93c4-42c2-a95f-6ad483c8c93d" providerId="AD" clId="Web-{93026D53-9349-8DC3-5CC2-46D89AD2FC74}" dt="2021-06-30T18:56:14.235" v="42" actId="1076"/>
          <ac:cxnSpMkLst>
            <pc:docMk/>
            <pc:sldMk cId="3660273785" sldId="533"/>
            <ac:cxnSpMk id="33" creationId="{6A9AEF02-34FD-4C08-8143-844CC5B9841E}"/>
          </ac:cxnSpMkLst>
        </pc:cxnChg>
        <pc:cxnChg chg="add mod">
          <ac:chgData name="Cortes Fredes Julio (Codelco-Casa Matriz)" userId="S::jcort126@codelco.cl::fdbe8921-93c4-42c2-a95f-6ad483c8c93d" providerId="AD" clId="Web-{93026D53-9349-8DC3-5CC2-46D89AD2FC74}" dt="2021-06-30T18:56:20.876" v="44" actId="1076"/>
          <ac:cxnSpMkLst>
            <pc:docMk/>
            <pc:sldMk cId="3660273785" sldId="533"/>
            <ac:cxnSpMk id="34" creationId="{97CCE684-4674-4B45-A07A-01CF87E18F64}"/>
          </ac:cxnSpMkLst>
        </pc:cxnChg>
        <pc:cxnChg chg="add mod">
          <ac:chgData name="Cortes Fredes Julio (Codelco-Casa Matriz)" userId="S::jcort126@codelco.cl::fdbe8921-93c4-42c2-a95f-6ad483c8c93d" providerId="AD" clId="Web-{93026D53-9349-8DC3-5CC2-46D89AD2FC74}" dt="2021-06-30T18:56:37.767" v="49" actId="1076"/>
          <ac:cxnSpMkLst>
            <pc:docMk/>
            <pc:sldMk cId="3660273785" sldId="533"/>
            <ac:cxnSpMk id="35" creationId="{1E4C2DB9-3576-4DA3-ADB2-CF0FF44121A7}"/>
          </ac:cxnSpMkLst>
        </pc:cxnChg>
      </pc:sldChg>
    </pc:docChg>
  </pc:docChgLst>
  <pc:docChgLst>
    <pc:chgData name="López Peñafiel Cristian (Codelco-Casa Matriz)" userId="S::clope043@codelco.cl::381c3bc6-4449-46be-b8ff-f88ef887b85f" providerId="AD" clId="Web-{82E3C620-CD42-D9A5-46B0-F6F47D65E793}"/>
    <pc:docChg chg="addSld modSld">
      <pc:chgData name="López Peñafiel Cristian (Codelco-Casa Matriz)" userId="S::clope043@codelco.cl::381c3bc6-4449-46be-b8ff-f88ef887b85f" providerId="AD" clId="Web-{82E3C620-CD42-D9A5-46B0-F6F47D65E793}" dt="2020-10-22T13:55:50.274" v="317"/>
      <pc:docMkLst>
        <pc:docMk/>
      </pc:docMkLst>
      <pc:sldChg chg="delSp modSp">
        <pc:chgData name="López Peñafiel Cristian (Codelco-Casa Matriz)" userId="S::clope043@codelco.cl::381c3bc6-4449-46be-b8ff-f88ef887b85f" providerId="AD" clId="Web-{82E3C620-CD42-D9A5-46B0-F6F47D65E793}" dt="2020-10-22T13:55:50.274" v="317"/>
        <pc:sldMkLst>
          <pc:docMk/>
          <pc:sldMk cId="1259302253" sldId="353"/>
        </pc:sldMkLst>
        <pc:spChg chg="mod">
          <ac:chgData name="López Peñafiel Cristian (Codelco-Casa Matriz)" userId="S::clope043@codelco.cl::381c3bc6-4449-46be-b8ff-f88ef887b85f" providerId="AD" clId="Web-{82E3C620-CD42-D9A5-46B0-F6F47D65E793}" dt="2020-10-22T13:54:31.316" v="314" actId="20577"/>
          <ac:spMkLst>
            <pc:docMk/>
            <pc:sldMk cId="1259302253" sldId="353"/>
            <ac:spMk id="11" creationId="{DB92C4CF-7AC4-4BFA-9A29-156AEC1C5231}"/>
          </ac:spMkLst>
        </pc:spChg>
        <pc:inkChg chg="del">
          <ac:chgData name="López Peñafiel Cristian (Codelco-Casa Matriz)" userId="S::clope043@codelco.cl::381c3bc6-4449-46be-b8ff-f88ef887b85f" providerId="AD" clId="Web-{82E3C620-CD42-D9A5-46B0-F6F47D65E793}" dt="2020-10-22T13:55:46.758" v="315"/>
          <ac:inkMkLst>
            <pc:docMk/>
            <pc:sldMk cId="1259302253" sldId="353"/>
            <ac:inkMk id="3" creationId="{8B33EF73-B996-4186-A817-CA0C0BEE31DB}"/>
          </ac:inkMkLst>
        </pc:inkChg>
        <pc:inkChg chg="del">
          <ac:chgData name="López Peñafiel Cristian (Codelco-Casa Matriz)" userId="S::clope043@codelco.cl::381c3bc6-4449-46be-b8ff-f88ef887b85f" providerId="AD" clId="Web-{82E3C620-CD42-D9A5-46B0-F6F47D65E793}" dt="2020-10-22T13:55:46.758" v="316"/>
          <ac:inkMkLst>
            <pc:docMk/>
            <pc:sldMk cId="1259302253" sldId="353"/>
            <ac:inkMk id="4" creationId="{2B297F4D-DACF-44C1-BA28-21C96CA223BB}"/>
          </ac:inkMkLst>
        </pc:inkChg>
        <pc:inkChg chg="del">
          <ac:chgData name="López Peñafiel Cristian (Codelco-Casa Matriz)" userId="S::clope043@codelco.cl::381c3bc6-4449-46be-b8ff-f88ef887b85f" providerId="AD" clId="Web-{82E3C620-CD42-D9A5-46B0-F6F47D65E793}" dt="2020-10-22T13:55:50.274" v="317"/>
          <ac:inkMkLst>
            <pc:docMk/>
            <pc:sldMk cId="1259302253" sldId="353"/>
            <ac:inkMk id="5" creationId="{0D9BF7C3-7DED-4AED-9659-819CBEB1BC86}"/>
          </ac:inkMkLst>
        </pc:inkChg>
      </pc:sldChg>
      <pc:sldChg chg="addSp delSp modSp add replId">
        <pc:chgData name="López Peñafiel Cristian (Codelco-Casa Matriz)" userId="S::clope043@codelco.cl::381c3bc6-4449-46be-b8ff-f88ef887b85f" providerId="AD" clId="Web-{82E3C620-CD42-D9A5-46B0-F6F47D65E793}" dt="2020-10-22T13:31:57.886" v="190" actId="20577"/>
        <pc:sldMkLst>
          <pc:docMk/>
          <pc:sldMk cId="1637382014" sldId="421"/>
        </pc:sldMkLst>
        <pc:spChg chg="mod">
          <ac:chgData name="López Peñafiel Cristian (Codelco-Casa Matriz)" userId="S::clope043@codelco.cl::381c3bc6-4449-46be-b8ff-f88ef887b85f" providerId="AD" clId="Web-{82E3C620-CD42-D9A5-46B0-F6F47D65E793}" dt="2020-10-22T13:23:46.480" v="1" actId="20577"/>
          <ac:spMkLst>
            <pc:docMk/>
            <pc:sldMk cId="1637382014" sldId="421"/>
            <ac:spMk id="5" creationId="{77B10082-1E01-4180-8E69-2A4E8DC6DD56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26.123" v="100"/>
          <ac:spMkLst>
            <pc:docMk/>
            <pc:sldMk cId="1637382014" sldId="421"/>
            <ac:spMk id="6" creationId="{8CEE12DB-9244-4EF8-8207-4A8876A826F3}"/>
          </ac:spMkLst>
        </pc:spChg>
        <pc:spChg chg="mod">
          <ac:chgData name="López Peñafiel Cristian (Codelco-Casa Matriz)" userId="S::clope043@codelco.cl::381c3bc6-4449-46be-b8ff-f88ef887b85f" providerId="AD" clId="Web-{82E3C620-CD42-D9A5-46B0-F6F47D65E793}" dt="2020-10-22T13:31:57.886" v="190" actId="20577"/>
          <ac:spMkLst>
            <pc:docMk/>
            <pc:sldMk cId="1637382014" sldId="421"/>
            <ac:spMk id="7" creationId="{50281A4C-2537-472A-9FDE-616F7AD24E93}"/>
          </ac:spMkLst>
        </pc:spChg>
        <pc:spChg chg="add mod">
          <ac:chgData name="López Peñafiel Cristian (Codelco-Casa Matriz)" userId="S::clope043@codelco.cl::381c3bc6-4449-46be-b8ff-f88ef887b85f" providerId="AD" clId="Web-{82E3C620-CD42-D9A5-46B0-F6F47D65E793}" dt="2020-10-22T13:29:36.987" v="170" actId="14100"/>
          <ac:spMkLst>
            <pc:docMk/>
            <pc:sldMk cId="1637382014" sldId="421"/>
            <ac:spMk id="12" creationId="{438D0C6C-E159-451B-BE3E-2E6645A1C6FD}"/>
          </ac:spMkLst>
        </pc:spChg>
        <pc:spChg chg="add del mod">
          <ac:chgData name="López Peñafiel Cristian (Codelco-Casa Matriz)" userId="S::clope043@codelco.cl::381c3bc6-4449-46be-b8ff-f88ef887b85f" providerId="AD" clId="Web-{82E3C620-CD42-D9A5-46B0-F6F47D65E793}" dt="2020-10-22T13:27:42.839" v="157"/>
          <ac:spMkLst>
            <pc:docMk/>
            <pc:sldMk cId="1637382014" sldId="421"/>
            <ac:spMk id="15" creationId="{930CFC28-96C1-4537-97D3-D248FB9530EF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6:13.724" v="140"/>
          <ac:spMkLst>
            <pc:docMk/>
            <pc:sldMk cId="1637382014" sldId="421"/>
            <ac:spMk id="16" creationId="{0C49C130-1120-40C1-9B37-D2BF7A7E6F26}"/>
          </ac:spMkLst>
        </pc:spChg>
        <pc:spChg chg="add mod">
          <ac:chgData name="López Peñafiel Cristian (Codelco-Casa Matriz)" userId="S::clope043@codelco.cl::381c3bc6-4449-46be-b8ff-f88ef887b85f" providerId="AD" clId="Web-{82E3C620-CD42-D9A5-46B0-F6F47D65E793}" dt="2020-10-22T13:29:30.252" v="169"/>
          <ac:spMkLst>
            <pc:docMk/>
            <pc:sldMk cId="1637382014" sldId="421"/>
            <ac:spMk id="17" creationId="{09981615-B5A3-4109-A421-FA8C69DB9C54}"/>
          </ac:spMkLst>
        </pc:spChg>
        <pc:spChg chg="del">
          <ac:chgData name="López Peñafiel Cristian (Codelco-Casa Matriz)" userId="S::clope043@codelco.cl::381c3bc6-4449-46be-b8ff-f88ef887b85f" providerId="AD" clId="Web-{82E3C620-CD42-D9A5-46B0-F6F47D65E793}" dt="2020-10-22T13:24:16.482" v="72"/>
          <ac:spMkLst>
            <pc:docMk/>
            <pc:sldMk cId="1637382014" sldId="421"/>
            <ac:spMk id="18" creationId="{DE7DBE15-0322-4977-A27C-7E5AE99D253E}"/>
          </ac:spMkLst>
        </pc:spChg>
        <pc:spChg chg="del">
          <ac:chgData name="López Peñafiel Cristian (Codelco-Casa Matriz)" userId="S::clope043@codelco.cl::381c3bc6-4449-46be-b8ff-f88ef887b85f" providerId="AD" clId="Web-{82E3C620-CD42-D9A5-46B0-F6F47D65E793}" dt="2020-10-22T13:24:28.577" v="103"/>
          <ac:spMkLst>
            <pc:docMk/>
            <pc:sldMk cId="1637382014" sldId="421"/>
            <ac:spMk id="20" creationId="{330C3968-F004-4DEE-969B-E781D315BF63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96"/>
          <ac:spMkLst>
            <pc:docMk/>
            <pc:sldMk cId="1637382014" sldId="421"/>
            <ac:spMk id="24" creationId="{00000000-0000-0000-0000-000000000000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95"/>
          <ac:spMkLst>
            <pc:docMk/>
            <pc:sldMk cId="1637382014" sldId="421"/>
            <ac:spMk id="25" creationId="{00000000-0000-0000-0000-000000000000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28.577" v="102"/>
          <ac:spMkLst>
            <pc:docMk/>
            <pc:sldMk cId="1637382014" sldId="421"/>
            <ac:spMk id="26" creationId="{FD166126-2EC9-4A92-B4F0-8B0CCC1DD17C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27.530" v="101"/>
          <ac:spMkLst>
            <pc:docMk/>
            <pc:sldMk cId="1637382014" sldId="421"/>
            <ac:spMk id="50" creationId="{8D3192DD-C96E-449F-A17E-4D0E39689618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94"/>
          <ac:spMkLst>
            <pc:docMk/>
            <pc:sldMk cId="1637382014" sldId="421"/>
            <ac:spMk id="60" creationId="{75C502F6-E8BF-4B05-BFBB-E0C738455B88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93"/>
          <ac:spMkLst>
            <pc:docMk/>
            <pc:sldMk cId="1637382014" sldId="421"/>
            <ac:spMk id="61" creationId="{ED07F132-92DA-4328-A4E2-F40C2001EE73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7"/>
          <ac:spMkLst>
            <pc:docMk/>
            <pc:sldMk cId="1637382014" sldId="421"/>
            <ac:spMk id="68" creationId="{A702E604-D885-4110-AB26-F8FAB5649B2F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6"/>
          <ac:spMkLst>
            <pc:docMk/>
            <pc:sldMk cId="1637382014" sldId="421"/>
            <ac:spMk id="69" creationId="{402D9FCC-7B7C-4802-A60E-5D6ADAF20FE4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5"/>
          <ac:spMkLst>
            <pc:docMk/>
            <pc:sldMk cId="1637382014" sldId="421"/>
            <ac:spMk id="70" creationId="{258A62FE-C002-429E-9752-54B166AF73D1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4"/>
          <ac:spMkLst>
            <pc:docMk/>
            <pc:sldMk cId="1637382014" sldId="421"/>
            <ac:spMk id="71" creationId="{0483692C-A536-4AC9-89BF-ECA55FF5F922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3"/>
          <ac:spMkLst>
            <pc:docMk/>
            <pc:sldMk cId="1637382014" sldId="421"/>
            <ac:spMk id="72" creationId="{AB7A9858-FC03-40E7-9C0E-F5DDF1B01FF2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2"/>
          <ac:spMkLst>
            <pc:docMk/>
            <pc:sldMk cId="1637382014" sldId="421"/>
            <ac:spMk id="73" creationId="{3E7AE171-BAC6-44A4-8465-0021679597E5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98" v="81"/>
          <ac:spMkLst>
            <pc:docMk/>
            <pc:sldMk cId="1637382014" sldId="421"/>
            <ac:spMk id="74" creationId="{5883AD87-7D73-42B1-BEDA-3DB9B0262B79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82" v="80"/>
          <ac:spMkLst>
            <pc:docMk/>
            <pc:sldMk cId="1637382014" sldId="421"/>
            <ac:spMk id="75" creationId="{73A623F2-8517-46B4-A696-AB1E731537E7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82" v="79"/>
          <ac:spMkLst>
            <pc:docMk/>
            <pc:sldMk cId="1637382014" sldId="421"/>
            <ac:spMk id="76" creationId="{5B5D30F9-3A75-4B9F-94AC-5D2155247084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82" v="78"/>
          <ac:spMkLst>
            <pc:docMk/>
            <pc:sldMk cId="1637382014" sldId="421"/>
            <ac:spMk id="78" creationId="{D654DF3B-FCC0-462B-AC37-7A96576695CA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82" v="77"/>
          <ac:spMkLst>
            <pc:docMk/>
            <pc:sldMk cId="1637382014" sldId="421"/>
            <ac:spMk id="79" creationId="{3BFBAECB-B9C1-4E4D-9D16-C0BE7EE6A996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82" v="75"/>
          <ac:spMkLst>
            <pc:docMk/>
            <pc:sldMk cId="1637382014" sldId="421"/>
            <ac:spMk id="84" creationId="{6A749DB9-3226-4501-8A5E-CD05B058DC08}"/>
          </ac:spMkLst>
        </pc:spChg>
        <pc:spChg chg="add del">
          <ac:chgData name="López Peñafiel Cristian (Codelco-Casa Matriz)" userId="S::clope043@codelco.cl::381c3bc6-4449-46be-b8ff-f88ef887b85f" providerId="AD" clId="Web-{82E3C620-CD42-D9A5-46B0-F6F47D65E793}" dt="2020-10-22T13:24:16.482" v="74"/>
          <ac:spMkLst>
            <pc:docMk/>
            <pc:sldMk cId="1637382014" sldId="421"/>
            <ac:spMk id="85" creationId="{4BA3A0EA-4A1C-4F7D-B7D7-95AE544BE432}"/>
          </ac:spMkLst>
        </pc:spChg>
        <pc:grpChg chg="add del">
          <ac:chgData name="López Peñafiel Cristian (Codelco-Casa Matriz)" userId="S::clope043@codelco.cl::381c3bc6-4449-46be-b8ff-f88ef887b85f" providerId="AD" clId="Web-{82E3C620-CD42-D9A5-46B0-F6F47D65E793}" dt="2020-10-22T13:24:16.482" v="76"/>
          <ac:grpSpMkLst>
            <pc:docMk/>
            <pc:sldMk cId="1637382014" sldId="421"/>
            <ac:grpSpMk id="80" creationId="{4097C785-2AF5-4E9E-941B-3D0406BA0D2E}"/>
          </ac:grpSpMkLst>
        </pc:grpChg>
        <pc:grpChg chg="add del">
          <ac:chgData name="López Peñafiel Cristian (Codelco-Casa Matriz)" userId="S::clope043@codelco.cl::381c3bc6-4449-46be-b8ff-f88ef887b85f" providerId="AD" clId="Web-{82E3C620-CD42-D9A5-46B0-F6F47D65E793}" dt="2020-10-22T13:24:16.482" v="73"/>
          <ac:grpSpMkLst>
            <pc:docMk/>
            <pc:sldMk cId="1637382014" sldId="421"/>
            <ac:grpSpMk id="86" creationId="{38FAFE99-FCD4-4DD6-ACA8-046B97095593}"/>
          </ac:grpSpMkLst>
        </pc:grpChg>
        <pc:picChg chg="add del">
          <ac:chgData name="López Peñafiel Cristian (Codelco-Casa Matriz)" userId="S::clope043@codelco.cl::381c3bc6-4449-46be-b8ff-f88ef887b85f" providerId="AD" clId="Web-{82E3C620-CD42-D9A5-46B0-F6F47D65E793}" dt="2020-10-22T13:24:16.498" v="99"/>
          <ac:picMkLst>
            <pc:docMk/>
            <pc:sldMk cId="1637382014" sldId="421"/>
            <ac:picMk id="2" creationId="{00000000-0000-0000-0000-000000000000}"/>
          </ac:picMkLst>
        </pc:picChg>
        <pc:picChg chg="add del mod">
          <ac:chgData name="López Peñafiel Cristian (Codelco-Casa Matriz)" userId="S::clope043@codelco.cl::381c3bc6-4449-46be-b8ff-f88ef887b85f" providerId="AD" clId="Web-{82E3C620-CD42-D9A5-46B0-F6F47D65E793}" dt="2020-10-22T13:23:51.121" v="3"/>
          <ac:picMkLst>
            <pc:docMk/>
            <pc:sldMk cId="1637382014" sldId="421"/>
            <ac:picMk id="3" creationId="{20C577D4-C6DE-4E9D-9687-7FF6E0A5E9EA}"/>
          </ac:picMkLst>
        </pc:picChg>
        <pc:picChg chg="add del mod">
          <ac:chgData name="López Peñafiel Cristian (Codelco-Casa Matriz)" userId="S::clope043@codelco.cl::381c3bc6-4449-46be-b8ff-f88ef887b85f" providerId="AD" clId="Web-{82E3C620-CD42-D9A5-46B0-F6F47D65E793}" dt="2020-10-22T13:24:40.312" v="112"/>
          <ac:picMkLst>
            <pc:docMk/>
            <pc:sldMk cId="1637382014" sldId="421"/>
            <ac:picMk id="4" creationId="{C3D852EA-279D-4CD5-8E72-8E39AEAC6CA5}"/>
          </ac:picMkLst>
        </pc:picChg>
        <pc:picChg chg="add mod">
          <ac:chgData name="López Peñafiel Cristian (Codelco-Casa Matriz)" userId="S::clope043@codelco.cl::381c3bc6-4449-46be-b8ff-f88ef887b85f" providerId="AD" clId="Web-{82E3C620-CD42-D9A5-46B0-F6F47D65E793}" dt="2020-10-22T13:25:03.282" v="117" actId="14100"/>
          <ac:picMkLst>
            <pc:docMk/>
            <pc:sldMk cId="1637382014" sldId="421"/>
            <ac:picMk id="9" creationId="{BD38A168-269C-4EAF-A020-61C835C54EEA}"/>
          </ac:picMkLst>
        </pc:picChg>
        <pc:picChg chg="add del mod">
          <ac:chgData name="López Peñafiel Cristian (Codelco-Casa Matriz)" userId="S::clope043@codelco.cl::381c3bc6-4449-46be-b8ff-f88ef887b85f" providerId="AD" clId="Web-{82E3C620-CD42-D9A5-46B0-F6F47D65E793}" dt="2020-10-22T13:25:10.861" v="119"/>
          <ac:picMkLst>
            <pc:docMk/>
            <pc:sldMk cId="1637382014" sldId="421"/>
            <ac:picMk id="10" creationId="{2740C9D0-CCE5-4B74-BC57-7CDACA86DAB1}"/>
          </ac:picMkLst>
        </pc:picChg>
        <pc:picChg chg="add del">
          <ac:chgData name="López Peñafiel Cristian (Codelco-Casa Matriz)" userId="S::clope043@codelco.cl::381c3bc6-4449-46be-b8ff-f88ef887b85f" providerId="AD" clId="Web-{82E3C620-CD42-D9A5-46B0-F6F47D65E793}" dt="2020-10-22T13:24:28.577" v="104"/>
          <ac:picMkLst>
            <pc:docMk/>
            <pc:sldMk cId="1637382014" sldId="421"/>
            <ac:picMk id="91" creationId="{00000000-0000-0000-0000-000000000000}"/>
          </ac:picMkLst>
        </pc:picChg>
        <pc:cxnChg chg="add del">
          <ac:chgData name="López Peñafiel Cristian (Codelco-Casa Matriz)" userId="S::clope043@codelco.cl::381c3bc6-4449-46be-b8ff-f88ef887b85f" providerId="AD" clId="Web-{82E3C620-CD42-D9A5-46B0-F6F47D65E793}" dt="2020-10-22T13:24:16.498" v="98"/>
          <ac:cxnSpMkLst>
            <pc:docMk/>
            <pc:sldMk cId="1637382014" sldId="421"/>
            <ac:cxnSpMk id="14" creationId="{00000000-0000-0000-0000-000000000000}"/>
          </ac:cxnSpMkLst>
        </pc:cxnChg>
        <pc:cxnChg chg="del">
          <ac:chgData name="López Peñafiel Cristian (Codelco-Casa Matriz)" userId="S::clope043@codelco.cl::381c3bc6-4449-46be-b8ff-f88ef887b85f" providerId="AD" clId="Web-{82E3C620-CD42-D9A5-46B0-F6F47D65E793}" dt="2020-10-22T13:24:29.561" v="105"/>
          <ac:cxnSpMkLst>
            <pc:docMk/>
            <pc:sldMk cId="1637382014" sldId="421"/>
            <ac:cxnSpMk id="21" creationId="{096F3EFA-8EE1-4E63-A9AE-8E9DA89F219A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98" v="97"/>
          <ac:cxnSpMkLst>
            <pc:docMk/>
            <pc:sldMk cId="1637382014" sldId="421"/>
            <ac:cxnSpMk id="23" creationId="{00000000-0000-0000-0000-000000000000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98" v="92"/>
          <ac:cxnSpMkLst>
            <pc:docMk/>
            <pc:sldMk cId="1637382014" sldId="421"/>
            <ac:cxnSpMk id="62" creationId="{2BF275CA-10B0-4E8A-B399-BDCD614A2DD4}"/>
          </ac:cxnSpMkLst>
        </pc:cxnChg>
        <pc:cxnChg chg="add del mod">
          <ac:chgData name="López Peñafiel Cristian (Codelco-Casa Matriz)" userId="S::clope043@codelco.cl::381c3bc6-4449-46be-b8ff-f88ef887b85f" providerId="AD" clId="Web-{82E3C620-CD42-D9A5-46B0-F6F47D65E793}" dt="2020-10-22T13:24:16.498" v="91"/>
          <ac:cxnSpMkLst>
            <pc:docMk/>
            <pc:sldMk cId="1637382014" sldId="421"/>
            <ac:cxnSpMk id="63" creationId="{F9FB8342-514E-4947-86C2-B38CFAC1C971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98" v="90"/>
          <ac:cxnSpMkLst>
            <pc:docMk/>
            <pc:sldMk cId="1637382014" sldId="421"/>
            <ac:cxnSpMk id="64" creationId="{04CC221A-CD2E-4252-96DC-824E3ACC332A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98" v="89"/>
          <ac:cxnSpMkLst>
            <pc:docMk/>
            <pc:sldMk cId="1637382014" sldId="421"/>
            <ac:cxnSpMk id="66" creationId="{38B96FB8-FB6F-4908-8AB9-D1D9888540CC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98" v="88"/>
          <ac:cxnSpMkLst>
            <pc:docMk/>
            <pc:sldMk cId="1637382014" sldId="421"/>
            <ac:cxnSpMk id="67" creationId="{F214DE1D-2E22-4BC0-8A15-67FB74AAC08F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82" v="71"/>
          <ac:cxnSpMkLst>
            <pc:docMk/>
            <pc:sldMk cId="1637382014" sldId="421"/>
            <ac:cxnSpMk id="92" creationId="{20D405EF-F50D-442E-8CBD-AB6EA0E451B0}"/>
          </ac:cxnSpMkLst>
        </pc:cxnChg>
        <pc:cxnChg chg="add del">
          <ac:chgData name="López Peñafiel Cristian (Codelco-Casa Matriz)" userId="S::clope043@codelco.cl::381c3bc6-4449-46be-b8ff-f88ef887b85f" providerId="AD" clId="Web-{82E3C620-CD42-D9A5-46B0-F6F47D65E793}" dt="2020-10-22T13:24:16.482" v="70"/>
          <ac:cxnSpMkLst>
            <pc:docMk/>
            <pc:sldMk cId="1637382014" sldId="421"/>
            <ac:cxnSpMk id="93" creationId="{75B1F7D2-4E91-47F1-A288-0E4903F64830}"/>
          </ac:cxnSpMkLst>
        </pc:cxnChg>
      </pc:sldChg>
      <pc:sldChg chg="addSp delSp modSp add replId">
        <pc:chgData name="López Peñafiel Cristian (Codelco-Casa Matriz)" userId="S::clope043@codelco.cl::381c3bc6-4449-46be-b8ff-f88ef887b85f" providerId="AD" clId="Web-{82E3C620-CD42-D9A5-46B0-F6F47D65E793}" dt="2020-10-22T13:49:20.531" v="285" actId="20577"/>
        <pc:sldMkLst>
          <pc:docMk/>
          <pc:sldMk cId="2145969823" sldId="422"/>
        </pc:sldMkLst>
        <pc:spChg chg="mod">
          <ac:chgData name="López Peñafiel Cristian (Codelco-Casa Matriz)" userId="S::clope043@codelco.cl::381c3bc6-4449-46be-b8ff-f88ef887b85f" providerId="AD" clId="Web-{82E3C620-CD42-D9A5-46B0-F6F47D65E793}" dt="2020-10-22T13:49:20.531" v="285" actId="20577"/>
          <ac:spMkLst>
            <pc:docMk/>
            <pc:sldMk cId="2145969823" sldId="422"/>
            <ac:spMk id="5" creationId="{77B10082-1E01-4180-8E69-2A4E8DC6DD56}"/>
          </ac:spMkLst>
        </pc:spChg>
        <pc:spChg chg="mod">
          <ac:chgData name="López Peñafiel Cristian (Codelco-Casa Matriz)" userId="S::clope043@codelco.cl::381c3bc6-4449-46be-b8ff-f88ef887b85f" providerId="AD" clId="Web-{82E3C620-CD42-D9A5-46B0-F6F47D65E793}" dt="2020-10-22T13:32:10.684" v="201" actId="20577"/>
          <ac:spMkLst>
            <pc:docMk/>
            <pc:sldMk cId="2145969823" sldId="422"/>
            <ac:spMk id="7" creationId="{50281A4C-2537-472A-9FDE-616F7AD24E93}"/>
          </ac:spMkLst>
        </pc:spChg>
        <pc:spChg chg="mod">
          <ac:chgData name="López Peñafiel Cristian (Codelco-Casa Matriz)" userId="S::clope043@codelco.cl::381c3bc6-4449-46be-b8ff-f88ef887b85f" providerId="AD" clId="Web-{82E3C620-CD42-D9A5-46B0-F6F47D65E793}" dt="2020-10-22T13:37:59.706" v="260" actId="14100"/>
          <ac:spMkLst>
            <pc:docMk/>
            <pc:sldMk cId="2145969823" sldId="422"/>
            <ac:spMk id="12" creationId="{438D0C6C-E159-451B-BE3E-2E6645A1C6FD}"/>
          </ac:spMkLst>
        </pc:spChg>
        <pc:spChg chg="del">
          <ac:chgData name="López Peñafiel Cristian (Codelco-Casa Matriz)" userId="S::clope043@codelco.cl::381c3bc6-4449-46be-b8ff-f88ef887b85f" providerId="AD" clId="Web-{82E3C620-CD42-D9A5-46B0-F6F47D65E793}" dt="2020-10-22T13:32:34.092" v="226"/>
          <ac:spMkLst>
            <pc:docMk/>
            <pc:sldMk cId="2145969823" sldId="422"/>
            <ac:spMk id="17" creationId="{09981615-B5A3-4109-A421-FA8C69DB9C54}"/>
          </ac:spMkLst>
        </pc:spChg>
        <pc:picChg chg="add mod">
          <ac:chgData name="López Peñafiel Cristian (Codelco-Casa Matriz)" userId="S::clope043@codelco.cl::381c3bc6-4449-46be-b8ff-f88ef887b85f" providerId="AD" clId="Web-{82E3C620-CD42-D9A5-46B0-F6F47D65E793}" dt="2020-10-22T13:49:03.358" v="282" actId="1076"/>
          <ac:picMkLst>
            <pc:docMk/>
            <pc:sldMk cId="2145969823" sldId="422"/>
            <ac:picMk id="2" creationId="{30587430-FCC9-4E1B-95D4-036CD2E75367}"/>
          </ac:picMkLst>
        </pc:picChg>
        <pc:picChg chg="add mod ord">
          <ac:chgData name="López Peñafiel Cristian (Codelco-Casa Matriz)" userId="S::clope043@codelco.cl::381c3bc6-4449-46be-b8ff-f88ef887b85f" providerId="AD" clId="Web-{82E3C620-CD42-D9A5-46B0-F6F47D65E793}" dt="2020-10-22T13:48:07.620" v="271"/>
          <ac:picMkLst>
            <pc:docMk/>
            <pc:sldMk cId="2145969823" sldId="422"/>
            <ac:picMk id="3" creationId="{329B99D6-3672-4CCC-9650-3EF3836EEB73}"/>
          </ac:picMkLst>
        </pc:picChg>
        <pc:picChg chg="add mod">
          <ac:chgData name="López Peñafiel Cristian (Codelco-Casa Matriz)" userId="S::clope043@codelco.cl::381c3bc6-4449-46be-b8ff-f88ef887b85f" providerId="AD" clId="Web-{82E3C620-CD42-D9A5-46B0-F6F47D65E793}" dt="2020-10-22T13:49:07.670" v="283" actId="1076"/>
          <ac:picMkLst>
            <pc:docMk/>
            <pc:sldMk cId="2145969823" sldId="422"/>
            <ac:picMk id="4" creationId="{5D8E9571-56F0-4C22-899B-38F2B0A4226E}"/>
          </ac:picMkLst>
        </pc:picChg>
        <pc:picChg chg="del">
          <ac:chgData name="López Peñafiel Cristian (Codelco-Casa Matriz)" userId="S::clope043@codelco.cl::381c3bc6-4449-46be-b8ff-f88ef887b85f" providerId="AD" clId="Web-{82E3C620-CD42-D9A5-46B0-F6F47D65E793}" dt="2020-10-22T13:31:24.087" v="172"/>
          <ac:picMkLst>
            <pc:docMk/>
            <pc:sldMk cId="2145969823" sldId="422"/>
            <ac:picMk id="9" creationId="{BD38A168-269C-4EAF-A020-61C835C54EEA}"/>
          </ac:picMkLst>
        </pc:picChg>
      </pc:sldChg>
    </pc:docChg>
  </pc:docChgLst>
  <pc:docChgLst>
    <pc:chgData name="Allende Bustamante Jose (Codelco-Casa Matriz)" userId="S::jalle011@codelco.cl::54345eee-8770-43bf-b080-e3e333067d62" providerId="AD" clId="Web-{E613F164-8826-4791-970A-42963D964CA6}"/>
    <pc:docChg chg="addSld modSld addMainMaster modMainMaster">
      <pc:chgData name="Allende Bustamante Jose (Codelco-Casa Matriz)" userId="S::jalle011@codelco.cl::54345eee-8770-43bf-b080-e3e333067d62" providerId="AD" clId="Web-{E613F164-8826-4791-970A-42963D964CA6}" dt="2021-03-12T13:14:39.296" v="20"/>
      <pc:docMkLst>
        <pc:docMk/>
      </pc:docMkLst>
      <pc:sldChg chg="addSp modSp">
        <pc:chgData name="Allende Bustamante Jose (Codelco-Casa Matriz)" userId="S::jalle011@codelco.cl::54345eee-8770-43bf-b080-e3e333067d62" providerId="AD" clId="Web-{E613F164-8826-4791-970A-42963D964CA6}" dt="2021-03-12T12:35:20.205" v="10" actId="14100"/>
        <pc:sldMkLst>
          <pc:docMk/>
          <pc:sldMk cId="2155997825" sldId="375"/>
        </pc:sldMkLst>
        <pc:spChg chg="mod">
          <ac:chgData name="Allende Bustamante Jose (Codelco-Casa Matriz)" userId="S::jalle011@codelco.cl::54345eee-8770-43bf-b080-e3e333067d62" providerId="AD" clId="Web-{E613F164-8826-4791-970A-42963D964CA6}" dt="2021-03-12T12:35:20.205" v="10" actId="14100"/>
          <ac:spMkLst>
            <pc:docMk/>
            <pc:sldMk cId="2155997825" sldId="375"/>
            <ac:spMk id="22" creationId="{7851A235-ED5E-4137-AD50-6F10AD12B65E}"/>
          </ac:spMkLst>
        </pc:spChg>
        <pc:spChg chg="add mod">
          <ac:chgData name="Allende Bustamante Jose (Codelco-Casa Matriz)" userId="S::jalle011@codelco.cl::54345eee-8770-43bf-b080-e3e333067d62" providerId="AD" clId="Web-{E613F164-8826-4791-970A-42963D964CA6}" dt="2021-03-12T12:35:08.174" v="9" actId="14100"/>
          <ac:spMkLst>
            <pc:docMk/>
            <pc:sldMk cId="2155997825" sldId="375"/>
            <ac:spMk id="26" creationId="{4167117C-D342-4F12-A1FC-1CF287B1BE35}"/>
          </ac:spMkLst>
        </pc:spChg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4.827" v="11"/>
        <pc:sldMkLst>
          <pc:docMk/>
          <pc:sldMk cId="808467728" sldId="442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5.093" v="12"/>
        <pc:sldMkLst>
          <pc:docMk/>
          <pc:sldMk cId="10646255" sldId="443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5.265" v="13"/>
        <pc:sldMkLst>
          <pc:docMk/>
          <pc:sldMk cId="3175749001" sldId="444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5.405" v="14"/>
        <pc:sldMkLst>
          <pc:docMk/>
          <pc:sldMk cId="3493025245" sldId="445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5.530" v="15"/>
        <pc:sldMkLst>
          <pc:docMk/>
          <pc:sldMk cId="1175320256" sldId="446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5.671" v="16"/>
        <pc:sldMkLst>
          <pc:docMk/>
          <pc:sldMk cId="123671883" sldId="447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6.171" v="17"/>
        <pc:sldMkLst>
          <pc:docMk/>
          <pc:sldMk cId="3130690881" sldId="448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6.483" v="18"/>
        <pc:sldMkLst>
          <pc:docMk/>
          <pc:sldMk cId="93137696" sldId="449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6.999" v="19"/>
        <pc:sldMkLst>
          <pc:docMk/>
          <pc:sldMk cId="2592077390" sldId="450"/>
        </pc:sldMkLst>
      </pc:sldChg>
      <pc:sldChg chg="add">
        <pc:chgData name="Allende Bustamante Jose (Codelco-Casa Matriz)" userId="S::jalle011@codelco.cl::54345eee-8770-43bf-b080-e3e333067d62" providerId="AD" clId="Web-{E613F164-8826-4791-970A-42963D964CA6}" dt="2021-03-12T13:14:39.296" v="20"/>
        <pc:sldMkLst>
          <pc:docMk/>
          <pc:sldMk cId="3482241599" sldId="451"/>
        </pc:sldMkLst>
      </pc:sldChg>
      <pc:sldMasterChg chg="addSldLayout">
        <pc:chgData name="Allende Bustamante Jose (Codelco-Casa Matriz)" userId="S::jalle011@codelco.cl::54345eee-8770-43bf-b080-e3e333067d62" providerId="AD" clId="Web-{E613F164-8826-4791-970A-42963D964CA6}" dt="2021-03-12T13:14:35.093" v="12"/>
        <pc:sldMasterMkLst>
          <pc:docMk/>
          <pc:sldMasterMk cId="1483736372" sldId="2147483899"/>
        </pc:sldMasterMkLst>
        <pc:sldLayoutChg chg="add">
          <pc:chgData name="Allende Bustamante Jose (Codelco-Casa Matriz)" userId="S::jalle011@codelco.cl::54345eee-8770-43bf-b080-e3e333067d62" providerId="AD" clId="Web-{E613F164-8826-4791-970A-42963D964CA6}" dt="2021-03-12T13:14:35.093" v="12"/>
          <pc:sldLayoutMkLst>
            <pc:docMk/>
            <pc:sldMasterMk cId="1483736372" sldId="2147483899"/>
            <pc:sldLayoutMk cId="1807483272" sldId="2147484074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5.093" v="12"/>
          <pc:sldLayoutMkLst>
            <pc:docMk/>
            <pc:sldMasterMk cId="1483736372" sldId="2147483899"/>
            <pc:sldLayoutMk cId="831975692" sldId="2147484099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5.093" v="12"/>
          <pc:sldLayoutMkLst>
            <pc:docMk/>
            <pc:sldMasterMk cId="1483736372" sldId="2147483899"/>
            <pc:sldLayoutMk cId="1892425772" sldId="2147484345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E613F164-8826-4791-970A-42963D964CA6}" dt="2021-03-12T13:14:35.093" v="12"/>
        <pc:sldMasterMkLst>
          <pc:docMk/>
          <pc:sldMasterMk cId="2196806775" sldId="2147484063"/>
        </pc:sldMasterMkLst>
        <pc:sldLayoutChg chg="replId">
          <pc:chgData name="Allende Bustamante Jose (Codelco-Casa Matriz)" userId="S::jalle011@codelco.cl::54345eee-8770-43bf-b080-e3e333067d62" providerId="AD" clId="Web-{E613F164-8826-4791-970A-42963D964CA6}" dt="2021-03-12T13:14:35.093" v="12"/>
          <pc:sldLayoutMkLst>
            <pc:docMk/>
            <pc:sldMasterMk cId="2196806775" sldId="2147484063"/>
            <pc:sldLayoutMk cId="304882482" sldId="2147484346"/>
          </pc:sldLayoutMkLst>
        </pc:sldLayoutChg>
      </pc:sldMasterChg>
      <pc:sldMasterChg chg="modSldLayout">
        <pc:chgData name="Allende Bustamante Jose (Codelco-Casa Matriz)" userId="S::jalle011@codelco.cl::54345eee-8770-43bf-b080-e3e333067d62" providerId="AD" clId="Web-{E613F164-8826-4791-970A-42963D964CA6}" dt="2021-03-12T13:14:35.093" v="12"/>
        <pc:sldMasterMkLst>
          <pc:docMk/>
          <pc:sldMasterMk cId="2046735510" sldId="2147484098"/>
        </pc:sldMasterMkLst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146004619" sldId="2147484329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477325558" sldId="2147484330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3126531669" sldId="2147484331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2763777889" sldId="2147484332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1236239155" sldId="2147484333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666408304" sldId="2147484334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3124412978" sldId="2147484335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3288092930" sldId="2147484336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93414773" sldId="2147484337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1616606459" sldId="2147484338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3864623226" sldId="2147484339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1826948536" sldId="2147484340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647290601" sldId="2147484341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2859156068" sldId="2147484342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2105388988" sldId="2147484343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046735510" sldId="2147484098"/>
            <pc:sldLayoutMk cId="4114072257" sldId="2147484344"/>
          </pc:sldLayoutMkLst>
        </pc:sldLayoutChg>
        <pc:sldLayoutChg chg="replId">
          <pc:chgData name="Allende Bustamante Jose (Codelco-Casa Matriz)" userId="S::jalle011@codelco.cl::54345eee-8770-43bf-b080-e3e333067d62" providerId="AD" clId="Web-{E613F164-8826-4791-970A-42963D964CA6}" dt="2021-03-12T13:14:35.093" v="12"/>
          <pc:sldLayoutMkLst>
            <pc:docMk/>
            <pc:sldMasterMk cId="2046735510" sldId="2147484098"/>
            <pc:sldLayoutMk cId="2048182454" sldId="2147484347"/>
          </pc:sldLayoutMkLst>
        </pc:sldLayoutChg>
      </pc:sldMasterChg>
      <pc:sldMasterChg chg="add addSldLayout">
        <pc:chgData name="Allende Bustamante Jose (Codelco-Casa Matriz)" userId="S::jalle011@codelco.cl::54345eee-8770-43bf-b080-e3e333067d62" providerId="AD" clId="Web-{E613F164-8826-4791-970A-42963D964CA6}" dt="2021-03-12T13:14:34.827" v="11"/>
        <pc:sldMasterMkLst>
          <pc:docMk/>
          <pc:sldMasterMk cId="2150943367" sldId="2147484100"/>
        </pc:sldMasterMkLst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384705569" sldId="2147484101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2490709288" sldId="2147484102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1123847243" sldId="2147484103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559790120" sldId="2147484104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2218040044" sldId="2147484105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3285470910" sldId="2147484106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1860957557" sldId="2147484107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2861338485" sldId="2147484108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779352484" sldId="2147484109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1448979233" sldId="2147484110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3993698217" sldId="2147484111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4130841387" sldId="2147484112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1784814370" sldId="2147484113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2315961166" sldId="2147484114"/>
          </pc:sldLayoutMkLst>
        </pc:sldLayoutChg>
        <pc:sldLayoutChg chg="add">
          <pc:chgData name="Allende Bustamante Jose (Codelco-Casa Matriz)" userId="S::jalle011@codelco.cl::54345eee-8770-43bf-b080-e3e333067d62" providerId="AD" clId="Web-{E613F164-8826-4791-970A-42963D964CA6}" dt="2021-03-12T13:14:34.827" v="11"/>
          <pc:sldLayoutMkLst>
            <pc:docMk/>
            <pc:sldMasterMk cId="2150943367" sldId="2147484100"/>
            <pc:sldLayoutMk cId="3402530620" sldId="2147484115"/>
          </pc:sldLayoutMkLst>
        </pc:sldLayoutChg>
      </pc:sldMasterChg>
    </pc:docChg>
  </pc:docChgLst>
  <pc:docChgLst>
    <pc:chgData name="Gajardo Cea Gabriel (Codelco-Casa Matriz)" userId="S::ggaja006@codelco.cl::cdb81582-b838-47f4-b41f-41b35fd8e649" providerId="AD" clId="Web-{9323E319-A110-BBBF-9AE9-E3027F5485CC}"/>
    <pc:docChg chg="modSld">
      <pc:chgData name="Gajardo Cea Gabriel (Codelco-Casa Matriz)" userId="S::ggaja006@codelco.cl::cdb81582-b838-47f4-b41f-41b35fd8e649" providerId="AD" clId="Web-{9323E319-A110-BBBF-9AE9-E3027F5485CC}" dt="2022-04-13T15:18:01.188" v="3"/>
      <pc:docMkLst>
        <pc:docMk/>
      </pc:docMkLst>
      <pc:sldChg chg="addSp delSp modSp">
        <pc:chgData name="Gajardo Cea Gabriel (Codelco-Casa Matriz)" userId="S::ggaja006@codelco.cl::cdb81582-b838-47f4-b41f-41b35fd8e649" providerId="AD" clId="Web-{9323E319-A110-BBBF-9AE9-E3027F5485CC}" dt="2022-04-13T15:18:01.188" v="3"/>
        <pc:sldMkLst>
          <pc:docMk/>
          <pc:sldMk cId="3421697019" sldId="657"/>
        </pc:sldMkLst>
        <pc:picChg chg="add del mod">
          <ac:chgData name="Gajardo Cea Gabriel (Codelco-Casa Matriz)" userId="S::ggaja006@codelco.cl::cdb81582-b838-47f4-b41f-41b35fd8e649" providerId="AD" clId="Web-{9323E319-A110-BBBF-9AE9-E3027F5485CC}" dt="2022-04-13T15:18:01.188" v="3"/>
          <ac:picMkLst>
            <pc:docMk/>
            <pc:sldMk cId="3421697019" sldId="657"/>
            <ac:picMk id="6" creationId="{CF268432-E2AD-5573-AC69-E1E13981F2E9}"/>
          </ac:picMkLst>
        </pc:picChg>
        <pc:picChg chg="del">
          <ac:chgData name="Gajardo Cea Gabriel (Codelco-Casa Matriz)" userId="S::ggaja006@codelco.cl::cdb81582-b838-47f4-b41f-41b35fd8e649" providerId="AD" clId="Web-{9323E319-A110-BBBF-9AE9-E3027F5485CC}" dt="2022-04-13T15:07:36.646" v="0"/>
          <ac:picMkLst>
            <pc:docMk/>
            <pc:sldMk cId="3421697019" sldId="657"/>
            <ac:picMk id="7" creationId="{F86EDA34-1EC4-9498-EACB-739E67041058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A149D239-C737-1707-BCC0-EBCC0FEB071C}"/>
    <pc:docChg chg="addSld delSld modSld">
      <pc:chgData name="Mery Carrasco Mauricio (Codelco-Casa Matriz)" userId="S::mmery004@codelco.cl::a0378191-74de-4d59-9b37-aa421303daba" providerId="AD" clId="Web-{A149D239-C737-1707-BCC0-EBCC0FEB071C}" dt="2021-01-13T19:46:00.682" v="417" actId="20577"/>
      <pc:docMkLst>
        <pc:docMk/>
      </pc:docMkLst>
      <pc:sldChg chg="modSp">
        <pc:chgData name="Mery Carrasco Mauricio (Codelco-Casa Matriz)" userId="S::mmery004@codelco.cl::a0378191-74de-4d59-9b37-aa421303daba" providerId="AD" clId="Web-{A149D239-C737-1707-BCC0-EBCC0FEB071C}" dt="2021-01-13T19:46:00.682" v="417" actId="20577"/>
        <pc:sldMkLst>
          <pc:docMk/>
          <pc:sldMk cId="474715341" sldId="344"/>
        </pc:sldMkLst>
        <pc:spChg chg="mod">
          <ac:chgData name="Mery Carrasco Mauricio (Codelco-Casa Matriz)" userId="S::mmery004@codelco.cl::a0378191-74de-4d59-9b37-aa421303daba" providerId="AD" clId="Web-{A149D239-C737-1707-BCC0-EBCC0FEB071C}" dt="2021-01-13T19:46:00.682" v="417" actId="20577"/>
          <ac:spMkLst>
            <pc:docMk/>
            <pc:sldMk cId="474715341" sldId="344"/>
            <ac:spMk id="15" creationId="{CD0B7DD4-E12F-497F-96B0-2183E0CFDADD}"/>
          </ac:spMkLst>
        </pc:spChg>
      </pc:sldChg>
      <pc:sldChg chg="modSp">
        <pc:chgData name="Mery Carrasco Mauricio (Codelco-Casa Matriz)" userId="S::mmery004@codelco.cl::a0378191-74de-4d59-9b37-aa421303daba" providerId="AD" clId="Web-{A149D239-C737-1707-BCC0-EBCC0FEB071C}" dt="2021-01-12T17:37:18.850" v="248" actId="1076"/>
        <pc:sldMkLst>
          <pc:docMk/>
          <pc:sldMk cId="772336465" sldId="346"/>
        </pc:sldMkLst>
        <pc:spChg chg="mod">
          <ac:chgData name="Mery Carrasco Mauricio (Codelco-Casa Matriz)" userId="S::mmery004@codelco.cl::a0378191-74de-4d59-9b37-aa421303daba" providerId="AD" clId="Web-{A149D239-C737-1707-BCC0-EBCC0FEB071C}" dt="2021-01-12T17:36:57.442" v="242" actId="20577"/>
          <ac:spMkLst>
            <pc:docMk/>
            <pc:sldMk cId="772336465" sldId="346"/>
            <ac:spMk id="9" creationId="{792A0799-6567-4F07-9AC3-5B36D58CDF80}"/>
          </ac:spMkLst>
        </pc:spChg>
        <pc:picChg chg="mod modCrop">
          <ac:chgData name="Mery Carrasco Mauricio (Codelco-Casa Matriz)" userId="S::mmery004@codelco.cl::a0378191-74de-4d59-9b37-aa421303daba" providerId="AD" clId="Web-{A149D239-C737-1707-BCC0-EBCC0FEB071C}" dt="2021-01-12T17:37:18.850" v="248" actId="1076"/>
          <ac:picMkLst>
            <pc:docMk/>
            <pc:sldMk cId="772336465" sldId="346"/>
            <ac:picMk id="2" creationId="{E7DDD9D2-C80A-46E2-8279-276FA9DB258D}"/>
          </ac:picMkLst>
        </pc:picChg>
      </pc:sldChg>
      <pc:sldChg chg="modSp">
        <pc:chgData name="Mery Carrasco Mauricio (Codelco-Casa Matriz)" userId="S::mmery004@codelco.cl::a0378191-74de-4d59-9b37-aa421303daba" providerId="AD" clId="Web-{A149D239-C737-1707-BCC0-EBCC0FEB071C}" dt="2021-01-13T19:40:22.658" v="392" actId="20577"/>
        <pc:sldMkLst>
          <pc:docMk/>
          <pc:sldMk cId="1259302253" sldId="353"/>
        </pc:sldMkLst>
        <pc:spChg chg="mod">
          <ac:chgData name="Mery Carrasco Mauricio (Codelco-Casa Matriz)" userId="S::mmery004@codelco.cl::a0378191-74de-4d59-9b37-aa421303daba" providerId="AD" clId="Web-{A149D239-C737-1707-BCC0-EBCC0FEB071C}" dt="2021-01-13T19:40:22.658" v="392" actId="20577"/>
          <ac:spMkLst>
            <pc:docMk/>
            <pc:sldMk cId="1259302253" sldId="353"/>
            <ac:spMk id="11" creationId="{DB92C4CF-7AC4-4BFA-9A29-156AEC1C5231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3T19:39:45.672" v="379" actId="20577"/>
          <ac:spMkLst>
            <pc:docMk/>
            <pc:sldMk cId="1259302253" sldId="353"/>
            <ac:spMk id="13" creationId="{6A7E20CE-D52C-4255-8F9F-3460CF2D0FBF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3T19:40:06.220" v="387" actId="20577"/>
          <ac:spMkLst>
            <pc:docMk/>
            <pc:sldMk cId="1259302253" sldId="353"/>
            <ac:spMk id="15" creationId="{830CACA2-E61A-4701-8D9E-DC5CCD390D77}"/>
          </ac:spMkLst>
        </pc:spChg>
      </pc:sldChg>
      <pc:sldChg chg="del">
        <pc:chgData name="Mery Carrasco Mauricio (Codelco-Casa Matriz)" userId="S::mmery004@codelco.cl::a0378191-74de-4d59-9b37-aa421303daba" providerId="AD" clId="Web-{A149D239-C737-1707-BCC0-EBCC0FEB071C}" dt="2021-01-13T19:40:53.862" v="405"/>
        <pc:sldMkLst>
          <pc:docMk/>
          <pc:sldMk cId="2939111890" sldId="354"/>
        </pc:sldMkLst>
      </pc:sldChg>
      <pc:sldChg chg="addSp modSp">
        <pc:chgData name="Mery Carrasco Mauricio (Codelco-Casa Matriz)" userId="S::mmery004@codelco.cl::a0378191-74de-4d59-9b37-aa421303daba" providerId="AD" clId="Web-{A149D239-C737-1707-BCC0-EBCC0FEB071C}" dt="2021-01-12T11:55:21.586" v="179" actId="1076"/>
        <pc:sldMkLst>
          <pc:docMk/>
          <pc:sldMk cId="2155997825" sldId="375"/>
        </pc:sldMkLst>
        <pc:spChg chg="add mod">
          <ac:chgData name="Mery Carrasco Mauricio (Codelco-Casa Matriz)" userId="S::mmery004@codelco.cl::a0378191-74de-4d59-9b37-aa421303daba" providerId="AD" clId="Web-{A149D239-C737-1707-BCC0-EBCC0FEB071C}" dt="2021-01-12T11:42:21.343" v="49" actId="1076"/>
          <ac:spMkLst>
            <pc:docMk/>
            <pc:sldMk cId="2155997825" sldId="375"/>
            <ac:spMk id="6" creationId="{C3740A31-8993-4EA8-B556-34F27DDB7426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1:41:45.967" v="38" actId="20577"/>
          <ac:spMkLst>
            <pc:docMk/>
            <pc:sldMk cId="2155997825" sldId="375"/>
            <ac:spMk id="17" creationId="{92D7D665-E910-49F2-B784-B5B031CE0DE9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1:47:14.118" v="106" actId="20577"/>
          <ac:spMkLst>
            <pc:docMk/>
            <pc:sldMk cId="2155997825" sldId="375"/>
            <ac:spMk id="24" creationId="{3AEE07E5-D518-4FC9-8E20-C4CFB2B91087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1:51:38.488" v="111" actId="20577"/>
          <ac:spMkLst>
            <pc:docMk/>
            <pc:sldMk cId="2155997825" sldId="375"/>
            <ac:spMk id="26" creationId="{F8467257-695B-40ED-A06B-C2A2DB0B6903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3:20.349" v="156" actId="1076"/>
          <ac:spMkLst>
            <pc:docMk/>
            <pc:sldMk cId="2155997825" sldId="375"/>
            <ac:spMk id="28" creationId="{EA1B48FA-81D9-451A-A2A7-A5DC0A961A32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3:16.459" v="155" actId="1076"/>
          <ac:spMkLst>
            <pc:docMk/>
            <pc:sldMk cId="2155997825" sldId="375"/>
            <ac:spMk id="29" creationId="{64B4F4F5-0941-4428-AF9F-0C4D0CC3A757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4:00.866" v="162" actId="20577"/>
          <ac:spMkLst>
            <pc:docMk/>
            <pc:sldMk cId="2155997825" sldId="375"/>
            <ac:spMk id="30" creationId="{6FDD8A24-A734-4C24-AB77-9977937B79E1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4:14.413" v="166" actId="20577"/>
          <ac:spMkLst>
            <pc:docMk/>
            <pc:sldMk cId="2155997825" sldId="375"/>
            <ac:spMk id="31" creationId="{80CCD120-4B30-4ED2-B7FD-C9C73223DEE3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4:31.945" v="169" actId="20577"/>
          <ac:spMkLst>
            <pc:docMk/>
            <pc:sldMk cId="2155997825" sldId="375"/>
            <ac:spMk id="34" creationId="{BB7AC719-62D7-4B98-A097-956CCAD9B5FC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4:51.804" v="172" actId="20577"/>
          <ac:spMkLst>
            <pc:docMk/>
            <pc:sldMk cId="2155997825" sldId="375"/>
            <ac:spMk id="35" creationId="{1D0E8BC0-79E6-468E-9DE1-039C6CC2E427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5:02.227" v="175" actId="20577"/>
          <ac:spMkLst>
            <pc:docMk/>
            <pc:sldMk cId="2155997825" sldId="375"/>
            <ac:spMk id="36" creationId="{E0A313AC-BB6F-462D-88F7-2FB4223B5C6D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1:45:47.756" v="93" actId="20577"/>
          <ac:spMkLst>
            <pc:docMk/>
            <pc:sldMk cId="2155997825" sldId="375"/>
            <ac:spMk id="37" creationId="{6DE85956-0A08-4CC0-853E-4785B3580718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5:09.758" v="177" actId="1076"/>
          <ac:spMkLst>
            <pc:docMk/>
            <pc:sldMk cId="2155997825" sldId="375"/>
            <ac:spMk id="39" creationId="{5DE05484-2D69-41D7-ACE4-1861CB481B7A}"/>
          </ac:spMkLst>
        </pc:spChg>
        <pc:spChg chg="add mod">
          <ac:chgData name="Mery Carrasco Mauricio (Codelco-Casa Matriz)" userId="S::mmery004@codelco.cl::a0378191-74de-4d59-9b37-aa421303daba" providerId="AD" clId="Web-{A149D239-C737-1707-BCC0-EBCC0FEB071C}" dt="2021-01-12T11:55:21.586" v="179" actId="1076"/>
          <ac:spMkLst>
            <pc:docMk/>
            <pc:sldMk cId="2155997825" sldId="375"/>
            <ac:spMk id="40" creationId="{70958B86-E228-4B74-8CF8-00C5585A0FB1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1:47:01.742" v="97" actId="20577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1:44:07.079" v="88" actId="20577"/>
          <ac:spMkLst>
            <pc:docMk/>
            <pc:sldMk cId="2155997825" sldId="375"/>
            <ac:spMk id="47" creationId="{8AFED1E8-722F-4F9D-8B1C-DD0D8C1C324E}"/>
          </ac:spMkLst>
        </pc:spChg>
      </pc:sldChg>
      <pc:sldChg chg="del">
        <pc:chgData name="Mery Carrasco Mauricio (Codelco-Casa Matriz)" userId="S::mmery004@codelco.cl::a0378191-74de-4d59-9b37-aa421303daba" providerId="AD" clId="Web-{A149D239-C737-1707-BCC0-EBCC0FEB071C}" dt="2021-01-13T19:45:37.635" v="409"/>
        <pc:sldMkLst>
          <pc:docMk/>
          <pc:sldMk cId="3112561217" sldId="400"/>
        </pc:sldMkLst>
      </pc:sldChg>
      <pc:sldChg chg="modSp">
        <pc:chgData name="Mery Carrasco Mauricio (Codelco-Casa Matriz)" userId="S::mmery004@codelco.cl::a0378191-74de-4d59-9b37-aa421303daba" providerId="AD" clId="Web-{A149D239-C737-1707-BCC0-EBCC0FEB071C}" dt="2021-01-12T17:43:05.777" v="374" actId="1076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A149D239-C737-1707-BCC0-EBCC0FEB071C}" dt="2021-01-12T17:39:45.374" v="280" actId="20577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8:29.417" v="254" actId="20577"/>
          <ac:spMkLst>
            <pc:docMk/>
            <pc:sldMk cId="1544981574" sldId="409"/>
            <ac:spMk id="21" creationId="{839346A3-1820-4C50-8F02-466E51D4A44E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9:39.686" v="273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8:23.448" v="253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9:00.231" v="262" actId="20577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8:14.478" v="249" actId="20577"/>
          <ac:spMkLst>
            <pc:docMk/>
            <pc:sldMk cId="1544981574" sldId="409"/>
            <ac:spMk id="31" creationId="{0F0C68C8-7E5C-4702-92C2-12695702903C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9:05.028" v="270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8:19.729" v="252" actId="20577"/>
          <ac:spMkLst>
            <pc:docMk/>
            <pc:sldMk cId="1544981574" sldId="409"/>
            <ac:spMk id="41" creationId="{79B6483E-7060-4A55-A8F4-C7DD2AF3826E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39:58.844" v="291" actId="20577"/>
          <ac:spMkLst>
            <pc:docMk/>
            <pc:sldMk cId="1544981574" sldId="409"/>
            <ac:spMk id="45" creationId="{6B6D7AF3-CD2C-4C43-9BC8-76C21B1521B2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41:28.208" v="329" actId="20577"/>
          <ac:spMkLst>
            <pc:docMk/>
            <pc:sldMk cId="1544981574" sldId="409"/>
            <ac:spMk id="48" creationId="{DC72A8FA-3B7A-403B-88B7-54617FF605B5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42:35.087" v="358" actId="1076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2T17:43:05.777" v="374" actId="1076"/>
          <ac:spMkLst>
            <pc:docMk/>
            <pc:sldMk cId="1544981574" sldId="409"/>
            <ac:spMk id="52" creationId="{B595D2F3-9C47-4FEE-9CCC-EBCC6DF263EC}"/>
          </ac:spMkLst>
        </pc:spChg>
      </pc:sldChg>
      <pc:sldChg chg="del">
        <pc:chgData name="Mery Carrasco Mauricio (Codelco-Casa Matriz)" userId="S::mmery004@codelco.cl::a0378191-74de-4d59-9b37-aa421303daba" providerId="AD" clId="Web-{A149D239-C737-1707-BCC0-EBCC0FEB071C}" dt="2021-01-13T19:45:37.744" v="410"/>
        <pc:sldMkLst>
          <pc:docMk/>
          <pc:sldMk cId="131058556" sldId="410"/>
        </pc:sldMkLst>
      </pc:sldChg>
      <pc:sldChg chg="modSp">
        <pc:chgData name="Mery Carrasco Mauricio (Codelco-Casa Matriz)" userId="S::mmery004@codelco.cl::a0378191-74de-4d59-9b37-aa421303daba" providerId="AD" clId="Web-{A149D239-C737-1707-BCC0-EBCC0FEB071C}" dt="2021-01-13T19:40:43.502" v="403" actId="20577"/>
        <pc:sldMkLst>
          <pc:docMk/>
          <pc:sldMk cId="1943212446" sldId="416"/>
        </pc:sldMkLst>
        <pc:spChg chg="mod">
          <ac:chgData name="Mery Carrasco Mauricio (Codelco-Casa Matriz)" userId="S::mmery004@codelco.cl::a0378191-74de-4d59-9b37-aa421303daba" providerId="AD" clId="Web-{A149D239-C737-1707-BCC0-EBCC0FEB071C}" dt="2021-01-13T19:40:33.033" v="397" actId="20577"/>
          <ac:spMkLst>
            <pc:docMk/>
            <pc:sldMk cId="1943212446" sldId="416"/>
            <ac:spMk id="17" creationId="{9C4C5E3E-6150-4685-BEAC-9E2042B17D9D}"/>
          </ac:spMkLst>
        </pc:spChg>
        <pc:spChg chg="mod">
          <ac:chgData name="Mery Carrasco Mauricio (Codelco-Casa Matriz)" userId="S::mmery004@codelco.cl::a0378191-74de-4d59-9b37-aa421303daba" providerId="AD" clId="Web-{A149D239-C737-1707-BCC0-EBCC0FEB071C}" dt="2021-01-13T19:40:43.502" v="403" actId="20577"/>
          <ac:spMkLst>
            <pc:docMk/>
            <pc:sldMk cId="1943212446" sldId="416"/>
            <ac:spMk id="26" creationId="{C05AF7CA-BE06-4010-A753-779C63F68D58}"/>
          </ac:spMkLst>
        </pc:spChg>
      </pc:sldChg>
      <pc:sldChg chg="del">
        <pc:chgData name="Mery Carrasco Mauricio (Codelco-Casa Matriz)" userId="S::mmery004@codelco.cl::a0378191-74de-4d59-9b37-aa421303daba" providerId="AD" clId="Web-{A149D239-C737-1707-BCC0-EBCC0FEB071C}" dt="2021-01-13T19:45:46.807" v="413"/>
        <pc:sldMkLst>
          <pc:docMk/>
          <pc:sldMk cId="423569658" sldId="423"/>
        </pc:sldMkLst>
      </pc:sldChg>
      <pc:sldChg chg="del">
        <pc:chgData name="Mery Carrasco Mauricio (Codelco-Casa Matriz)" userId="S::mmery004@codelco.cl::a0378191-74de-4d59-9b37-aa421303daba" providerId="AD" clId="Web-{A149D239-C737-1707-BCC0-EBCC0FEB071C}" dt="2021-01-13T19:45:41.526" v="412"/>
        <pc:sldMkLst>
          <pc:docMk/>
          <pc:sldMk cId="3689142172" sldId="424"/>
        </pc:sldMkLst>
      </pc:sldChg>
      <pc:sldChg chg="del">
        <pc:chgData name="Mery Carrasco Mauricio (Codelco-Casa Matriz)" userId="S::mmery004@codelco.cl::a0378191-74de-4d59-9b37-aa421303daba" providerId="AD" clId="Web-{A149D239-C737-1707-BCC0-EBCC0FEB071C}" dt="2021-01-13T19:39:36.875" v="377"/>
        <pc:sldMkLst>
          <pc:docMk/>
          <pc:sldMk cId="3655129718" sldId="425"/>
        </pc:sldMkLst>
      </pc:sldChg>
      <pc:sldChg chg="del">
        <pc:chgData name="Mery Carrasco Mauricio (Codelco-Casa Matriz)" userId="S::mmery004@codelco.cl::a0378191-74de-4d59-9b37-aa421303daba" providerId="AD" clId="Web-{A149D239-C737-1707-BCC0-EBCC0FEB071C}" dt="2021-01-13T19:45:39.619" v="411"/>
        <pc:sldMkLst>
          <pc:docMk/>
          <pc:sldMk cId="132534367" sldId="426"/>
        </pc:sldMkLst>
      </pc:sldChg>
      <pc:sldChg chg="del">
        <pc:chgData name="Mery Carrasco Mauricio (Codelco-Casa Matriz)" userId="S::mmery004@codelco.cl::a0378191-74de-4d59-9b37-aa421303daba" providerId="AD" clId="Web-{A149D239-C737-1707-BCC0-EBCC0FEB071C}" dt="2021-01-13T19:45:26.119" v="407"/>
        <pc:sldMkLst>
          <pc:docMk/>
          <pc:sldMk cId="595306389" sldId="427"/>
        </pc:sldMkLst>
      </pc:sldChg>
      <pc:sldChg chg="del">
        <pc:chgData name="Mery Carrasco Mauricio (Codelco-Casa Matriz)" userId="S::mmery004@codelco.cl::a0378191-74de-4d59-9b37-aa421303daba" providerId="AD" clId="Web-{A149D239-C737-1707-BCC0-EBCC0FEB071C}" dt="2021-01-13T19:45:47.338" v="414"/>
        <pc:sldMkLst>
          <pc:docMk/>
          <pc:sldMk cId="2765686841" sldId="428"/>
        </pc:sldMkLst>
      </pc:sldChg>
      <pc:sldChg chg="del">
        <pc:chgData name="Mery Carrasco Mauricio (Codelco-Casa Matriz)" userId="S::mmery004@codelco.cl::a0378191-74de-4d59-9b37-aa421303daba" providerId="AD" clId="Web-{A149D239-C737-1707-BCC0-EBCC0FEB071C}" dt="2021-01-13T19:40:53.174" v="404"/>
        <pc:sldMkLst>
          <pc:docMk/>
          <pc:sldMk cId="1371275220" sldId="429"/>
        </pc:sldMkLst>
      </pc:sldChg>
      <pc:sldChg chg="new">
        <pc:chgData name="Mery Carrasco Mauricio (Codelco-Casa Matriz)" userId="S::mmery004@codelco.cl::a0378191-74de-4d59-9b37-aa421303daba" providerId="AD" clId="Web-{A149D239-C737-1707-BCC0-EBCC0FEB071C}" dt="2021-01-13T19:45:20.603" v="406"/>
        <pc:sldMkLst>
          <pc:docMk/>
          <pc:sldMk cId="1773635513" sldId="429"/>
        </pc:sldMkLst>
      </pc:sldChg>
      <pc:sldChg chg="new del">
        <pc:chgData name="Mery Carrasco Mauricio (Codelco-Casa Matriz)" userId="S::mmery004@codelco.cl::a0378191-74de-4d59-9b37-aa421303daba" providerId="AD" clId="Web-{A149D239-C737-1707-BCC0-EBCC0FEB071C}" dt="2021-01-13T19:39:16.093" v="376"/>
        <pc:sldMkLst>
          <pc:docMk/>
          <pc:sldMk cId="262198094" sldId="430"/>
        </pc:sldMkLst>
      </pc:sldChg>
      <pc:sldChg chg="new">
        <pc:chgData name="Mery Carrasco Mauricio (Codelco-Casa Matriz)" userId="S::mmery004@codelco.cl::a0378191-74de-4d59-9b37-aa421303daba" providerId="AD" clId="Web-{A149D239-C737-1707-BCC0-EBCC0FEB071C}" dt="2021-01-13T19:45:31.447" v="408"/>
        <pc:sldMkLst>
          <pc:docMk/>
          <pc:sldMk cId="1938484616" sldId="430"/>
        </pc:sldMkLst>
      </pc:sldChg>
    </pc:docChg>
  </pc:docChgLst>
  <pc:docChgLst>
    <pc:chgData name="Herrera Bustamante Cristian (Codelco-Casa Matriz)" userId="S::cherr058@codelco.cl::2c6d9cd6-c296-4612-8f6b-c05dbcd0c76b" providerId="AD" clId="Web-{90676F63-D4CE-FFE4-5422-FA977BC8E200}"/>
    <pc:docChg chg="modSld">
      <pc:chgData name="Herrera Bustamante Cristian (Codelco-Casa Matriz)" userId="S::cherr058@codelco.cl::2c6d9cd6-c296-4612-8f6b-c05dbcd0c76b" providerId="AD" clId="Web-{90676F63-D4CE-FFE4-5422-FA977BC8E200}" dt="2021-08-03T20:50:57.257" v="455" actId="20577"/>
      <pc:docMkLst>
        <pc:docMk/>
      </pc:docMkLst>
      <pc:sldChg chg="addSp delSp modSp addCm">
        <pc:chgData name="Herrera Bustamante Cristian (Codelco-Casa Matriz)" userId="S::cherr058@codelco.cl::2c6d9cd6-c296-4612-8f6b-c05dbcd0c76b" providerId="AD" clId="Web-{90676F63-D4CE-FFE4-5422-FA977BC8E200}" dt="2021-08-03T20:50:57.257" v="455" actId="20577"/>
        <pc:sldMkLst>
          <pc:docMk/>
          <pc:sldMk cId="1775339418" sldId="440"/>
        </pc:sldMkLst>
        <pc:spChg chg="add del">
          <ac:chgData name="Herrera Bustamante Cristian (Codelco-Casa Matriz)" userId="S::cherr058@codelco.cl::2c6d9cd6-c296-4612-8f6b-c05dbcd0c76b" providerId="AD" clId="Web-{90676F63-D4CE-FFE4-5422-FA977BC8E200}" dt="2021-08-03T20:23:06.241" v="343"/>
          <ac:spMkLst>
            <pc:docMk/>
            <pc:sldMk cId="1775339418" sldId="440"/>
            <ac:spMk id="3" creationId="{06CAE0F1-E3A4-40AE-9ACB-DABC3EC9F883}"/>
          </ac:spMkLst>
        </pc:spChg>
        <pc:spChg chg="mod">
          <ac:chgData name="Herrera Bustamante Cristian (Codelco-Casa Matriz)" userId="S::cherr058@codelco.cl::2c6d9cd6-c296-4612-8f6b-c05dbcd0c76b" providerId="AD" clId="Web-{90676F63-D4CE-FFE4-5422-FA977BC8E200}" dt="2021-08-03T20:50:05.224" v="436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Herrera Bustamante Cristian (Codelco-Casa Matriz)" userId="S::cherr058@codelco.cl::2c6d9cd6-c296-4612-8f6b-c05dbcd0c76b" providerId="AD" clId="Web-{90676F63-D4CE-FFE4-5422-FA977BC8E200}" dt="2021-08-03T20:50:57.257" v="455" actId="20577"/>
          <ac:spMkLst>
            <pc:docMk/>
            <pc:sldMk cId="1775339418" sldId="440"/>
            <ac:spMk id="19" creationId="{488562D1-4154-4B20-8682-0B484D7B4DCB}"/>
          </ac:spMkLst>
        </pc:spChg>
        <pc:picChg chg="add del">
          <ac:chgData name="Herrera Bustamante Cristian (Codelco-Casa Matriz)" userId="S::cherr058@codelco.cl::2c6d9cd6-c296-4612-8f6b-c05dbcd0c76b" providerId="AD" clId="Web-{90676F63-D4CE-FFE4-5422-FA977BC8E200}" dt="2021-08-03T20:19:05.750" v="289"/>
          <ac:picMkLst>
            <pc:docMk/>
            <pc:sldMk cId="1775339418" sldId="440"/>
            <ac:picMk id="8" creationId="{050A6878-1514-4CF1-9212-F0F0E75A95D6}"/>
          </ac:picMkLst>
        </pc:picChg>
      </pc:sldChg>
    </pc:docChg>
  </pc:docChgLst>
  <pc:docChgLst>
    <pc:chgData name="Mery Carrasco Mauricio (Codelco-Casa Matriz)" userId="S::mmery004@codelco.cl::a0378191-74de-4d59-9b37-aa421303daba" providerId="AD" clId="Web-{F226557E-FA55-E318-C5BC-2FC922E45F44}"/>
    <pc:docChg chg="modSld">
      <pc:chgData name="Mery Carrasco Mauricio (Codelco-Casa Matriz)" userId="S::mmery004@codelco.cl::a0378191-74de-4d59-9b37-aa421303daba" providerId="AD" clId="Web-{F226557E-FA55-E318-C5BC-2FC922E45F44}" dt="2021-10-12T21:29:36.174" v="10" actId="20577"/>
      <pc:docMkLst>
        <pc:docMk/>
      </pc:docMkLst>
      <pc:sldChg chg="modSp">
        <pc:chgData name="Mery Carrasco Mauricio (Codelco-Casa Matriz)" userId="S::mmery004@codelco.cl::a0378191-74de-4d59-9b37-aa421303daba" providerId="AD" clId="Web-{F226557E-FA55-E318-C5BC-2FC922E45F44}" dt="2021-10-12T21:29:36.174" v="10" actId="20577"/>
        <pc:sldMkLst>
          <pc:docMk/>
          <pc:sldMk cId="2159727526" sldId="603"/>
        </pc:sldMkLst>
        <pc:spChg chg="mod">
          <ac:chgData name="Mery Carrasco Mauricio (Codelco-Casa Matriz)" userId="S::mmery004@codelco.cl::a0378191-74de-4d59-9b37-aa421303daba" providerId="AD" clId="Web-{F226557E-FA55-E318-C5BC-2FC922E45F44}" dt="2021-10-12T21:29:36.174" v="10" actId="20577"/>
          <ac:spMkLst>
            <pc:docMk/>
            <pc:sldMk cId="2159727526" sldId="603"/>
            <ac:spMk id="2" creationId="{755F471E-EC70-4A1D-A048-321F54208221}"/>
          </ac:spMkLst>
        </pc:spChg>
      </pc:sldChg>
    </pc:docChg>
  </pc:docChgLst>
  <pc:docChgLst>
    <pc:chgData name="Allende Bustamante Jose (Codelco-Casa Matriz)" userId="S::jalle011@codelco.cl::54345eee-8770-43bf-b080-e3e333067d62" providerId="AD" clId="Web-{C791B14B-5E15-4B1B-818E-EFAFF8219CD1}"/>
    <pc:docChg chg="addSld delSld">
      <pc:chgData name="Allende Bustamante Jose (Codelco-Casa Matriz)" userId="S::jalle011@codelco.cl::54345eee-8770-43bf-b080-e3e333067d62" providerId="AD" clId="Web-{C791B14B-5E15-4B1B-818E-EFAFF8219CD1}" dt="2020-11-04T23:57:55.094" v="8"/>
      <pc:docMkLst>
        <pc:docMk/>
      </pc:docMkLst>
      <pc:sldChg chg="del">
        <pc:chgData name="Allende Bustamante Jose (Codelco-Casa Matriz)" userId="S::jalle011@codelco.cl::54345eee-8770-43bf-b080-e3e333067d62" providerId="AD" clId="Web-{C791B14B-5E15-4B1B-818E-EFAFF8219CD1}" dt="2020-11-04T23:57:26.609" v="1"/>
        <pc:sldMkLst>
          <pc:docMk/>
          <pc:sldMk cId="1176872818" sldId="419"/>
        </pc:sldMkLst>
      </pc:sldChg>
      <pc:sldChg chg="del">
        <pc:chgData name="Allende Bustamante Jose (Codelco-Casa Matriz)" userId="S::jalle011@codelco.cl::54345eee-8770-43bf-b080-e3e333067d62" providerId="AD" clId="Web-{C791B14B-5E15-4B1B-818E-EFAFF8219CD1}" dt="2020-11-04T23:57:21.374" v="0"/>
        <pc:sldMkLst>
          <pc:docMk/>
          <pc:sldMk cId="1101719943" sldId="420"/>
        </pc:sldMkLst>
      </pc:sldChg>
      <pc:sldChg chg="del">
        <pc:chgData name="Allende Bustamante Jose (Codelco-Casa Matriz)" userId="S::jalle011@codelco.cl::54345eee-8770-43bf-b080-e3e333067d62" providerId="AD" clId="Web-{C791B14B-5E15-4B1B-818E-EFAFF8219CD1}" dt="2020-11-04T23:57:31.515" v="2"/>
        <pc:sldMkLst>
          <pc:docMk/>
          <pc:sldMk cId="3508652071" sldId="423"/>
        </pc:sldMkLst>
      </pc:sldChg>
      <pc:sldChg chg="add">
        <pc:chgData name="Allende Bustamante Jose (Codelco-Casa Matriz)" userId="S::jalle011@codelco.cl::54345eee-8770-43bf-b080-e3e333067d62" providerId="AD" clId="Web-{C791B14B-5E15-4B1B-818E-EFAFF8219CD1}" dt="2020-11-04T23:57:54.219" v="5"/>
        <pc:sldMkLst>
          <pc:docMk/>
          <pc:sldMk cId="3553445894" sldId="423"/>
        </pc:sldMkLst>
      </pc:sldChg>
      <pc:sldChg chg="add">
        <pc:chgData name="Allende Bustamante Jose (Codelco-Casa Matriz)" userId="S::jalle011@codelco.cl::54345eee-8770-43bf-b080-e3e333067d62" providerId="AD" clId="Web-{C791B14B-5E15-4B1B-818E-EFAFF8219CD1}" dt="2020-11-04T23:57:54.516" v="6"/>
        <pc:sldMkLst>
          <pc:docMk/>
          <pc:sldMk cId="3990388868" sldId="424"/>
        </pc:sldMkLst>
      </pc:sldChg>
      <pc:sldChg chg="del">
        <pc:chgData name="Allende Bustamante Jose (Codelco-Casa Matriz)" userId="S::jalle011@codelco.cl::54345eee-8770-43bf-b080-e3e333067d62" providerId="AD" clId="Web-{C791B14B-5E15-4B1B-818E-EFAFF8219CD1}" dt="2020-11-04T23:57:36.125" v="4"/>
        <pc:sldMkLst>
          <pc:docMk/>
          <pc:sldMk cId="4029176442" sldId="424"/>
        </pc:sldMkLst>
      </pc:sldChg>
      <pc:sldChg chg="del">
        <pc:chgData name="Allende Bustamante Jose (Codelco-Casa Matriz)" userId="S::jalle011@codelco.cl::54345eee-8770-43bf-b080-e3e333067d62" providerId="AD" clId="Web-{C791B14B-5E15-4B1B-818E-EFAFF8219CD1}" dt="2020-11-04T23:57:36.046" v="3"/>
        <pc:sldMkLst>
          <pc:docMk/>
          <pc:sldMk cId="2361046826" sldId="425"/>
        </pc:sldMkLst>
      </pc:sldChg>
      <pc:sldChg chg="add">
        <pc:chgData name="Allende Bustamante Jose (Codelco-Casa Matriz)" userId="S::jalle011@codelco.cl::54345eee-8770-43bf-b080-e3e333067d62" providerId="AD" clId="Web-{C791B14B-5E15-4B1B-818E-EFAFF8219CD1}" dt="2020-11-04T23:57:54.781" v="7"/>
        <pc:sldMkLst>
          <pc:docMk/>
          <pc:sldMk cId="3306750721" sldId="425"/>
        </pc:sldMkLst>
      </pc:sldChg>
      <pc:sldChg chg="add">
        <pc:chgData name="Allende Bustamante Jose (Codelco-Casa Matriz)" userId="S::jalle011@codelco.cl::54345eee-8770-43bf-b080-e3e333067d62" providerId="AD" clId="Web-{C791B14B-5E15-4B1B-818E-EFAFF8219CD1}" dt="2020-11-04T23:57:55.094" v="8"/>
        <pc:sldMkLst>
          <pc:docMk/>
          <pc:sldMk cId="3467923751" sldId="426"/>
        </pc:sldMkLst>
      </pc:sldChg>
    </pc:docChg>
  </pc:docChgLst>
  <pc:docChgLst>
    <pc:chgData name="Mery Carrasco Mauricio (Codelco-Casa Matriz)" userId="a0378191-74de-4d59-9b37-aa421303daba" providerId="ADAL" clId="{043B5F21-E24F-8140-B32B-64570D341019}"/>
    <pc:docChg chg="">
      <pc:chgData name="Mery Carrasco Mauricio (Codelco-Casa Matriz)" userId="a0378191-74de-4d59-9b37-aa421303daba" providerId="ADAL" clId="{043B5F21-E24F-8140-B32B-64570D341019}" dt="2021-05-20T05:05:56.210" v="6" actId="1589"/>
      <pc:docMkLst>
        <pc:docMk/>
      </pc:docMkLst>
      <pc:sldChg chg="addCm">
        <pc:chgData name="Mery Carrasco Mauricio (Codelco-Casa Matriz)" userId="a0378191-74de-4d59-9b37-aa421303daba" providerId="ADAL" clId="{043B5F21-E24F-8140-B32B-64570D341019}" dt="2021-05-20T05:05:56.210" v="6" actId="1589"/>
        <pc:sldMkLst>
          <pc:docMk/>
          <pc:sldMk cId="1775339418" sldId="440"/>
        </pc:sldMkLst>
      </pc:sldChg>
      <pc:sldChg chg="addCm">
        <pc:chgData name="Mery Carrasco Mauricio (Codelco-Casa Matriz)" userId="a0378191-74de-4d59-9b37-aa421303daba" providerId="ADAL" clId="{043B5F21-E24F-8140-B32B-64570D341019}" dt="2021-05-20T04:56:56.638" v="0" actId="1589"/>
        <pc:sldMkLst>
          <pc:docMk/>
          <pc:sldMk cId="1450730610" sldId="520"/>
        </pc:sldMkLst>
      </pc:sldChg>
      <pc:sldChg chg="addCm">
        <pc:chgData name="Mery Carrasco Mauricio (Codelco-Casa Matriz)" userId="a0378191-74de-4d59-9b37-aa421303daba" providerId="ADAL" clId="{043B5F21-E24F-8140-B32B-64570D341019}" dt="2021-05-20T04:58:26.527" v="1" actId="1589"/>
        <pc:sldMkLst>
          <pc:docMk/>
          <pc:sldMk cId="2744369828" sldId="522"/>
        </pc:sldMkLst>
      </pc:sldChg>
      <pc:sldChg chg="addCm">
        <pc:chgData name="Mery Carrasco Mauricio (Codelco-Casa Matriz)" userId="a0378191-74de-4d59-9b37-aa421303daba" providerId="ADAL" clId="{043B5F21-E24F-8140-B32B-64570D341019}" dt="2021-05-20T04:59:34.424" v="2" actId="1589"/>
        <pc:sldMkLst>
          <pc:docMk/>
          <pc:sldMk cId="4097922123" sldId="524"/>
        </pc:sldMkLst>
      </pc:sldChg>
      <pc:sldChg chg="addCm">
        <pc:chgData name="Mery Carrasco Mauricio (Codelco-Casa Matriz)" userId="a0378191-74de-4d59-9b37-aa421303daba" providerId="ADAL" clId="{043B5F21-E24F-8140-B32B-64570D341019}" dt="2021-05-20T05:00:48.107" v="3" actId="1589"/>
        <pc:sldMkLst>
          <pc:docMk/>
          <pc:sldMk cId="3254988731" sldId="526"/>
        </pc:sldMkLst>
      </pc:sldChg>
      <pc:sldChg chg="addCm">
        <pc:chgData name="Mery Carrasco Mauricio (Codelco-Casa Matriz)" userId="a0378191-74de-4d59-9b37-aa421303daba" providerId="ADAL" clId="{043B5F21-E24F-8140-B32B-64570D341019}" dt="2021-05-20T05:03:45.204" v="4" actId="1589"/>
        <pc:sldMkLst>
          <pc:docMk/>
          <pc:sldMk cId="1869297631" sldId="528"/>
        </pc:sldMkLst>
      </pc:sldChg>
      <pc:sldChg chg="addCm">
        <pc:chgData name="Mery Carrasco Mauricio (Codelco-Casa Matriz)" userId="a0378191-74de-4d59-9b37-aa421303daba" providerId="ADAL" clId="{043B5F21-E24F-8140-B32B-64570D341019}" dt="2021-05-20T05:05:17.786" v="5" actId="1589"/>
        <pc:sldMkLst>
          <pc:docMk/>
          <pc:sldMk cId="1296061766" sldId="530"/>
        </pc:sldMkLst>
      </pc:sldChg>
    </pc:docChg>
  </pc:docChgLst>
  <pc:docChgLst>
    <pc:chgData name="Mery Carrasco Mauricio (Codelco-Casa Matriz)" userId="S::mmery004@codelco.cl::a0378191-74de-4d59-9b37-aa421303daba" providerId="AD" clId="Web-{CAB81C7E-29F0-9F11-5F64-F9A29A5091F7}"/>
    <pc:docChg chg="addSld delSld modSld sldOrd">
      <pc:chgData name="Mery Carrasco Mauricio (Codelco-Casa Matriz)" userId="S::mmery004@codelco.cl::a0378191-74de-4d59-9b37-aa421303daba" providerId="AD" clId="Web-{CAB81C7E-29F0-9F11-5F64-F9A29A5091F7}" dt="2021-09-07T21:09:16.086" v="347"/>
      <pc:docMkLst>
        <pc:docMk/>
      </pc:docMkLst>
      <pc:sldChg chg="modSp">
        <pc:chgData name="Mery Carrasco Mauricio (Codelco-Casa Matriz)" userId="S::mmery004@codelco.cl::a0378191-74de-4d59-9b37-aa421303daba" providerId="AD" clId="Web-{CAB81C7E-29F0-9F11-5F64-F9A29A5091F7}" dt="2021-09-07T17:37:41.899" v="67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17:37:41.009" v="61" actId="20577"/>
          <ac:spMkLst>
            <pc:docMk/>
            <pc:sldMk cId="2155997825" sldId="375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37:41.899" v="67" actId="20577"/>
          <ac:spMkLst>
            <pc:docMk/>
            <pc:sldMk cId="2155997825" sldId="375"/>
            <ac:spMk id="35" creationId="{3E1FB314-0B4B-4E37-B51E-64C590443006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37:19.445" v="58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33:47.110" v="43" actId="20577"/>
          <ac:spMkLst>
            <pc:docMk/>
            <pc:sldMk cId="2155997825" sldId="375"/>
            <ac:spMk id="47" creationId="{8AFED1E8-722F-4F9D-8B1C-DD0D8C1C324E}"/>
          </ac:spMkLst>
        </pc:spChg>
      </pc:sldChg>
      <pc:sldChg chg="modSp">
        <pc:chgData name="Mery Carrasco Mauricio (Codelco-Casa Matriz)" userId="S::mmery004@codelco.cl::a0378191-74de-4d59-9b37-aa421303daba" providerId="AD" clId="Web-{CAB81C7E-29F0-9F11-5F64-F9A29A5091F7}" dt="2021-09-07T17:56:20.045" v="212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17:44:52.648" v="112" actId="20577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0:22.315" v="141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0:17.342" v="72" actId="20577"/>
          <ac:spMkLst>
            <pc:docMk/>
            <pc:sldMk cId="1544981574" sldId="409"/>
            <ac:spMk id="21" creationId="{839346A3-1820-4C50-8F02-466E51D4A44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4:31.678" v="111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0:17.139" v="71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2:45.831" v="97" actId="14100"/>
          <ac:spMkLst>
            <pc:docMk/>
            <pc:sldMk cId="1544981574" sldId="409"/>
            <ac:spMk id="29" creationId="{31BF07D5-AA9B-42A1-B33C-DC4420D200A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4:29.167" v="199" actId="20577"/>
          <ac:spMkLst>
            <pc:docMk/>
            <pc:sldMk cId="1544981574" sldId="409"/>
            <ac:spMk id="30" creationId="{44A25184-26B8-4AAA-9E65-3A78929CCFB6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39:19.559" v="68" actId="20577"/>
          <ac:spMkLst>
            <pc:docMk/>
            <pc:sldMk cId="1544981574" sldId="409"/>
            <ac:spMk id="31" creationId="{0F0C68C8-7E5C-4702-92C2-12695702903C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6:20.045" v="212" actId="20577"/>
          <ac:spMkLst>
            <pc:docMk/>
            <pc:sldMk cId="1544981574" sldId="409"/>
            <ac:spMk id="32" creationId="{878D481B-74FF-415D-BFF5-A8DD8F0FEC9A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0:44.066" v="144" actId="20577"/>
          <ac:spMkLst>
            <pc:docMk/>
            <pc:sldMk cId="1544981574" sldId="409"/>
            <ac:spMk id="33" creationId="{4DD75768-B690-436E-BF50-8EF72DC731C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5:35.075" v="206" actId="20577"/>
          <ac:spMkLst>
            <pc:docMk/>
            <pc:sldMk cId="1544981574" sldId="409"/>
            <ac:spMk id="35" creationId="{413C3D54-2186-4FCD-BF79-CC9F7E7512E4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3:51.896" v="107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0:16.873" v="70" actId="20577"/>
          <ac:spMkLst>
            <pc:docMk/>
            <pc:sldMk cId="1544981574" sldId="409"/>
            <ac:spMk id="41" creationId="{79B6483E-7060-4A55-A8F4-C7DD2AF3826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47:50.857" v="120" actId="20577"/>
          <ac:spMkLst>
            <pc:docMk/>
            <pc:sldMk cId="1544981574" sldId="409"/>
            <ac:spMk id="45" creationId="{6B6D7AF3-CD2C-4C43-9BC8-76C21B1521B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6:19.639" v="210" actId="20577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55:14.934" v="205" actId="20577"/>
          <ac:spMkLst>
            <pc:docMk/>
            <pc:sldMk cId="1544981574" sldId="409"/>
            <ac:spMk id="52" creationId="{B595D2F3-9C47-4FEE-9CCC-EBCC6DF263EC}"/>
          </ac:spMkLst>
        </pc:spChg>
      </pc:sldChg>
      <pc:sldChg chg="modSp delCm">
        <pc:chgData name="Mery Carrasco Mauricio (Codelco-Casa Matriz)" userId="S::mmery004@codelco.cl::a0378191-74de-4d59-9b37-aa421303daba" providerId="AD" clId="Web-{CAB81C7E-29F0-9F11-5F64-F9A29A5091F7}" dt="2021-09-07T21:09:16.086" v="347"/>
        <pc:sldMkLst>
          <pc:docMk/>
          <pc:sldMk cId="1775339418" sldId="440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21:08:57.147" v="346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8:53.054" v="344" actId="20577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Mery Carrasco Mauricio (Codelco-Casa Matriz)" userId="S::mmery004@codelco.cl::a0378191-74de-4d59-9b37-aa421303daba" providerId="AD" clId="Web-{CAB81C7E-29F0-9F11-5F64-F9A29A5091F7}" dt="2021-09-07T21:02:25.495" v="238"/>
        <pc:sldMkLst>
          <pc:docMk/>
          <pc:sldMk cId="4023416910" sldId="554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21:07:21.879" v="327"/>
        <pc:sldMkLst>
          <pc:docMk/>
          <pc:sldMk cId="3546602395" sldId="555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21:08:32.881" v="338"/>
        <pc:sldMkLst>
          <pc:docMk/>
          <pc:sldMk cId="2313332346" sldId="556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58:10.315" v="234"/>
        <pc:sldMkLst>
          <pc:docMk/>
          <pc:sldMk cId="3763758550" sldId="557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21:08:32.865" v="337"/>
        <pc:sldMkLst>
          <pc:docMk/>
          <pc:sldMk cId="1718909961" sldId="560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21:08:32.834" v="336"/>
        <pc:sldMkLst>
          <pc:docMk/>
          <pc:sldMk cId="2710820077" sldId="562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58:10.284" v="231"/>
        <pc:sldMkLst>
          <pc:docMk/>
          <pc:sldMk cId="513596260" sldId="564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21:08:52.554" v="339"/>
        <pc:sldMkLst>
          <pc:docMk/>
          <pc:sldMk cId="662694252" sldId="565"/>
        </pc:sldMkLst>
      </pc:sldChg>
      <pc:sldChg chg="modSp">
        <pc:chgData name="Mery Carrasco Mauricio (Codelco-Casa Matriz)" userId="S::mmery004@codelco.cl::a0378191-74de-4d59-9b37-aa421303daba" providerId="AD" clId="Web-{CAB81C7E-29F0-9F11-5F64-F9A29A5091F7}" dt="2021-09-07T17:28:49.288" v="10" actId="20577"/>
        <pc:sldMkLst>
          <pc:docMk/>
          <pc:sldMk cId="642344154" sldId="569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17:28:48.054" v="6" actId="20577"/>
          <ac:spMkLst>
            <pc:docMk/>
            <pc:sldMk cId="642344154" sldId="569"/>
            <ac:spMk id="14" creationId="{44B4F61D-2A3E-494F-96A3-1A6AF2B837AC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17:28:49.288" v="10" actId="20577"/>
          <ac:spMkLst>
            <pc:docMk/>
            <pc:sldMk cId="642344154" sldId="569"/>
            <ac:spMk id="16" creationId="{C362A9E2-540B-4ECF-B6C5-C1DF31564628}"/>
          </ac:spMkLst>
        </pc:spChg>
      </pc:sldChg>
      <pc:sldChg chg="del">
        <pc:chgData name="Mery Carrasco Mauricio (Codelco-Casa Matriz)" userId="S::mmery004@codelco.cl::a0378191-74de-4d59-9b37-aa421303daba" providerId="AD" clId="Web-{CAB81C7E-29F0-9F11-5F64-F9A29A5091F7}" dt="2021-09-07T17:57:50.517" v="229"/>
        <pc:sldMkLst>
          <pc:docMk/>
          <pc:sldMk cId="3262196641" sldId="570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58:10.346" v="235"/>
        <pc:sldMkLst>
          <pc:docMk/>
          <pc:sldMk cId="468650530" sldId="571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31:18.574" v="12"/>
        <pc:sldMkLst>
          <pc:docMk/>
          <pc:sldMk cId="3434625331" sldId="575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31:39.184" v="15"/>
        <pc:sldMkLst>
          <pc:docMk/>
          <pc:sldMk cId="2647087036" sldId="576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58:10.315" v="232"/>
        <pc:sldMkLst>
          <pc:docMk/>
          <pc:sldMk cId="4263088292" sldId="580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31:18.746" v="13"/>
        <pc:sldMkLst>
          <pc:docMk/>
          <pc:sldMk cId="3865556671" sldId="581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31:20.106" v="14"/>
        <pc:sldMkLst>
          <pc:docMk/>
          <pc:sldMk cId="828536262" sldId="583"/>
        </pc:sldMkLst>
      </pc:sldChg>
      <pc:sldChg chg="del">
        <pc:chgData name="Mery Carrasco Mauricio (Codelco-Casa Matriz)" userId="S::mmery004@codelco.cl::a0378191-74de-4d59-9b37-aa421303daba" providerId="AD" clId="Web-{CAB81C7E-29F0-9F11-5F64-F9A29A5091F7}" dt="2021-09-07T17:58:10.315" v="233"/>
        <pc:sldMkLst>
          <pc:docMk/>
          <pc:sldMk cId="2801281709" sldId="585"/>
        </pc:sldMkLst>
      </pc:sldChg>
      <pc:sldChg chg="delSp modSp ord">
        <pc:chgData name="Mery Carrasco Mauricio (Codelco-Casa Matriz)" userId="S::mmery004@codelco.cl::a0378191-74de-4d59-9b37-aa421303daba" providerId="AD" clId="Web-{CAB81C7E-29F0-9F11-5F64-F9A29A5091F7}" dt="2021-09-07T21:07:22.520" v="328"/>
        <pc:sldMkLst>
          <pc:docMk/>
          <pc:sldMk cId="779277174" sldId="587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17:56:42.718" v="215" actId="20577"/>
          <ac:spMkLst>
            <pc:docMk/>
            <pc:sldMk cId="779277174" sldId="587"/>
            <ac:spMk id="2" creationId="{755F471E-EC70-4A1D-A048-321F54208221}"/>
          </ac:spMkLst>
        </pc:spChg>
        <pc:spChg chg="del mod">
          <ac:chgData name="Mery Carrasco Mauricio (Codelco-Casa Matriz)" userId="S::mmery004@codelco.cl::a0378191-74de-4d59-9b37-aa421303daba" providerId="AD" clId="Web-{CAB81C7E-29F0-9F11-5F64-F9A29A5091F7}" dt="2021-09-07T17:57:04.781" v="227"/>
          <ac:spMkLst>
            <pc:docMk/>
            <pc:sldMk cId="779277174" sldId="587"/>
            <ac:spMk id="46" creationId="{8D08E2EE-02B8-4BA2-B6B2-6D74F569399B}"/>
          </ac:spMkLst>
        </pc:spChg>
        <pc:spChg chg="del">
          <ac:chgData name="Mery Carrasco Mauricio (Codelco-Casa Matriz)" userId="S::mmery004@codelco.cl::a0378191-74de-4d59-9b37-aa421303daba" providerId="AD" clId="Web-{CAB81C7E-29F0-9F11-5F64-F9A29A5091F7}" dt="2021-09-07T17:57:04.672" v="226"/>
          <ac:spMkLst>
            <pc:docMk/>
            <pc:sldMk cId="779277174" sldId="587"/>
            <ac:spMk id="47" creationId="{DBD0D6C5-1946-41F3-835A-4A0D46F36677}"/>
          </ac:spMkLst>
        </pc:spChg>
        <pc:grpChg chg="del">
          <ac:chgData name="Mery Carrasco Mauricio (Codelco-Casa Matriz)" userId="S::mmery004@codelco.cl::a0378191-74de-4d59-9b37-aa421303daba" providerId="AD" clId="Web-{CAB81C7E-29F0-9F11-5F64-F9A29A5091F7}" dt="2021-09-07T17:57:04.469" v="224"/>
          <ac:grpSpMkLst>
            <pc:docMk/>
            <pc:sldMk cId="779277174" sldId="587"/>
            <ac:grpSpMk id="44" creationId="{ED5B506F-63F0-4CAE-9A53-65CED79D195C}"/>
          </ac:grpSpMkLst>
        </pc:grpChg>
        <pc:picChg chg="del">
          <ac:chgData name="Mery Carrasco Mauricio (Codelco-Casa Matriz)" userId="S::mmery004@codelco.cl::a0378191-74de-4d59-9b37-aa421303daba" providerId="AD" clId="Web-{CAB81C7E-29F0-9F11-5F64-F9A29A5091F7}" dt="2021-09-07T17:57:04.109" v="216"/>
          <ac:picMkLst>
            <pc:docMk/>
            <pc:sldMk cId="779277174" sldId="587"/>
            <ac:picMk id="10" creationId="{9D7A8B70-8D7C-4E14-9040-0C9CD558A737}"/>
          </ac:picMkLst>
        </pc:picChg>
        <pc:picChg chg="del">
          <ac:chgData name="Mery Carrasco Mauricio (Codelco-Casa Matriz)" userId="S::mmery004@codelco.cl::a0378191-74de-4d59-9b37-aa421303daba" providerId="AD" clId="Web-{CAB81C7E-29F0-9F11-5F64-F9A29A5091F7}" dt="2021-09-07T17:57:04.375" v="222"/>
          <ac:picMkLst>
            <pc:docMk/>
            <pc:sldMk cId="779277174" sldId="587"/>
            <ac:picMk id="49" creationId="{39DFFE22-DCED-48A5-8572-6C94B52F4728}"/>
          </ac:picMkLst>
        </pc:picChg>
        <pc:picChg chg="del">
          <ac:chgData name="Mery Carrasco Mauricio (Codelco-Casa Matriz)" userId="S::mmery004@codelco.cl::a0378191-74de-4d59-9b37-aa421303daba" providerId="AD" clId="Web-{CAB81C7E-29F0-9F11-5F64-F9A29A5091F7}" dt="2021-09-07T17:57:04.328" v="221"/>
          <ac:picMkLst>
            <pc:docMk/>
            <pc:sldMk cId="779277174" sldId="587"/>
            <ac:picMk id="51" creationId="{1343DB57-ACFC-44BD-99C4-FCBA1F118B3B}"/>
          </ac:picMkLst>
        </pc:picChg>
        <pc:picChg chg="del">
          <ac:chgData name="Mery Carrasco Mauricio (Codelco-Casa Matriz)" userId="S::mmery004@codelco.cl::a0378191-74de-4d59-9b37-aa421303daba" providerId="AD" clId="Web-{CAB81C7E-29F0-9F11-5F64-F9A29A5091F7}" dt="2021-09-07T17:57:04.234" v="217"/>
          <ac:picMkLst>
            <pc:docMk/>
            <pc:sldMk cId="779277174" sldId="587"/>
            <ac:picMk id="53" creationId="{4AD91447-E4A7-4065-88CE-46E343C8DDF4}"/>
          </ac:picMkLst>
        </pc:picChg>
        <pc:picChg chg="del">
          <ac:chgData name="Mery Carrasco Mauricio (Codelco-Casa Matriz)" userId="S::mmery004@codelco.cl::a0378191-74de-4d59-9b37-aa421303daba" providerId="AD" clId="Web-{CAB81C7E-29F0-9F11-5F64-F9A29A5091F7}" dt="2021-09-07T17:57:04.281" v="220"/>
          <ac:picMkLst>
            <pc:docMk/>
            <pc:sldMk cId="779277174" sldId="587"/>
            <ac:picMk id="54" creationId="{525CE8EF-D1C0-4759-95AA-9B96AB85B1D1}"/>
          </ac:picMkLst>
        </pc:picChg>
        <pc:picChg chg="del">
          <ac:chgData name="Mery Carrasco Mauricio (Codelco-Casa Matriz)" userId="S::mmery004@codelco.cl::a0378191-74de-4d59-9b37-aa421303daba" providerId="AD" clId="Web-{CAB81C7E-29F0-9F11-5F64-F9A29A5091F7}" dt="2021-09-07T17:57:04.281" v="219"/>
          <ac:picMkLst>
            <pc:docMk/>
            <pc:sldMk cId="779277174" sldId="587"/>
            <ac:picMk id="55" creationId="{5892684E-C0BF-40F6-82D0-49E47B19826C}"/>
          </ac:picMkLst>
        </pc:picChg>
        <pc:picChg chg="del">
          <ac:chgData name="Mery Carrasco Mauricio (Codelco-Casa Matriz)" userId="S::mmery004@codelco.cl::a0378191-74de-4d59-9b37-aa421303daba" providerId="AD" clId="Web-{CAB81C7E-29F0-9F11-5F64-F9A29A5091F7}" dt="2021-09-07T17:57:04.281" v="218"/>
          <ac:picMkLst>
            <pc:docMk/>
            <pc:sldMk cId="779277174" sldId="587"/>
            <ac:picMk id="56" creationId="{9FDF1709-C09A-4355-9AAD-919D2521E683}"/>
          </ac:picMkLst>
        </pc:picChg>
        <pc:cxnChg chg="del">
          <ac:chgData name="Mery Carrasco Mauricio (Codelco-Casa Matriz)" userId="S::mmery004@codelco.cl::a0378191-74de-4d59-9b37-aa421303daba" providerId="AD" clId="Web-{CAB81C7E-29F0-9F11-5F64-F9A29A5091F7}" dt="2021-09-07T17:57:04.422" v="223"/>
          <ac:cxnSpMkLst>
            <pc:docMk/>
            <pc:sldMk cId="779277174" sldId="587"/>
            <ac:cxnSpMk id="40" creationId="{F2D6B240-287F-4771-A005-4BA28418706B}"/>
          </ac:cxnSpMkLst>
        </pc:cxnChg>
      </pc:sldChg>
      <pc:sldChg chg="new ord">
        <pc:chgData name="Mery Carrasco Mauricio (Codelco-Casa Matriz)" userId="S::mmery004@codelco.cl::a0378191-74de-4d59-9b37-aa421303daba" providerId="AD" clId="Web-{CAB81C7E-29F0-9F11-5F64-F9A29A5091F7}" dt="2021-09-07T21:07:44.130" v="329"/>
        <pc:sldMkLst>
          <pc:docMk/>
          <pc:sldMk cId="3846422952" sldId="588"/>
        </pc:sldMkLst>
      </pc:sldChg>
      <pc:sldChg chg="new ord">
        <pc:chgData name="Mery Carrasco Mauricio (Codelco-Casa Matriz)" userId="S::mmery004@codelco.cl::a0378191-74de-4d59-9b37-aa421303daba" providerId="AD" clId="Web-{CAB81C7E-29F0-9F11-5F64-F9A29A5091F7}" dt="2021-09-07T21:07:44.255" v="330"/>
        <pc:sldMkLst>
          <pc:docMk/>
          <pc:sldMk cId="1628385742" sldId="589"/>
        </pc:sldMkLst>
      </pc:sldChg>
      <pc:sldChg chg="new del">
        <pc:chgData name="Mery Carrasco Mauricio (Codelco-Casa Matriz)" userId="S::mmery004@codelco.cl::a0378191-74de-4d59-9b37-aa421303daba" providerId="AD" clId="Web-{CAB81C7E-29F0-9F11-5F64-F9A29A5091F7}" dt="2021-09-07T21:08:52.913" v="340"/>
        <pc:sldMkLst>
          <pc:docMk/>
          <pc:sldMk cId="55265782" sldId="590"/>
        </pc:sldMkLst>
      </pc:sldChg>
      <pc:sldChg chg="delSp modSp add ord replId">
        <pc:chgData name="Mery Carrasco Mauricio (Codelco-Casa Matriz)" userId="S::mmery004@codelco.cl::a0378191-74de-4d59-9b37-aa421303daba" providerId="AD" clId="Web-{CAB81C7E-29F0-9F11-5F64-F9A29A5091F7}" dt="2021-09-07T21:03:49.029" v="255"/>
        <pc:sldMkLst>
          <pc:docMk/>
          <pc:sldMk cId="1869377767" sldId="591"/>
        </pc:sldMkLst>
        <pc:spChg chg="del">
          <ac:chgData name="Mery Carrasco Mauricio (Codelco-Casa Matriz)" userId="S::mmery004@codelco.cl::a0378191-74de-4d59-9b37-aa421303daba" providerId="AD" clId="Web-{CAB81C7E-29F0-9F11-5F64-F9A29A5091F7}" dt="2021-09-07T21:02:25.557" v="244"/>
          <ac:spMkLst>
            <pc:docMk/>
            <pc:sldMk cId="1869377767" sldId="591"/>
            <ac:spMk id="7" creationId="{3F067F21-CA09-43F9-8290-4FE824AE682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31.575" v="250"/>
          <ac:spMkLst>
            <pc:docMk/>
            <pc:sldMk cId="1869377767" sldId="591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49.029" v="255"/>
          <ac:spMkLst>
            <pc:docMk/>
            <pc:sldMk cId="1869377767" sldId="591"/>
            <ac:spMk id="29" creationId="{E43FCCA5-0130-49C9-B8D3-A7A5BAE52858}"/>
          </ac:spMkLst>
        </pc:spChg>
        <pc:spChg chg="del">
          <ac:chgData name="Mery Carrasco Mauricio (Codelco-Casa Matriz)" userId="S::mmery004@codelco.cl::a0378191-74de-4d59-9b37-aa421303daba" providerId="AD" clId="Web-{CAB81C7E-29F0-9F11-5F64-F9A29A5091F7}" dt="2021-09-07T21:02:25.511" v="243"/>
          <ac:spMkLst>
            <pc:docMk/>
            <pc:sldMk cId="1869377767" sldId="591"/>
            <ac:spMk id="30" creationId="{FC6F8EAE-BF9D-4CD4-A556-34E7503884B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31.575" v="249"/>
          <ac:spMkLst>
            <pc:docMk/>
            <pc:sldMk cId="1869377767" sldId="591"/>
            <ac:spMk id="32" creationId="{3660DA99-0A9E-4208-9336-B0076E6B5498}"/>
          </ac:spMkLst>
        </pc:spChg>
        <pc:spChg chg="del">
          <ac:chgData name="Mery Carrasco Mauricio (Codelco-Casa Matriz)" userId="S::mmery004@codelco.cl::a0378191-74de-4d59-9b37-aa421303daba" providerId="AD" clId="Web-{CAB81C7E-29F0-9F11-5F64-F9A29A5091F7}" dt="2021-09-07T21:02:25.511" v="242"/>
          <ac:spMkLst>
            <pc:docMk/>
            <pc:sldMk cId="1869377767" sldId="591"/>
            <ac:spMk id="33" creationId="{D1447759-3F21-48D6-AB39-027999D4AD5B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49.013" v="254"/>
          <ac:spMkLst>
            <pc:docMk/>
            <pc:sldMk cId="1869377767" sldId="591"/>
            <ac:spMk id="34" creationId="{4D6685A8-C632-4230-9E08-284878417DE5}"/>
          </ac:spMkLst>
        </pc:spChg>
        <pc:spChg chg="del">
          <ac:chgData name="Mery Carrasco Mauricio (Codelco-Casa Matriz)" userId="S::mmery004@codelco.cl::a0378191-74de-4d59-9b37-aa421303daba" providerId="AD" clId="Web-{CAB81C7E-29F0-9F11-5F64-F9A29A5091F7}" dt="2021-09-07T21:02:25.511" v="239"/>
          <ac:spMkLst>
            <pc:docMk/>
            <pc:sldMk cId="1869377767" sldId="591"/>
            <ac:spMk id="35" creationId="{3E1FB314-0B4B-4E37-B51E-64C590443006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31.528" v="246"/>
          <ac:spMkLst>
            <pc:docMk/>
            <pc:sldMk cId="1869377767" sldId="591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48.997" v="251"/>
          <ac:spMkLst>
            <pc:docMk/>
            <pc:sldMk cId="1869377767" sldId="591"/>
            <ac:spMk id="38" creationId="{E36C8C52-B31C-4588-B407-A9B8FBEAEE6F}"/>
          </ac:spMkLst>
        </pc:spChg>
        <pc:spChg chg="del">
          <ac:chgData name="Mery Carrasco Mauricio (Codelco-Casa Matriz)" userId="S::mmery004@codelco.cl::a0378191-74de-4d59-9b37-aa421303daba" providerId="AD" clId="Web-{CAB81C7E-29F0-9F11-5F64-F9A29A5091F7}" dt="2021-09-07T21:02:25.511" v="241"/>
          <ac:spMkLst>
            <pc:docMk/>
            <pc:sldMk cId="1869377767" sldId="591"/>
            <ac:spMk id="40" creationId="{80DA0721-0F90-4A6D-AB10-DE73BA9A477C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31.544" v="247"/>
          <ac:spMkLst>
            <pc:docMk/>
            <pc:sldMk cId="1869377767" sldId="591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48.997" v="252"/>
          <ac:spMkLst>
            <pc:docMk/>
            <pc:sldMk cId="1869377767" sldId="591"/>
            <ac:spMk id="43" creationId="{D3E50C62-A68A-4CB0-A20F-755A1D68CAD2}"/>
          </ac:spMkLst>
        </pc:spChg>
        <pc:spChg chg="del">
          <ac:chgData name="Mery Carrasco Mauricio (Codelco-Casa Matriz)" userId="S::mmery004@codelco.cl::a0378191-74de-4d59-9b37-aa421303daba" providerId="AD" clId="Web-{CAB81C7E-29F0-9F11-5F64-F9A29A5091F7}" dt="2021-09-07T21:02:25.511" v="240"/>
          <ac:spMkLst>
            <pc:docMk/>
            <pc:sldMk cId="1869377767" sldId="591"/>
            <ac:spMk id="45" creationId="{5CF579C1-133B-4D95-88C4-B4F3C77226A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31.559" v="248"/>
          <ac:spMkLst>
            <pc:docMk/>
            <pc:sldMk cId="1869377767" sldId="591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3:49.013" v="253"/>
          <ac:spMkLst>
            <pc:docMk/>
            <pc:sldMk cId="1869377767" sldId="591"/>
            <ac:spMk id="48" creationId="{62444E91-07F2-4258-A080-F0F76AFF8F81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CAB81C7E-29F0-9F11-5F64-F9A29A5091F7}" dt="2021-09-07T21:07:01.894" v="326"/>
        <pc:sldMkLst>
          <pc:docMk/>
          <pc:sldMk cId="803501827" sldId="592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21:04:16.889" v="261"/>
          <ac:spMkLst>
            <pc:docMk/>
            <pc:sldMk cId="803501827" sldId="592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02.015" v="278"/>
          <ac:spMkLst>
            <pc:docMk/>
            <pc:sldMk cId="803501827" sldId="592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4:16.842" v="260"/>
          <ac:spMkLst>
            <pc:docMk/>
            <pc:sldMk cId="803501827" sldId="592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02" v="277"/>
          <ac:spMkLst>
            <pc:docMk/>
            <pc:sldMk cId="803501827" sldId="592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4:16.811" v="257"/>
          <ac:spMkLst>
            <pc:docMk/>
            <pc:sldMk cId="803501827" sldId="592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01.984" v="274"/>
          <ac:spMkLst>
            <pc:docMk/>
            <pc:sldMk cId="803501827" sldId="592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4:16.826" v="259"/>
          <ac:spMkLst>
            <pc:docMk/>
            <pc:sldMk cId="803501827" sldId="592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4:44.202" v="272"/>
          <ac:spMkLst>
            <pc:docMk/>
            <pc:sldMk cId="803501827" sldId="592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02" v="276"/>
          <ac:spMkLst>
            <pc:docMk/>
            <pc:sldMk cId="803501827" sldId="592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4:16.811" v="258"/>
          <ac:spMkLst>
            <pc:docMk/>
            <pc:sldMk cId="803501827" sldId="592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01.984" v="275"/>
          <ac:spMkLst>
            <pc:docMk/>
            <pc:sldMk cId="803501827" sldId="592"/>
            <ac:spMk id="48" creationId="{62444E91-07F2-4258-A080-F0F76AFF8F81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CAB81C7E-29F0-9F11-5F64-F9A29A5091F7}" dt="2021-09-07T21:07:01.894" v="325"/>
        <pc:sldMkLst>
          <pc:docMk/>
          <pc:sldMk cId="3627743444" sldId="593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21:05:24.297" v="284"/>
          <ac:spMkLst>
            <pc:docMk/>
            <pc:sldMk cId="3627743444" sldId="593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9.891" v="289"/>
          <ac:spMkLst>
            <pc:docMk/>
            <pc:sldMk cId="3627743444" sldId="593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4.282" v="283"/>
          <ac:spMkLst>
            <pc:docMk/>
            <pc:sldMk cId="3627743444" sldId="593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9.891" v="288"/>
          <ac:spMkLst>
            <pc:docMk/>
            <pc:sldMk cId="3627743444" sldId="593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4.235" v="280"/>
          <ac:spMkLst>
            <pc:docMk/>
            <pc:sldMk cId="3627743444" sldId="593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9.844" v="285"/>
          <ac:spMkLst>
            <pc:docMk/>
            <pc:sldMk cId="3627743444" sldId="593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4.266" v="282"/>
          <ac:spMkLst>
            <pc:docMk/>
            <pc:sldMk cId="3627743444" sldId="593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4.250" v="281"/>
          <ac:spMkLst>
            <pc:docMk/>
            <pc:sldMk cId="3627743444" sldId="593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9.860" v="286"/>
          <ac:spMkLst>
            <pc:docMk/>
            <pc:sldMk cId="3627743444" sldId="593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29.876" v="287"/>
          <ac:spMkLst>
            <pc:docMk/>
            <pc:sldMk cId="3627743444" sldId="593"/>
            <ac:spMk id="46" creationId="{A863237C-ED2D-42C7-9134-B59EF05355B9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CAB81C7E-29F0-9F11-5F64-F9A29A5091F7}" dt="2021-09-07T21:07:01.894" v="324"/>
        <pc:sldMkLst>
          <pc:docMk/>
          <pc:sldMk cId="2232718675" sldId="594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21:05:51.032" v="295"/>
          <ac:spMkLst>
            <pc:docMk/>
            <pc:sldMk cId="2232718675" sldId="594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2.157" v="300"/>
          <ac:spMkLst>
            <pc:docMk/>
            <pc:sldMk cId="2232718675" sldId="594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1.017" v="294"/>
          <ac:spMkLst>
            <pc:docMk/>
            <pc:sldMk cId="2232718675" sldId="594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2.142" v="299"/>
          <ac:spMkLst>
            <pc:docMk/>
            <pc:sldMk cId="2232718675" sldId="594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1.017" v="293"/>
          <ac:spMkLst>
            <pc:docMk/>
            <pc:sldMk cId="2232718675" sldId="594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0.986" v="291"/>
          <ac:spMkLst>
            <pc:docMk/>
            <pc:sldMk cId="2232718675" sldId="594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2.111" v="296"/>
          <ac:spMkLst>
            <pc:docMk/>
            <pc:sldMk cId="2232718675" sldId="594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2.142" v="298"/>
          <ac:spMkLst>
            <pc:docMk/>
            <pc:sldMk cId="2232718675" sldId="594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1.001" v="292"/>
          <ac:spMkLst>
            <pc:docMk/>
            <pc:sldMk cId="2232718675" sldId="594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5:52.126" v="297"/>
          <ac:spMkLst>
            <pc:docMk/>
            <pc:sldMk cId="2232718675" sldId="594"/>
            <ac:spMk id="48" creationId="{62444E91-07F2-4258-A080-F0F76AFF8F81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CAB81C7E-29F0-9F11-5F64-F9A29A5091F7}" dt="2021-09-07T21:07:01.894" v="323"/>
        <pc:sldMkLst>
          <pc:docMk/>
          <pc:sldMk cId="2099791747" sldId="595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21:06:42.159" v="316"/>
          <ac:spMkLst>
            <pc:docMk/>
            <pc:sldMk cId="2099791747" sldId="595"/>
            <ac:spMk id="26" creationId="{3E7A67A2-D2D9-467B-A102-77A1ECE4FD90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7:01.785" v="321"/>
          <ac:spMkLst>
            <pc:docMk/>
            <pc:sldMk cId="2099791747" sldId="595"/>
            <ac:spMk id="29" creationId="{E43FCCA5-0130-49C9-B8D3-A7A5BAE5285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42.112" v="312"/>
          <ac:spMkLst>
            <pc:docMk/>
            <pc:sldMk cId="2099791747" sldId="59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7:01.753" v="317"/>
          <ac:spMkLst>
            <pc:docMk/>
            <pc:sldMk cId="2099791747" sldId="595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42.143" v="315"/>
          <ac:spMkLst>
            <pc:docMk/>
            <pc:sldMk cId="2099791747" sldId="595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42.128" v="313"/>
          <ac:spMkLst>
            <pc:docMk/>
            <pc:sldMk cId="2099791747" sldId="595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7:01.769" v="318"/>
          <ac:spMkLst>
            <pc:docMk/>
            <pc:sldMk cId="2099791747" sldId="595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7:01.785" v="320"/>
          <ac:spMkLst>
            <pc:docMk/>
            <pc:sldMk cId="2099791747" sldId="595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42.128" v="314"/>
          <ac:spMkLst>
            <pc:docMk/>
            <pc:sldMk cId="2099791747" sldId="595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7:01.769" v="319"/>
          <ac:spMkLst>
            <pc:docMk/>
            <pc:sldMk cId="2099791747" sldId="595"/>
            <ac:spMk id="48" creationId="{62444E91-07F2-4258-A080-F0F76AFF8F81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CAB81C7E-29F0-9F11-5F64-F9A29A5091F7}" dt="2021-09-07T21:08:30.303" v="335"/>
        <pc:sldMkLst>
          <pc:docMk/>
          <pc:sldMk cId="1187530251" sldId="596"/>
        </pc:sldMkLst>
        <pc:spChg chg="mod">
          <ac:chgData name="Mery Carrasco Mauricio (Codelco-Casa Matriz)" userId="S::mmery004@codelco.cl::a0378191-74de-4d59-9b37-aa421303daba" providerId="AD" clId="Web-{CAB81C7E-29F0-9F11-5F64-F9A29A5091F7}" dt="2021-09-07T21:06:35.737" v="311"/>
          <ac:spMkLst>
            <pc:docMk/>
            <pc:sldMk cId="1187530251" sldId="596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565" v="306"/>
          <ac:spMkLst>
            <pc:docMk/>
            <pc:sldMk cId="1187530251" sldId="596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706" v="307"/>
          <ac:spMkLst>
            <pc:docMk/>
            <pc:sldMk cId="1187530251" sldId="596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518" v="302"/>
          <ac:spMkLst>
            <pc:docMk/>
            <pc:sldMk cId="1187530251" sldId="596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737" v="310"/>
          <ac:spMkLst>
            <pc:docMk/>
            <pc:sldMk cId="1187530251" sldId="596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706" v="308"/>
          <ac:spMkLst>
            <pc:docMk/>
            <pc:sldMk cId="1187530251" sldId="596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534" v="303"/>
          <ac:spMkLst>
            <pc:docMk/>
            <pc:sldMk cId="1187530251" sldId="596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549" v="305"/>
          <ac:spMkLst>
            <pc:docMk/>
            <pc:sldMk cId="1187530251" sldId="596"/>
            <ac:spMk id="46" creationId="{A863237C-ED2D-42C7-9134-B59EF05355B9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721" v="309"/>
          <ac:spMkLst>
            <pc:docMk/>
            <pc:sldMk cId="1187530251" sldId="596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CAB81C7E-29F0-9F11-5F64-F9A29A5091F7}" dt="2021-09-07T21:06:35.534" v="304"/>
          <ac:spMkLst>
            <pc:docMk/>
            <pc:sldMk cId="1187530251" sldId="596"/>
            <ac:spMk id="48" creationId="{62444E91-07F2-4258-A080-F0F76AFF8F81}"/>
          </ac:spMkLst>
        </pc:spChg>
      </pc:sldChg>
      <pc:sldChg chg="add replId">
        <pc:chgData name="Mery Carrasco Mauricio (Codelco-Casa Matriz)" userId="S::mmery004@codelco.cl::a0378191-74de-4d59-9b37-aa421303daba" providerId="AD" clId="Web-{CAB81C7E-29F0-9F11-5F64-F9A29A5091F7}" dt="2021-09-07T21:07:49.724" v="331"/>
        <pc:sldMkLst>
          <pc:docMk/>
          <pc:sldMk cId="2655872716" sldId="597"/>
        </pc:sldMkLst>
      </pc:sldChg>
      <pc:sldChg chg="add ord replId">
        <pc:chgData name="Mery Carrasco Mauricio (Codelco-Casa Matriz)" userId="S::mmery004@codelco.cl::a0378191-74de-4d59-9b37-aa421303daba" providerId="AD" clId="Web-{CAB81C7E-29F0-9F11-5F64-F9A29A5091F7}" dt="2021-09-07T21:08:13.802" v="333"/>
        <pc:sldMkLst>
          <pc:docMk/>
          <pc:sldMk cId="1743887416" sldId="598"/>
        </pc:sldMkLst>
      </pc:sldChg>
      <pc:sldChg chg="add del replId">
        <pc:chgData name="Mery Carrasco Mauricio (Codelco-Casa Matriz)" userId="S::mmery004@codelco.cl::a0378191-74de-4d59-9b37-aa421303daba" providerId="AD" clId="Web-{CAB81C7E-29F0-9F11-5F64-F9A29A5091F7}" dt="2021-09-07T21:08:52.929" v="341"/>
        <pc:sldMkLst>
          <pc:docMk/>
          <pc:sldMk cId="484986506" sldId="599"/>
        </pc:sldMkLst>
      </pc:sldChg>
    </pc:docChg>
  </pc:docChgLst>
  <pc:docChgLst>
    <pc:chgData name="Carrillo Rojas Daniela (Codelco-Chuquicamata)" userId="S::dcarr014@codelco.cl::b6c6fc0c-fc39-4bf0-8e9d-fb82d681f847" providerId="AD" clId="Web-{1D5C7AFF-3C91-41DE-A6AF-5682BC348B6B}"/>
    <pc:docChg chg="addSld modSld">
      <pc:chgData name="Carrillo Rojas Daniela (Codelco-Chuquicamata)" userId="S::dcarr014@codelco.cl::b6c6fc0c-fc39-4bf0-8e9d-fb82d681f847" providerId="AD" clId="Web-{1D5C7AFF-3C91-41DE-A6AF-5682BC348B6B}" dt="2021-04-29T13:44:12.543" v="103" actId="1076"/>
      <pc:docMkLst>
        <pc:docMk/>
      </pc:docMkLst>
      <pc:sldChg chg="modSp">
        <pc:chgData name="Carrillo Rojas Daniela (Codelco-Chuquicamata)" userId="S::dcarr014@codelco.cl::b6c6fc0c-fc39-4bf0-8e9d-fb82d681f847" providerId="AD" clId="Web-{1D5C7AFF-3C91-41DE-A6AF-5682BC348B6B}" dt="2021-04-29T13:32:11.884" v="14" actId="14100"/>
        <pc:sldMkLst>
          <pc:docMk/>
          <pc:sldMk cId="2155997825" sldId="375"/>
        </pc:sldMkLst>
        <pc:spChg chg="mod">
          <ac:chgData name="Carrillo Rojas Daniela (Codelco-Chuquicamata)" userId="S::dcarr014@codelco.cl::b6c6fc0c-fc39-4bf0-8e9d-fb82d681f847" providerId="AD" clId="Web-{1D5C7AFF-3C91-41DE-A6AF-5682BC348B6B}" dt="2021-04-29T13:29:15.380" v="4" actId="20577"/>
          <ac:spMkLst>
            <pc:docMk/>
            <pc:sldMk cId="2155997825" sldId="375"/>
            <ac:spMk id="7" creationId="{3F067F21-CA09-43F9-8290-4FE824AE6822}"/>
          </ac:spMkLst>
        </pc:spChg>
        <pc:spChg chg="mod">
          <ac:chgData name="Carrillo Rojas Daniela (Codelco-Chuquicamata)" userId="S::dcarr014@codelco.cl::b6c6fc0c-fc39-4bf0-8e9d-fb82d681f847" providerId="AD" clId="Web-{1D5C7AFF-3C91-41DE-A6AF-5682BC348B6B}" dt="2021-04-29T13:29:23.521" v="8" actId="20577"/>
          <ac:spMkLst>
            <pc:docMk/>
            <pc:sldMk cId="2155997825" sldId="375"/>
            <ac:spMk id="27" creationId="{A062FC8C-1E57-4847-93FE-E45C585DFE1C}"/>
          </ac:spMkLst>
        </pc:spChg>
        <pc:spChg chg="mod">
          <ac:chgData name="Carrillo Rojas Daniela (Codelco-Chuquicamata)" userId="S::dcarr014@codelco.cl::b6c6fc0c-fc39-4bf0-8e9d-fb82d681f847" providerId="AD" clId="Web-{1D5C7AFF-3C91-41DE-A6AF-5682BC348B6B}" dt="2021-04-29T13:32:11.884" v="14" actId="14100"/>
          <ac:spMkLst>
            <pc:docMk/>
            <pc:sldMk cId="2155997825" sldId="375"/>
            <ac:spMk id="50" creationId="{CAB885FA-46E1-44EF-8D19-C807FC349CC4}"/>
          </ac:spMkLst>
        </pc:spChg>
      </pc:sldChg>
      <pc:sldChg chg="modSp">
        <pc:chgData name="Carrillo Rojas Daniela (Codelco-Chuquicamata)" userId="S::dcarr014@codelco.cl::b6c6fc0c-fc39-4bf0-8e9d-fb82d681f847" providerId="AD" clId="Web-{1D5C7AFF-3C91-41DE-A6AF-5682BC348B6B}" dt="2021-04-29T13:38:02.408" v="96" actId="1076"/>
        <pc:sldMkLst>
          <pc:docMk/>
          <pc:sldMk cId="78691940" sldId="493"/>
        </pc:sldMkLst>
        <pc:picChg chg="mod">
          <ac:chgData name="Carrillo Rojas Daniela (Codelco-Chuquicamata)" userId="S::dcarr014@codelco.cl::b6c6fc0c-fc39-4bf0-8e9d-fb82d681f847" providerId="AD" clId="Web-{1D5C7AFF-3C91-41DE-A6AF-5682BC348B6B}" dt="2021-04-29T13:38:02.408" v="96" actId="1076"/>
          <ac:picMkLst>
            <pc:docMk/>
            <pc:sldMk cId="78691940" sldId="493"/>
            <ac:picMk id="9" creationId="{D44FB458-216C-4057-945B-BBEFCB0ED542}"/>
          </ac:picMkLst>
        </pc:picChg>
      </pc:sldChg>
      <pc:sldChg chg="addSp delSp modSp add replId">
        <pc:chgData name="Carrillo Rojas Daniela (Codelco-Chuquicamata)" userId="S::dcarr014@codelco.cl::b6c6fc0c-fc39-4bf0-8e9d-fb82d681f847" providerId="AD" clId="Web-{1D5C7AFF-3C91-41DE-A6AF-5682BC348B6B}" dt="2021-04-29T13:44:12.543" v="103" actId="1076"/>
        <pc:sldMkLst>
          <pc:docMk/>
          <pc:sldMk cId="1418399147" sldId="500"/>
        </pc:sldMkLst>
        <pc:spChg chg="mod">
          <ac:chgData name="Carrillo Rojas Daniela (Codelco-Chuquicamata)" userId="S::dcarr014@codelco.cl::b6c6fc0c-fc39-4bf0-8e9d-fb82d681f847" providerId="AD" clId="Web-{1D5C7AFF-3C91-41DE-A6AF-5682BC348B6B}" dt="2021-04-29T13:37:11.907" v="50" actId="20577"/>
          <ac:spMkLst>
            <pc:docMk/>
            <pc:sldMk cId="1418399147" sldId="500"/>
            <ac:spMk id="2" creationId="{32691014-A544-4E4F-BE87-A932997B93E3}"/>
          </ac:spMkLst>
        </pc:spChg>
        <pc:spChg chg="mod">
          <ac:chgData name="Carrillo Rojas Daniela (Codelco-Chuquicamata)" userId="S::dcarr014@codelco.cl::b6c6fc0c-fc39-4bf0-8e9d-fb82d681f847" providerId="AD" clId="Web-{1D5C7AFF-3C91-41DE-A6AF-5682BC348B6B}" dt="2021-04-29T13:37:28.939" v="60" actId="20577"/>
          <ac:spMkLst>
            <pc:docMk/>
            <pc:sldMk cId="1418399147" sldId="500"/>
            <ac:spMk id="31" creationId="{2B9230F2-5CF5-4008-BBA8-64B098C049FE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5.689" v="87"/>
          <ac:spMkLst>
            <pc:docMk/>
            <pc:sldMk cId="1418399147" sldId="500"/>
            <ac:spMk id="49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5.689" v="86"/>
          <ac:spMkLst>
            <pc:docMk/>
            <pc:sldMk cId="1418399147" sldId="500"/>
            <ac:spMk id="50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5.689" v="85"/>
          <ac:spMkLst>
            <pc:docMk/>
            <pc:sldMk cId="1418399147" sldId="500"/>
            <ac:spMk id="74" creationId="{F7D86EA6-F64D-4497-85DC-0831CF82DB16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5.689" v="84"/>
          <ac:spMkLst>
            <pc:docMk/>
            <pc:sldMk cId="1418399147" sldId="500"/>
            <ac:spMk id="75" creationId="{FCE55747-F0FC-4832-919D-86B8F0DB57FD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80"/>
          <ac:spMkLst>
            <pc:docMk/>
            <pc:sldMk cId="1418399147" sldId="500"/>
            <ac:spMk id="497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6"/>
          <ac:spMkLst>
            <pc:docMk/>
            <pc:sldMk cId="1418399147" sldId="500"/>
            <ac:spMk id="498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1"/>
          <ac:spMkLst>
            <pc:docMk/>
            <pc:sldMk cId="1418399147" sldId="500"/>
            <ac:spMk id="503" creationId="{E26637CA-F158-4A39-BCAA-C99168F720AB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20.611" v="53"/>
          <ac:spMkLst>
            <pc:docMk/>
            <pc:sldMk cId="1418399147" sldId="500"/>
            <ac:spMk id="504" creationId="{B8C0D266-4A45-4189-9DAF-7C3EEA42A8BF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4"/>
          <ac:spMkLst>
            <pc:docMk/>
            <pc:sldMk cId="1418399147" sldId="500"/>
            <ac:spMk id="506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2"/>
          <ac:spMkLst>
            <pc:docMk/>
            <pc:sldMk cId="1418399147" sldId="500"/>
            <ac:spMk id="507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5"/>
          <ac:spMkLst>
            <pc:docMk/>
            <pc:sldMk cId="1418399147" sldId="500"/>
            <ac:spMk id="508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3"/>
          <ac:spMkLst>
            <pc:docMk/>
            <pc:sldMk cId="1418399147" sldId="500"/>
            <ac:spMk id="509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6"/>
          <ac:spMkLst>
            <pc:docMk/>
            <pc:sldMk cId="1418399147" sldId="500"/>
            <ac:spMk id="510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2"/>
          <ac:spMkLst>
            <pc:docMk/>
            <pc:sldMk cId="1418399147" sldId="500"/>
            <ac:spMk id="513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70"/>
          <ac:spMkLst>
            <pc:docMk/>
            <pc:sldMk cId="1418399147" sldId="500"/>
            <ac:spMk id="515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9"/>
          <ac:spMkLst>
            <pc:docMk/>
            <pc:sldMk cId="1418399147" sldId="500"/>
            <ac:spMk id="517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1"/>
          <ac:spMkLst>
            <pc:docMk/>
            <pc:sldMk cId="1418399147" sldId="500"/>
            <ac:spMk id="519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08" v="68"/>
          <ac:spMkLst>
            <pc:docMk/>
            <pc:sldMk cId="1418399147" sldId="500"/>
            <ac:spMk id="546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7"/>
          <ac:spMkLst>
            <pc:docMk/>
            <pc:sldMk cId="1418399147" sldId="500"/>
            <ac:spMk id="641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81"/>
          <ac:spMkLst>
            <pc:docMk/>
            <pc:sldMk cId="1418399147" sldId="500"/>
            <ac:spMk id="1231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8"/>
          <ac:spMkLst>
            <pc:docMk/>
            <pc:sldMk cId="1418399147" sldId="500"/>
            <ac:spMk id="1269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9"/>
          <ac:spMkLst>
            <pc:docMk/>
            <pc:sldMk cId="1418399147" sldId="500"/>
            <ac:spMk id="1271" creationId="{4C1F3293-4EFE-461D-940D-7EE66BAE31C5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5"/>
          <ac:spMkLst>
            <pc:docMk/>
            <pc:sldMk cId="1418399147" sldId="500"/>
            <ac:spMk id="1321" creationId="{C27CC442-2132-4F8B-A42C-83F4840CB52B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4"/>
          <ac:spMkLst>
            <pc:docMk/>
            <pc:sldMk cId="1418399147" sldId="500"/>
            <ac:spMk id="1322" creationId="{8D765930-C868-4ADB-928A-13C339274500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16.860" v="51"/>
          <ac:spMkLst>
            <pc:docMk/>
            <pc:sldMk cId="1418399147" sldId="500"/>
            <ac:spMk id="1324" creationId="{3DCFC770-5974-4696-A70C-521F66D7BEDD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2.423" v="73"/>
          <ac:spMkLst>
            <pc:docMk/>
            <pc:sldMk cId="1418399147" sldId="500"/>
            <ac:spMk id="1328" creationId="{E327EF42-5D51-4868-8189-23B4810C1204}"/>
          </ac:spMkLst>
        </pc:spChg>
        <pc:spChg chg="del">
          <ac:chgData name="Carrillo Rojas Daniela (Codelco-Chuquicamata)" userId="S::dcarr014@codelco.cl::b6c6fc0c-fc39-4bf0-8e9d-fb82d681f847" providerId="AD" clId="Web-{1D5C7AFF-3C91-41DE-A6AF-5682BC348B6B}" dt="2021-04-29T13:37:35.689" v="83"/>
          <ac:spMkLst>
            <pc:docMk/>
            <pc:sldMk cId="1418399147" sldId="500"/>
            <ac:spMk id="1329" creationId="{658FB426-C52B-421F-AED6-862E489CD2E8}"/>
          </ac:spMkLst>
        </pc:spChg>
        <pc:grpChg chg="add mod">
          <ac:chgData name="Carrillo Rojas Daniela (Codelco-Chuquicamata)" userId="S::dcarr014@codelco.cl::b6c6fc0c-fc39-4bf0-8e9d-fb82d681f847" providerId="AD" clId="Web-{1D5C7AFF-3C91-41DE-A6AF-5682BC348B6B}" dt="2021-04-29T13:44:12.543" v="103" actId="1076"/>
          <ac:grpSpMkLst>
            <pc:docMk/>
            <pc:sldMk cId="1418399147" sldId="500"/>
            <ac:grpSpMk id="46" creationId="{31B493E8-DCBC-41F3-ABF1-98066C0F28E2}"/>
          </ac:grpSpMkLst>
        </pc:grpChg>
        <pc:graphicFrameChg chg="del">
          <ac:chgData name="Carrillo Rojas Daniela (Codelco-Chuquicamata)" userId="S::dcarr014@codelco.cl::b6c6fc0c-fc39-4bf0-8e9d-fb82d681f847" providerId="AD" clId="Web-{1D5C7AFF-3C91-41DE-A6AF-5682BC348B6B}" dt="2021-04-29T13:37:32.423" v="82"/>
          <ac:graphicFrameMkLst>
            <pc:docMk/>
            <pc:sldMk cId="1418399147" sldId="500"/>
            <ac:graphicFrameMk id="499" creationId="{79091D98-9044-4F04-8BC2-B644BDE71EF5}"/>
          </ac:graphicFrameMkLst>
        </pc:graphicFrameChg>
        <pc:graphicFrameChg chg="del">
          <ac:chgData name="Carrillo Rojas Daniela (Codelco-Chuquicamata)" userId="S::dcarr014@codelco.cl::b6c6fc0c-fc39-4bf0-8e9d-fb82d681f847" providerId="AD" clId="Web-{1D5C7AFF-3C91-41DE-A6AF-5682BC348B6B}" dt="2021-04-29T13:37:20.767" v="54"/>
          <ac:graphicFrameMkLst>
            <pc:docMk/>
            <pc:sldMk cId="1418399147" sldId="500"/>
            <ac:graphicFrameMk id="500" creationId="{1E52890F-A8C1-4F2E-93F6-B1F0C775D028}"/>
          </ac:graphicFrameMkLst>
        </pc:graphicFrameChg>
        <pc:graphicFrameChg chg="del">
          <ac:chgData name="Carrillo Rojas Daniela (Codelco-Chuquicamata)" userId="S::dcarr014@codelco.cl::b6c6fc0c-fc39-4bf0-8e9d-fb82d681f847" providerId="AD" clId="Web-{1D5C7AFF-3C91-41DE-A6AF-5682BC348B6B}" dt="2021-04-29T13:37:32.408" v="67"/>
          <ac:graphicFrameMkLst>
            <pc:docMk/>
            <pc:sldMk cId="1418399147" sldId="500"/>
            <ac:graphicFrameMk id="542" creationId="{34C94016-62DA-4678-9676-98A93190B1EB}"/>
          </ac:graphicFrameMkLst>
        </pc:graphicFrameChg>
        <pc:graphicFrameChg chg="del">
          <ac:chgData name="Carrillo Rojas Daniela (Codelco-Chuquicamata)" userId="S::dcarr014@codelco.cl::b6c6fc0c-fc39-4bf0-8e9d-fb82d681f847" providerId="AD" clId="Web-{1D5C7AFF-3C91-41DE-A6AF-5682BC348B6B}" dt="2021-04-29T13:37:20.314" v="52"/>
          <ac:graphicFrameMkLst>
            <pc:docMk/>
            <pc:sldMk cId="1418399147" sldId="500"/>
            <ac:graphicFrameMk id="547" creationId="{1166CA51-154E-4BEB-B6B4-B8AB40E07A8B}"/>
          </ac:graphicFrameMkLst>
        </pc:graphicFrameChg>
        <pc:picChg chg="add del mod">
          <ac:chgData name="Carrillo Rojas Daniela (Codelco-Chuquicamata)" userId="S::dcarr014@codelco.cl::b6c6fc0c-fc39-4bf0-8e9d-fb82d681f847" providerId="AD" clId="Web-{1D5C7AFF-3C91-41DE-A6AF-5682BC348B6B}" dt="2021-04-29T13:38:07.705" v="98"/>
          <ac:picMkLst>
            <pc:docMk/>
            <pc:sldMk cId="1418399147" sldId="500"/>
            <ac:picMk id="3" creationId="{2E7F68D4-A64E-424D-A27D-4F9706C14059}"/>
          </ac:picMkLst>
        </pc:picChg>
        <pc:picChg chg="add">
          <ac:chgData name="Carrillo Rojas Daniela (Codelco-Chuquicamata)" userId="S::dcarr014@codelco.cl::b6c6fc0c-fc39-4bf0-8e9d-fb82d681f847" providerId="AD" clId="Web-{1D5C7AFF-3C91-41DE-A6AF-5682BC348B6B}" dt="2021-04-29T13:43:53.667" v="99"/>
          <ac:picMkLst>
            <pc:docMk/>
            <pc:sldMk cId="1418399147" sldId="500"/>
            <ac:picMk id="47" creationId="{8F58CC00-34F8-4939-A357-B503C7C176FC}"/>
          </ac:picMkLst>
        </pc:picChg>
        <pc:picChg chg="add">
          <ac:chgData name="Carrillo Rojas Daniela (Codelco-Chuquicamata)" userId="S::dcarr014@codelco.cl::b6c6fc0c-fc39-4bf0-8e9d-fb82d681f847" providerId="AD" clId="Web-{1D5C7AFF-3C91-41DE-A6AF-5682BC348B6B}" dt="2021-04-29T13:43:53.667" v="99"/>
          <ac:picMkLst>
            <pc:docMk/>
            <pc:sldMk cId="1418399147" sldId="500"/>
            <ac:picMk id="48" creationId="{17A4BF85-4519-47C9-A5ED-5464EBF37A6A}"/>
          </ac:picMkLst>
        </pc:picChg>
        <pc:cxnChg chg="del">
          <ac:chgData name="Carrillo Rojas Daniela (Codelco-Chuquicamata)" userId="S::dcarr014@codelco.cl::b6c6fc0c-fc39-4bf0-8e9d-fb82d681f847" providerId="AD" clId="Web-{1D5C7AFF-3C91-41DE-A6AF-5682BC348B6B}" dt="2021-04-29T13:37:35.689" v="90"/>
          <ac:cxnSpMkLst>
            <pc:docMk/>
            <pc:sldMk cId="1418399147" sldId="500"/>
            <ac:cxnSpMk id="630" creationId="{5C62CDA2-2578-49CB-B949-42919F56DAC9}"/>
          </ac:cxnSpMkLst>
        </pc:cxnChg>
        <pc:cxnChg chg="del">
          <ac:chgData name="Carrillo Rojas Daniela (Codelco-Chuquicamata)" userId="S::dcarr014@codelco.cl::b6c6fc0c-fc39-4bf0-8e9d-fb82d681f847" providerId="AD" clId="Web-{1D5C7AFF-3C91-41DE-A6AF-5682BC348B6B}" dt="2021-04-29T13:37:35.689" v="88"/>
          <ac:cxnSpMkLst>
            <pc:docMk/>
            <pc:sldMk cId="1418399147" sldId="500"/>
            <ac:cxnSpMk id="631" creationId="{5138928B-0BF1-4513-A45A-306E8644A63B}"/>
          </ac:cxnSpMkLst>
        </pc:cxnChg>
        <pc:cxnChg chg="del">
          <ac:chgData name="Carrillo Rojas Daniela (Codelco-Chuquicamata)" userId="S::dcarr014@codelco.cl::b6c6fc0c-fc39-4bf0-8e9d-fb82d681f847" providerId="AD" clId="Web-{1D5C7AFF-3C91-41DE-A6AF-5682BC348B6B}" dt="2021-04-29T13:37:35.689" v="89"/>
          <ac:cxnSpMkLst>
            <pc:docMk/>
            <pc:sldMk cId="1418399147" sldId="500"/>
            <ac:cxnSpMk id="632" creationId="{B5E74D08-EC93-47E4-88DC-7F1CA2F6EA8B}"/>
          </ac:cxnSpMkLst>
        </pc:cxnChg>
        <pc:cxnChg chg="del">
          <ac:chgData name="Carrillo Rojas Daniela (Codelco-Chuquicamata)" userId="S::dcarr014@codelco.cl::b6c6fc0c-fc39-4bf0-8e9d-fb82d681f847" providerId="AD" clId="Web-{1D5C7AFF-3C91-41DE-A6AF-5682BC348B6B}" dt="2021-04-29T13:37:35.689" v="91"/>
          <ac:cxnSpMkLst>
            <pc:docMk/>
            <pc:sldMk cId="1418399147" sldId="500"/>
            <ac:cxnSpMk id="633" creationId="{317ABD9F-AE24-43A0-8B0B-FD0F33DF25E4}"/>
          </ac:cxnSpMkLst>
        </pc:cxnChg>
      </pc:sldChg>
    </pc:docChg>
  </pc:docChgLst>
  <pc:docChgLst>
    <pc:chgData name="Ribbeck Baraibar Magdalena (Codelco-Casa Matriz)" userId="S::mribb001@codelco.cl::7bb6843e-b693-4544-85cb-a362c987f4a4" providerId="AD" clId="Web-{E928A652-231B-48CB-B13F-E17044DBB3B6}"/>
    <pc:docChg chg="addSld delSld modSld sldOrd">
      <pc:chgData name="Ribbeck Baraibar Magdalena (Codelco-Casa Matriz)" userId="S::mribb001@codelco.cl::7bb6843e-b693-4544-85cb-a362c987f4a4" providerId="AD" clId="Web-{E928A652-231B-48CB-B13F-E17044DBB3B6}" dt="2021-05-06T12:41:51.965" v="27" actId="14100"/>
      <pc:docMkLst>
        <pc:docMk/>
      </pc:docMkLst>
      <pc:sldChg chg="ord">
        <pc:chgData name="Ribbeck Baraibar Magdalena (Codelco-Casa Matriz)" userId="S::mribb001@codelco.cl::7bb6843e-b693-4544-85cb-a362c987f4a4" providerId="AD" clId="Web-{E928A652-231B-48CB-B13F-E17044DBB3B6}" dt="2021-05-06T12:33:30.418" v="2"/>
        <pc:sldMkLst>
          <pc:docMk/>
          <pc:sldMk cId="78691940" sldId="493"/>
        </pc:sldMkLst>
      </pc:sldChg>
      <pc:sldChg chg="del">
        <pc:chgData name="Ribbeck Baraibar Magdalena (Codelco-Casa Matriz)" userId="S::mribb001@codelco.cl::7bb6843e-b693-4544-85cb-a362c987f4a4" providerId="AD" clId="Web-{E928A652-231B-48CB-B13F-E17044DBB3B6}" dt="2021-05-06T12:33:13.589" v="0"/>
        <pc:sldMkLst>
          <pc:docMk/>
          <pc:sldMk cId="1716051782" sldId="494"/>
        </pc:sldMkLst>
      </pc:sldChg>
      <pc:sldChg chg="addSp delSp modSp new">
        <pc:chgData name="Ribbeck Baraibar Magdalena (Codelco-Casa Matriz)" userId="S::mribb001@codelco.cl::7bb6843e-b693-4544-85cb-a362c987f4a4" providerId="AD" clId="Web-{E928A652-231B-48CB-B13F-E17044DBB3B6}" dt="2021-05-06T12:40:52.666" v="23"/>
        <pc:sldMkLst>
          <pc:docMk/>
          <pc:sldMk cId="3298664609" sldId="504"/>
        </pc:sldMkLst>
        <pc:spChg chg="add del mod">
          <ac:chgData name="Ribbeck Baraibar Magdalena (Codelco-Casa Matriz)" userId="S::mribb001@codelco.cl::7bb6843e-b693-4544-85cb-a362c987f4a4" providerId="AD" clId="Web-{E928A652-231B-48CB-B13F-E17044DBB3B6}" dt="2021-05-06T12:40:52.666" v="23"/>
          <ac:spMkLst>
            <pc:docMk/>
            <pc:sldMk cId="3298664609" sldId="504"/>
            <ac:spMk id="6" creationId="{C7F46763-5A15-4BEA-810D-8382D390CD61}"/>
          </ac:spMkLst>
        </pc:spChg>
        <pc:picChg chg="add del mod">
          <ac:chgData name="Ribbeck Baraibar Magdalena (Codelco-Casa Matriz)" userId="S::mribb001@codelco.cl::7bb6843e-b693-4544-85cb-a362c987f4a4" providerId="AD" clId="Web-{E928A652-231B-48CB-B13F-E17044DBB3B6}" dt="2021-05-06T12:39:40.742" v="10"/>
          <ac:picMkLst>
            <pc:docMk/>
            <pc:sldMk cId="3298664609" sldId="504"/>
            <ac:picMk id="3" creationId="{2603EBC9-6849-4220-9666-9A042B79B95F}"/>
          </ac:picMkLst>
        </pc:picChg>
        <pc:picChg chg="add del mod">
          <ac:chgData name="Ribbeck Baraibar Magdalena (Codelco-Casa Matriz)" userId="S::mribb001@codelco.cl::7bb6843e-b693-4544-85cb-a362c987f4a4" providerId="AD" clId="Web-{E928A652-231B-48CB-B13F-E17044DBB3B6}" dt="2021-05-06T12:39:51.789" v="15"/>
          <ac:picMkLst>
            <pc:docMk/>
            <pc:sldMk cId="3298664609" sldId="504"/>
            <ac:picMk id="4" creationId="{32070528-1198-4284-86AB-FD24851C3AD9}"/>
          </ac:picMkLst>
        </pc:picChg>
        <pc:picChg chg="add mod">
          <ac:chgData name="Ribbeck Baraibar Magdalena (Codelco-Casa Matriz)" userId="S::mribb001@codelco.cl::7bb6843e-b693-4544-85cb-a362c987f4a4" providerId="AD" clId="Web-{E928A652-231B-48CB-B13F-E17044DBB3B6}" dt="2021-05-06T12:40:22.243" v="19" actId="14100"/>
          <ac:picMkLst>
            <pc:docMk/>
            <pc:sldMk cId="3298664609" sldId="504"/>
            <ac:picMk id="5" creationId="{DC3EDF22-5754-4262-968B-978E876758B1}"/>
          </ac:picMkLst>
        </pc:picChg>
      </pc:sldChg>
      <pc:sldChg chg="addSp modSp new">
        <pc:chgData name="Ribbeck Baraibar Magdalena (Codelco-Casa Matriz)" userId="S::mribb001@codelco.cl::7bb6843e-b693-4544-85cb-a362c987f4a4" providerId="AD" clId="Web-{E928A652-231B-48CB-B13F-E17044DBB3B6}" dt="2021-05-06T12:41:51.965" v="27" actId="14100"/>
        <pc:sldMkLst>
          <pc:docMk/>
          <pc:sldMk cId="3458529993" sldId="505"/>
        </pc:sldMkLst>
        <pc:picChg chg="add mod">
          <ac:chgData name="Ribbeck Baraibar Magdalena (Codelco-Casa Matriz)" userId="S::mribb001@codelco.cl::7bb6843e-b693-4544-85cb-a362c987f4a4" providerId="AD" clId="Web-{E928A652-231B-48CB-B13F-E17044DBB3B6}" dt="2021-05-06T12:41:51.965" v="27" actId="14100"/>
          <ac:picMkLst>
            <pc:docMk/>
            <pc:sldMk cId="3458529993" sldId="505"/>
            <ac:picMk id="4" creationId="{0D6B3153-D283-49E9-816C-F215E446B490}"/>
          </ac:picMkLst>
        </pc:picChg>
      </pc:sldChg>
    </pc:docChg>
  </pc:docChgLst>
  <pc:docChgLst>
    <pc:chgData name="Carrillo Rojas Daniela (Codelco-Chuquicamata)" userId="S::dcarr014@codelco.cl::b6c6fc0c-fc39-4bf0-8e9d-fb82d681f847" providerId="AD" clId="Web-{59C9B427-7B60-C8F6-5E26-9CB5631EC8A4}"/>
    <pc:docChg chg="addSld delSld modSld">
      <pc:chgData name="Carrillo Rojas Daniela (Codelco-Chuquicamata)" userId="S::dcarr014@codelco.cl::b6c6fc0c-fc39-4bf0-8e9d-fb82d681f847" providerId="AD" clId="Web-{59C9B427-7B60-C8F6-5E26-9CB5631EC8A4}" dt="2021-04-15T15:24:08.706" v="5" actId="20577"/>
      <pc:docMkLst>
        <pc:docMk/>
      </pc:docMkLst>
      <pc:sldChg chg="modSp">
        <pc:chgData name="Carrillo Rojas Daniela (Codelco-Chuquicamata)" userId="S::dcarr014@codelco.cl::b6c6fc0c-fc39-4bf0-8e9d-fb82d681f847" providerId="AD" clId="Web-{59C9B427-7B60-C8F6-5E26-9CB5631EC8A4}" dt="2021-04-15T15:24:08.706" v="5" actId="20577"/>
        <pc:sldMkLst>
          <pc:docMk/>
          <pc:sldMk cId="1775339418" sldId="440"/>
        </pc:sldMkLst>
        <pc:spChg chg="mod">
          <ac:chgData name="Carrillo Rojas Daniela (Codelco-Chuquicamata)" userId="S::dcarr014@codelco.cl::b6c6fc0c-fc39-4bf0-8e9d-fb82d681f847" providerId="AD" clId="Web-{59C9B427-7B60-C8F6-5E26-9CB5631EC8A4}" dt="2021-04-15T15:24:08.706" v="5" actId="20577"/>
          <ac:spMkLst>
            <pc:docMk/>
            <pc:sldMk cId="1775339418" sldId="440"/>
            <ac:spMk id="18" creationId="{F7890E52-9B17-4ACD-B97D-2013A667226D}"/>
          </ac:spMkLst>
        </pc:spChg>
      </pc:sldChg>
      <pc:sldChg chg="add del">
        <pc:chgData name="Carrillo Rojas Daniela (Codelco-Chuquicamata)" userId="S::dcarr014@codelco.cl::b6c6fc0c-fc39-4bf0-8e9d-fb82d681f847" providerId="AD" clId="Web-{59C9B427-7B60-C8F6-5E26-9CB5631EC8A4}" dt="2021-04-15T15:21:56.625" v="1"/>
        <pc:sldMkLst>
          <pc:docMk/>
          <pc:sldMk cId="941600694" sldId="466"/>
        </pc:sldMkLst>
      </pc:sldChg>
    </pc:docChg>
  </pc:docChgLst>
  <pc:docChgLst>
    <pc:chgData name="Delpino Corrales Esteban (Codelco-Casa Matriz)" userId="S::edelp001@codelco.cl::ff2471f2-e58a-4f56-9381-412d9482f71d" providerId="AD" clId="Web-{D940DAE7-6627-43BE-A745-590C2623D5FE}"/>
    <pc:docChg chg="delSld">
      <pc:chgData name="Delpino Corrales Esteban (Codelco-Casa Matriz)" userId="S::edelp001@codelco.cl::ff2471f2-e58a-4f56-9381-412d9482f71d" providerId="AD" clId="Web-{D940DAE7-6627-43BE-A745-590C2623D5FE}" dt="2021-09-08T15:08:58.797" v="0"/>
      <pc:docMkLst>
        <pc:docMk/>
      </pc:docMkLst>
      <pc:sldChg chg="del">
        <pc:chgData name="Delpino Corrales Esteban (Codelco-Casa Matriz)" userId="S::edelp001@codelco.cl::ff2471f2-e58a-4f56-9381-412d9482f71d" providerId="AD" clId="Web-{D940DAE7-6627-43BE-A745-590C2623D5FE}" dt="2021-09-08T15:08:58.797" v="0"/>
        <pc:sldMkLst>
          <pc:docMk/>
          <pc:sldMk cId="779277174" sldId="587"/>
        </pc:sldMkLst>
      </pc:sldChg>
    </pc:docChg>
  </pc:docChgLst>
  <pc:docChgLst>
    <pc:chgData name="Ribbeck Baraibar Magdalena (Codelco-Casa Matriz)" userId="S::mribb001@codelco.cl::7bb6843e-b693-4544-85cb-a362c987f4a4" providerId="AD" clId="Web-{4DF54AFE-F8CB-496C-A3F9-073F5E665215}"/>
    <pc:docChg chg="modSld">
      <pc:chgData name="Ribbeck Baraibar Magdalena (Codelco-Casa Matriz)" userId="S::mribb001@codelco.cl::7bb6843e-b693-4544-85cb-a362c987f4a4" providerId="AD" clId="Web-{4DF54AFE-F8CB-496C-A3F9-073F5E665215}" dt="2021-06-30T19:33:52.287" v="17" actId="20577"/>
      <pc:docMkLst>
        <pc:docMk/>
      </pc:docMkLst>
      <pc:sldChg chg="addSp modSp">
        <pc:chgData name="Ribbeck Baraibar Magdalena (Codelco-Casa Matriz)" userId="S::mribb001@codelco.cl::7bb6843e-b693-4544-85cb-a362c987f4a4" providerId="AD" clId="Web-{4DF54AFE-F8CB-496C-A3F9-073F5E665215}" dt="2021-06-30T19:33:52.287" v="17" actId="20577"/>
        <pc:sldMkLst>
          <pc:docMk/>
          <pc:sldMk cId="3703057871" sldId="548"/>
        </pc:sldMkLst>
        <pc:spChg chg="add mod">
          <ac:chgData name="Ribbeck Baraibar Magdalena (Codelco-Casa Matriz)" userId="S::mribb001@codelco.cl::7bb6843e-b693-4544-85cb-a362c987f4a4" providerId="AD" clId="Web-{4DF54AFE-F8CB-496C-A3F9-073F5E665215}" dt="2021-06-30T19:32:52.394" v="4" actId="1076"/>
          <ac:spMkLst>
            <pc:docMk/>
            <pc:sldMk cId="3703057871" sldId="548"/>
            <ac:spMk id="71" creationId="{7A276AE5-480B-4BEE-956B-83322975E19A}"/>
          </ac:spMkLst>
        </pc:spChg>
        <pc:spChg chg="add mod">
          <ac:chgData name="Ribbeck Baraibar Magdalena (Codelco-Casa Matriz)" userId="S::mribb001@codelco.cl::7bb6843e-b693-4544-85cb-a362c987f4a4" providerId="AD" clId="Web-{4DF54AFE-F8CB-496C-A3F9-073F5E665215}" dt="2021-06-30T19:33:12.598" v="6" actId="1076"/>
          <ac:spMkLst>
            <pc:docMk/>
            <pc:sldMk cId="3703057871" sldId="548"/>
            <ac:spMk id="72" creationId="{DA00A423-DB77-4C20-AB57-EF62288FD31C}"/>
          </ac:spMkLst>
        </pc:spChg>
        <pc:spChg chg="add mod">
          <ac:chgData name="Ribbeck Baraibar Magdalena (Codelco-Casa Matriz)" userId="S::mribb001@codelco.cl::7bb6843e-b693-4544-85cb-a362c987f4a4" providerId="AD" clId="Web-{4DF54AFE-F8CB-496C-A3F9-073F5E665215}" dt="2021-06-30T19:33:52.287" v="17" actId="20577"/>
          <ac:spMkLst>
            <pc:docMk/>
            <pc:sldMk cId="3703057871" sldId="548"/>
            <ac:spMk id="73" creationId="{E95957F4-23D1-4844-8732-82B7308BCC81}"/>
          </ac:spMkLst>
        </pc:spChg>
        <pc:spChg chg="add mod">
          <ac:chgData name="Ribbeck Baraibar Magdalena (Codelco-Casa Matriz)" userId="S::mribb001@codelco.cl::7bb6843e-b693-4544-85cb-a362c987f4a4" providerId="AD" clId="Web-{4DF54AFE-F8CB-496C-A3F9-073F5E665215}" dt="2021-06-30T19:33:46.193" v="16" actId="20577"/>
          <ac:spMkLst>
            <pc:docMk/>
            <pc:sldMk cId="3703057871" sldId="548"/>
            <ac:spMk id="74" creationId="{4190842B-FD13-4DF1-A179-EDF63FF139C9}"/>
          </ac:spMkLst>
        </pc:spChg>
        <pc:spChg chg="mod">
          <ac:chgData name="Ribbeck Baraibar Magdalena (Codelco-Casa Matriz)" userId="S::mribb001@codelco.cl::7bb6843e-b693-4544-85cb-a362c987f4a4" providerId="AD" clId="Web-{4DF54AFE-F8CB-496C-A3F9-073F5E665215}" dt="2021-06-30T19:33:42.740" v="15" actId="20577"/>
          <ac:spMkLst>
            <pc:docMk/>
            <pc:sldMk cId="3703057871" sldId="548"/>
            <ac:spMk id="196" creationId="{523136FE-0665-4A0F-92C8-C06DC606C693}"/>
          </ac:spMkLst>
        </pc:spChg>
      </pc:sldChg>
    </pc:docChg>
  </pc:docChgLst>
  <pc:docChgLst>
    <pc:chgData name="Valenzuela Alfaro Alvaro (Contratista-Casa Matriz)" userId="S::avale036@contratistas.codelco.cl::beebaec1-f16e-436d-a3cd-8566efe3ac18" providerId="AD" clId="Web-{9AE82070-E4CA-3266-2FE1-12B14B9A8CBD}"/>
    <pc:docChg chg="modSld">
      <pc:chgData name="Valenzuela Alfaro Alvaro (Contratista-Casa Matriz)" userId="S::avale036@contratistas.codelco.cl::beebaec1-f16e-436d-a3cd-8566efe3ac18" providerId="AD" clId="Web-{9AE82070-E4CA-3266-2FE1-12B14B9A8CBD}" dt="2021-01-14T00:17:45.338" v="42" actId="1076"/>
      <pc:docMkLst>
        <pc:docMk/>
      </pc:docMkLst>
      <pc:sldChg chg="addSp delSp modSp">
        <pc:chgData name="Valenzuela Alfaro Alvaro (Contratista-Casa Matriz)" userId="S::avale036@contratistas.codelco.cl::beebaec1-f16e-436d-a3cd-8566efe3ac18" providerId="AD" clId="Web-{9AE82070-E4CA-3266-2FE1-12B14B9A8CBD}" dt="2021-01-14T00:17:45.338" v="42" actId="1076"/>
        <pc:sldMkLst>
          <pc:docMk/>
          <pc:sldMk cId="1938484616" sldId="430"/>
        </pc:sldMkLst>
        <pc:spChg chg="mod">
          <ac:chgData name="Valenzuela Alfaro Alvaro (Contratista-Casa Matriz)" userId="S::avale036@contratistas.codelco.cl::beebaec1-f16e-436d-a3cd-8566efe3ac18" providerId="AD" clId="Web-{9AE82070-E4CA-3266-2FE1-12B14B9A8CBD}" dt="2021-01-13T21:20:09.866" v="19" actId="20577"/>
          <ac:spMkLst>
            <pc:docMk/>
            <pc:sldMk cId="1938484616" sldId="430"/>
            <ac:spMk id="2" creationId="{3B51CC00-6664-4925-9D0C-A6074A1416BC}"/>
          </ac:spMkLst>
        </pc:spChg>
        <pc:spChg chg="add del mod">
          <ac:chgData name="Valenzuela Alfaro Alvaro (Contratista-Casa Matriz)" userId="S::avale036@contratistas.codelco.cl::beebaec1-f16e-436d-a3cd-8566efe3ac18" providerId="AD" clId="Web-{9AE82070-E4CA-3266-2FE1-12B14B9A8CBD}" dt="2021-01-13T21:22:12.182" v="40"/>
          <ac:spMkLst>
            <pc:docMk/>
            <pc:sldMk cId="1938484616" sldId="430"/>
            <ac:spMk id="7" creationId="{282D117B-4A72-4F76-8586-6AB9FFA41D6E}"/>
          </ac:spMkLst>
        </pc:spChg>
        <pc:picChg chg="add del mod">
          <ac:chgData name="Valenzuela Alfaro Alvaro (Contratista-Casa Matriz)" userId="S::avale036@contratistas.codelco.cl::beebaec1-f16e-436d-a3cd-8566efe3ac18" providerId="AD" clId="Web-{9AE82070-E4CA-3266-2FE1-12B14B9A8CBD}" dt="2021-01-13T21:20:20.226" v="23"/>
          <ac:picMkLst>
            <pc:docMk/>
            <pc:sldMk cId="1938484616" sldId="430"/>
            <ac:picMk id="5" creationId="{E46F3DB8-2AD8-4B66-9ED6-C4B0564A6B7C}"/>
          </ac:picMkLst>
        </pc:picChg>
        <pc:picChg chg="add mod">
          <ac:chgData name="Valenzuela Alfaro Alvaro (Contratista-Casa Matriz)" userId="S::avale036@contratistas.codelco.cl::beebaec1-f16e-436d-a3cd-8566efe3ac18" providerId="AD" clId="Web-{9AE82070-E4CA-3266-2FE1-12B14B9A8CBD}" dt="2021-01-14T00:17:45.338" v="42" actId="1076"/>
          <ac:picMkLst>
            <pc:docMk/>
            <pc:sldMk cId="1938484616" sldId="430"/>
            <ac:picMk id="6" creationId="{8C37CDBA-AD24-486A-BA91-43944C1C2455}"/>
          </ac:picMkLst>
        </pc:picChg>
      </pc:sldChg>
    </pc:docChg>
  </pc:docChgLst>
  <pc:docChgLst>
    <pc:chgData name="Delpino Corrales Esteban (Codelco-Casa Matriz)" userId="S::edelp001@codelco.cl::ff2471f2-e58a-4f56-9381-412d9482f71d" providerId="AD" clId="Web-{3BC90639-737C-4ABC-8A54-DB55828D6CFB}"/>
    <pc:docChg chg="modSld">
      <pc:chgData name="Delpino Corrales Esteban (Codelco-Casa Matriz)" userId="S::edelp001@codelco.cl::ff2471f2-e58a-4f56-9381-412d9482f71d" providerId="AD" clId="Web-{3BC90639-737C-4ABC-8A54-DB55828D6CFB}" dt="2021-10-07T13:20:02.642" v="22"/>
      <pc:docMkLst>
        <pc:docMk/>
      </pc:docMkLst>
      <pc:sldChg chg="addSp modSp">
        <pc:chgData name="Delpino Corrales Esteban (Codelco-Casa Matriz)" userId="S::edelp001@codelco.cl::ff2471f2-e58a-4f56-9381-412d9482f71d" providerId="AD" clId="Web-{3BC90639-737C-4ABC-8A54-DB55828D6CFB}" dt="2021-10-07T13:20:02.642" v="22"/>
        <pc:sldMkLst>
          <pc:docMk/>
          <pc:sldMk cId="2159727526" sldId="603"/>
        </pc:sldMkLst>
        <pc:spChg chg="mod">
          <ac:chgData name="Delpino Corrales Esteban (Codelco-Casa Matriz)" userId="S::edelp001@codelco.cl::ff2471f2-e58a-4f56-9381-412d9482f71d" providerId="AD" clId="Web-{3BC90639-737C-4ABC-8A54-DB55828D6CFB}" dt="2021-10-07T13:17:57.499" v="1" actId="20577"/>
          <ac:spMkLst>
            <pc:docMk/>
            <pc:sldMk cId="2159727526" sldId="603"/>
            <ac:spMk id="7" creationId="{21C0CFEC-5EF5-495A-A9F0-0591C4096B41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8:47.531" v="8" actId="14100"/>
          <ac:spMkLst>
            <pc:docMk/>
            <pc:sldMk cId="2159727526" sldId="603"/>
            <ac:spMk id="8" creationId="{0111A88B-2E99-4E3F-8CB5-DBDE84A2DD06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9:10.969" v="16" actId="20577"/>
          <ac:spMkLst>
            <pc:docMk/>
            <pc:sldMk cId="2159727526" sldId="603"/>
            <ac:spMk id="18" creationId="{2A5488C6-E0CA-4984-B6A5-01CF1EDF92AD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9:33.954" v="19" actId="1076"/>
          <ac:spMkLst>
            <pc:docMk/>
            <pc:sldMk cId="2159727526" sldId="603"/>
            <ac:spMk id="23" creationId="{022DCB8D-703F-4B06-AAF8-5B3AB54E40FB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8:22.969" v="4" actId="1076"/>
          <ac:spMkLst>
            <pc:docMk/>
            <pc:sldMk cId="2159727526" sldId="603"/>
            <ac:spMk id="24" creationId="{07A0BF65-53A3-48D7-8B72-A292309A650A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8:22.874" v="2" actId="1076"/>
          <ac:spMkLst>
            <pc:docMk/>
            <pc:sldMk cId="2159727526" sldId="603"/>
            <ac:spMk id="26" creationId="{78739219-A9B5-4219-8179-85DF49CB5D30}"/>
          </ac:spMkLst>
        </pc:spChg>
        <pc:spChg chg="add mod">
          <ac:chgData name="Delpino Corrales Esteban (Codelco-Casa Matriz)" userId="S::edelp001@codelco.cl::ff2471f2-e58a-4f56-9381-412d9482f71d" providerId="AD" clId="Web-{3BC90639-737C-4ABC-8A54-DB55828D6CFB}" dt="2021-10-07T13:20:02.642" v="22"/>
          <ac:spMkLst>
            <pc:docMk/>
            <pc:sldMk cId="2159727526" sldId="603"/>
            <ac:spMk id="27" creationId="{9EFBC711-9294-4343-8B58-33486D3273D4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8:47.453" v="7" actId="1076"/>
          <ac:spMkLst>
            <pc:docMk/>
            <pc:sldMk cId="2159727526" sldId="603"/>
            <ac:spMk id="28" creationId="{FCF66038-D907-40C7-8E70-B2230DF61C41}"/>
          </ac:spMkLst>
        </pc:spChg>
        <pc:spChg chg="mod">
          <ac:chgData name="Delpino Corrales Esteban (Codelco-Casa Matriz)" userId="S::edelp001@codelco.cl::ff2471f2-e58a-4f56-9381-412d9482f71d" providerId="AD" clId="Web-{3BC90639-737C-4ABC-8A54-DB55828D6CFB}" dt="2021-10-07T13:18:22.937" v="3" actId="1076"/>
          <ac:spMkLst>
            <pc:docMk/>
            <pc:sldMk cId="2159727526" sldId="603"/>
            <ac:spMk id="30" creationId="{6BDC1C7E-A838-47AD-B0B0-0D85F45B29BB}"/>
          </ac:spMkLst>
        </pc:spChg>
        <pc:cxnChg chg="mod">
          <ac:chgData name="Delpino Corrales Esteban (Codelco-Casa Matriz)" userId="S::edelp001@codelco.cl::ff2471f2-e58a-4f56-9381-412d9482f71d" providerId="AD" clId="Web-{3BC90639-737C-4ABC-8A54-DB55828D6CFB}" dt="2021-10-07T13:18:47.171" v="6" actId="1076"/>
          <ac:cxnSpMkLst>
            <pc:docMk/>
            <pc:sldMk cId="2159727526" sldId="603"/>
            <ac:cxnSpMk id="32" creationId="{B10D3FB9-F861-485B-AD93-BDC1CB277DD7}"/>
          </ac:cxnSpMkLst>
        </pc:cxnChg>
      </pc:sldChg>
    </pc:docChg>
  </pc:docChgLst>
  <pc:docChgLst>
    <pc:chgData name="Allende Bustamante Jose (Codelco-Casa Matriz)" userId="S::jalle011@codelco.cl::54345eee-8770-43bf-b080-e3e333067d62" providerId="AD" clId="Web-{FE3D0A23-9D88-884C-1437-92C9BF9ADBE1}"/>
    <pc:docChg chg="modSld">
      <pc:chgData name="Allende Bustamante Jose (Codelco-Casa Matriz)" userId="S::jalle011@codelco.cl::54345eee-8770-43bf-b080-e3e333067d62" providerId="AD" clId="Web-{FE3D0A23-9D88-884C-1437-92C9BF9ADBE1}" dt="2021-01-26T11:50:16.972" v="183" actId="20577"/>
      <pc:docMkLst>
        <pc:docMk/>
      </pc:docMkLst>
      <pc:sldChg chg="addSp delSp modSp">
        <pc:chgData name="Allende Bustamante Jose (Codelco-Casa Matriz)" userId="S::jalle011@codelco.cl::54345eee-8770-43bf-b080-e3e333067d62" providerId="AD" clId="Web-{FE3D0A23-9D88-884C-1437-92C9BF9ADBE1}" dt="2021-01-26T11:50:16.972" v="183" actId="20577"/>
        <pc:sldMkLst>
          <pc:docMk/>
          <pc:sldMk cId="2155997825" sldId="375"/>
        </pc:sldMkLst>
        <pc:spChg chg="mod">
          <ac:chgData name="Allende Bustamante Jose (Codelco-Casa Matriz)" userId="S::jalle011@codelco.cl::54345eee-8770-43bf-b080-e3e333067d62" providerId="AD" clId="Web-{FE3D0A23-9D88-884C-1437-92C9BF9ADBE1}" dt="2021-01-26T11:48:57.998" v="114" actId="1076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8:58.014" v="115" actId="1076"/>
          <ac:spMkLst>
            <pc:docMk/>
            <pc:sldMk cId="2155997825" sldId="375"/>
            <ac:spMk id="4" creationId="{4E905CBF-F1FF-48C4-AF2B-075028B38C41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05.889" v="129" actId="1076"/>
          <ac:spMkLst>
            <pc:docMk/>
            <pc:sldMk cId="2155997825" sldId="375"/>
            <ac:spMk id="7" creationId="{80511AF6-F770-40FA-A5AD-725FBFDD3A35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9:05.842" v="125" actId="1076"/>
          <ac:spMkLst>
            <pc:docMk/>
            <pc:sldMk cId="2155997825" sldId="375"/>
            <ac:spMk id="17" creationId="{92D7D665-E910-49F2-B784-B5B031CE0DE9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9:05.858" v="126" actId="1076"/>
          <ac:spMkLst>
            <pc:docMk/>
            <pc:sldMk cId="2155997825" sldId="375"/>
            <ac:spMk id="18" creationId="{B682D45E-A165-4DDC-8609-A871608E67E5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05.905" v="130" actId="1076"/>
          <ac:spMkLst>
            <pc:docMk/>
            <pc:sldMk cId="2155997825" sldId="375"/>
            <ac:spMk id="23" creationId="{1076B96B-A461-4C29-8040-F9E89CBE9081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8:58.014" v="116" actId="1076"/>
          <ac:spMkLst>
            <pc:docMk/>
            <pc:sldMk cId="2155997825" sldId="375"/>
            <ac:spMk id="24" creationId="{3AEE07E5-D518-4FC9-8E20-C4CFB2B91087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8:58.030" v="117" actId="1076"/>
          <ac:spMkLst>
            <pc:docMk/>
            <pc:sldMk cId="2155997825" sldId="375"/>
            <ac:spMk id="25" creationId="{E80B0A98-231F-4399-BCC9-B37E9E64DDBC}"/>
          </ac:spMkLst>
        </pc:spChg>
        <pc:spChg chg="del mod">
          <ac:chgData name="Allende Bustamante Jose (Codelco-Casa Matriz)" userId="S::jalle011@codelco.cl::54345eee-8770-43bf-b080-e3e333067d62" providerId="AD" clId="Web-{FE3D0A23-9D88-884C-1437-92C9BF9ADBE1}" dt="2021-01-26T11:46:39.944" v="73"/>
          <ac:spMkLst>
            <pc:docMk/>
            <pc:sldMk cId="2155997825" sldId="375"/>
            <ac:spMk id="26" creationId="{F8467257-695B-40ED-A06B-C2A2DB0B6903}"/>
          </ac:spMkLst>
        </pc:spChg>
        <pc:spChg chg="del mod">
          <ac:chgData name="Allende Bustamante Jose (Codelco-Casa Matriz)" userId="S::jalle011@codelco.cl::54345eee-8770-43bf-b080-e3e333067d62" providerId="AD" clId="Web-{FE3D0A23-9D88-884C-1437-92C9BF9ADBE1}" dt="2021-01-26T11:46:39.944" v="72"/>
          <ac:spMkLst>
            <pc:docMk/>
            <pc:sldMk cId="2155997825" sldId="375"/>
            <ac:spMk id="27" creationId="{EFEBEA8E-D779-4C32-B22F-3A9C1BC4D9B8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05.921" v="131" actId="1076"/>
          <ac:spMkLst>
            <pc:docMk/>
            <pc:sldMk cId="2155997825" sldId="375"/>
            <ac:spMk id="28" creationId="{2E6F6FFB-AB41-4BA3-BA27-D4ED2512B16D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05.921" v="132" actId="1076"/>
          <ac:spMkLst>
            <pc:docMk/>
            <pc:sldMk cId="2155997825" sldId="375"/>
            <ac:spMk id="29" creationId="{4EF6DFB3-BC27-4944-8019-979D1DF80B74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56.502" v="177" actId="14100"/>
          <ac:spMkLst>
            <pc:docMk/>
            <pc:sldMk cId="2155997825" sldId="375"/>
            <ac:spMk id="30" creationId="{FEE198C5-2E50-4D2A-B61B-A1C8C7EC8FC1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045" v="118" actId="1076"/>
          <ac:spMkLst>
            <pc:docMk/>
            <pc:sldMk cId="2155997825" sldId="375"/>
            <ac:spMk id="31" creationId="{86DBACEA-6497-4F1D-9B3B-50212FAF72A6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045" v="119" actId="1076"/>
          <ac:spMkLst>
            <pc:docMk/>
            <pc:sldMk cId="2155997825" sldId="375"/>
            <ac:spMk id="32" creationId="{53AF127B-5295-46A6-9E03-A82F300EF54D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061" v="120" actId="1076"/>
          <ac:spMkLst>
            <pc:docMk/>
            <pc:sldMk cId="2155997825" sldId="375"/>
            <ac:spMk id="33" creationId="{3078310A-EA96-4DC4-9C4B-6EDA17FBF509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076" v="121" actId="1076"/>
          <ac:spMkLst>
            <pc:docMk/>
            <pc:sldMk cId="2155997825" sldId="375"/>
            <ac:spMk id="34" creationId="{B9A9FC0C-9B5B-4F10-82D8-24B19E148E67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076" v="122" actId="1076"/>
          <ac:spMkLst>
            <pc:docMk/>
            <pc:sldMk cId="2155997825" sldId="375"/>
            <ac:spMk id="35" creationId="{73CF1B7A-7CD1-4223-9BB6-4C13C0F6BB83}"/>
          </ac:spMkLst>
        </pc:spChg>
        <pc:spChg chg="add del">
          <ac:chgData name="Allende Bustamante Jose (Codelco-Casa Matriz)" userId="S::jalle011@codelco.cl::54345eee-8770-43bf-b080-e3e333067d62" providerId="AD" clId="Web-{FE3D0A23-9D88-884C-1437-92C9BF9ADBE1}" dt="2021-01-26T11:48:12.886" v="98"/>
          <ac:spMkLst>
            <pc:docMk/>
            <pc:sldMk cId="2155997825" sldId="375"/>
            <ac:spMk id="36" creationId="{8E18AEBC-3BE9-4D59-AA71-90983D661790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50:16.972" v="183" actId="20577"/>
          <ac:spMkLst>
            <pc:docMk/>
            <pc:sldMk cId="2155997825" sldId="375"/>
            <ac:spMk id="37" creationId="{6DE85956-0A08-4CC0-853E-4785B3580718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8:57.967" v="111" actId="1076"/>
          <ac:spMkLst>
            <pc:docMk/>
            <pc:sldMk cId="2155997825" sldId="375"/>
            <ac:spMk id="38" creationId="{E36C8C52-B31C-4588-B407-A9B8FBEAEE6F}"/>
          </ac:spMkLst>
        </pc:spChg>
        <pc:spChg chg="add del">
          <ac:chgData name="Allende Bustamante Jose (Codelco-Casa Matriz)" userId="S::jalle011@codelco.cl::54345eee-8770-43bf-b080-e3e333067d62" providerId="AD" clId="Web-{FE3D0A23-9D88-884C-1437-92C9BF9ADBE1}" dt="2021-01-26T11:48:12.886" v="97"/>
          <ac:spMkLst>
            <pc:docMk/>
            <pc:sldMk cId="2155997825" sldId="375"/>
            <ac:spMk id="39" creationId="{AA208FD3-4079-4E5F-8D6C-97B55E09BCD1}"/>
          </ac:spMkLst>
        </pc:spChg>
        <pc:spChg chg="add del">
          <ac:chgData name="Allende Bustamante Jose (Codelco-Casa Matriz)" userId="S::jalle011@codelco.cl::54345eee-8770-43bf-b080-e3e333067d62" providerId="AD" clId="Web-{FE3D0A23-9D88-884C-1437-92C9BF9ADBE1}" dt="2021-01-26T11:48:24.621" v="102"/>
          <ac:spMkLst>
            <pc:docMk/>
            <pc:sldMk cId="2155997825" sldId="375"/>
            <ac:spMk id="40" creationId="{280B6FFF-1800-4F23-BD57-0DF31BB7BF23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9:05.874" v="127" actId="1076"/>
          <ac:spMkLst>
            <pc:docMk/>
            <pc:sldMk cId="2155997825" sldId="375"/>
            <ac:spMk id="41" creationId="{DE907C1A-0FFF-4431-94AA-1E9BD4429219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9:26.484" v="160" actId="20577"/>
          <ac:spMkLst>
            <pc:docMk/>
            <pc:sldMk cId="2155997825" sldId="375"/>
            <ac:spMk id="42" creationId="{EC348201-1069-4CB5-90C7-D138998005CF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9:15.921" v="134" actId="1076"/>
          <ac:spMkLst>
            <pc:docMk/>
            <pc:sldMk cId="2155997825" sldId="375"/>
            <ac:spMk id="43" creationId="{D3E50C62-A68A-4CB0-A20F-755A1D68CAD2}"/>
          </ac:spMkLst>
        </pc:spChg>
        <pc:spChg chg="add del">
          <ac:chgData name="Allende Bustamante Jose (Codelco-Casa Matriz)" userId="S::jalle011@codelco.cl::54345eee-8770-43bf-b080-e3e333067d62" providerId="AD" clId="Web-{FE3D0A23-9D88-884C-1437-92C9BF9ADBE1}" dt="2021-01-26T11:48:24.621" v="101"/>
          <ac:spMkLst>
            <pc:docMk/>
            <pc:sldMk cId="2155997825" sldId="375"/>
            <ac:spMk id="44" creationId="{0269A390-3F57-4BC7-8A88-506EB0D8D2A8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092" v="123" actId="1076"/>
          <ac:spMkLst>
            <pc:docMk/>
            <pc:sldMk cId="2155997825" sldId="375"/>
            <ac:spMk id="45" creationId="{D1A2EDAD-4C56-48D8-812C-96C1524D0942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9:05.874" v="128" actId="1076"/>
          <ac:spMkLst>
            <pc:docMk/>
            <pc:sldMk cId="2155997825" sldId="375"/>
            <ac:spMk id="46" creationId="{A863237C-ED2D-42C7-9134-B59EF05355B9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8:57.967" v="112" actId="1076"/>
          <ac:spMkLst>
            <pc:docMk/>
            <pc:sldMk cId="2155997825" sldId="375"/>
            <ac:spMk id="47" creationId="{8AFED1E8-722F-4F9D-8B1C-DD0D8C1C324E}"/>
          </ac:spMkLst>
        </pc:spChg>
        <pc:spChg chg="mod">
          <ac:chgData name="Allende Bustamante Jose (Codelco-Casa Matriz)" userId="S::jalle011@codelco.cl::54345eee-8770-43bf-b080-e3e333067d62" providerId="AD" clId="Web-{FE3D0A23-9D88-884C-1437-92C9BF9ADBE1}" dt="2021-01-26T11:48:57.983" v="113" actId="1076"/>
          <ac:spMkLst>
            <pc:docMk/>
            <pc:sldMk cId="2155997825" sldId="375"/>
            <ac:spMk id="48" creationId="{62444E91-07F2-4258-A080-F0F76AFF8F81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8:58.108" v="124" actId="1076"/>
          <ac:spMkLst>
            <pc:docMk/>
            <pc:sldMk cId="2155997825" sldId="375"/>
            <ac:spMk id="49" creationId="{850F40D5-2ED9-451A-A4E8-3CE03642738F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46.298" v="173" actId="20577"/>
          <ac:spMkLst>
            <pc:docMk/>
            <pc:sldMk cId="2155997825" sldId="375"/>
            <ac:spMk id="50" creationId="{CAB885FA-46E1-44EF-8D19-C807FC349CC4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36.657" v="165" actId="1076"/>
          <ac:spMkLst>
            <pc:docMk/>
            <pc:sldMk cId="2155997825" sldId="375"/>
            <ac:spMk id="51" creationId="{F913A60D-2783-4406-9452-4739CB932FC8}"/>
          </ac:spMkLst>
        </pc:spChg>
        <pc:spChg chg="add mod">
          <ac:chgData name="Allende Bustamante Jose (Codelco-Casa Matriz)" userId="S::jalle011@codelco.cl::54345eee-8770-43bf-b080-e3e333067d62" providerId="AD" clId="Web-{FE3D0A23-9D88-884C-1437-92C9BF9ADBE1}" dt="2021-01-26T11:49:36.657" v="166" actId="1076"/>
          <ac:spMkLst>
            <pc:docMk/>
            <pc:sldMk cId="2155997825" sldId="375"/>
            <ac:spMk id="52" creationId="{2034C647-DF97-4B31-A9B5-2E579E7A468A}"/>
          </ac:spMkLst>
        </pc:spChg>
        <pc:picChg chg="add mod">
          <ac:chgData name="Allende Bustamante Jose (Codelco-Casa Matriz)" userId="S::jalle011@codelco.cl::54345eee-8770-43bf-b080-e3e333067d62" providerId="AD" clId="Web-{FE3D0A23-9D88-884C-1437-92C9BF9ADBE1}" dt="2021-01-26T11:44:01.372" v="3" actId="1076"/>
          <ac:picMkLst>
            <pc:docMk/>
            <pc:sldMk cId="2155997825" sldId="375"/>
            <ac:picMk id="6" creationId="{4DB315BC-4C52-43AF-8D1C-98B64D2C3462}"/>
          </ac:picMkLst>
        </pc:picChg>
      </pc:sldChg>
    </pc:docChg>
  </pc:docChgLst>
  <pc:docChgLst>
    <pc:chgData name="Paillacar Oyarzo Paulo Ignacio (Codelco-Casa Matriz)" userId="S::ppail001@codelco.cl::3f9c4ec0-dfff-4bc5-ba03-192dd672e537" providerId="AD" clId="Web-{93B72D4D-A05A-5EED-8736-B803A194E9E0}"/>
    <pc:docChg chg="addSld modSld">
      <pc:chgData name="Paillacar Oyarzo Paulo Ignacio (Codelco-Casa Matriz)" userId="S::ppail001@codelco.cl::3f9c4ec0-dfff-4bc5-ba03-192dd672e537" providerId="AD" clId="Web-{93B72D4D-A05A-5EED-8736-B803A194E9E0}" dt="2021-01-14T14:52:47.800" v="124" actId="20577"/>
      <pc:docMkLst>
        <pc:docMk/>
      </pc:docMkLst>
      <pc:sldChg chg="addSp delSp modSp new">
        <pc:chgData name="Paillacar Oyarzo Paulo Ignacio (Codelco-Casa Matriz)" userId="S::ppail001@codelco.cl::3f9c4ec0-dfff-4bc5-ba03-192dd672e537" providerId="AD" clId="Web-{93B72D4D-A05A-5EED-8736-B803A194E9E0}" dt="2021-01-14T14:52:47.800" v="124" actId="20577"/>
        <pc:sldMkLst>
          <pc:docMk/>
          <pc:sldMk cId="1439892650" sldId="446"/>
        </pc:sldMkLst>
        <pc:spChg chg="mod">
          <ac:chgData name="Paillacar Oyarzo Paulo Ignacio (Codelco-Casa Matriz)" userId="S::ppail001@codelco.cl::3f9c4ec0-dfff-4bc5-ba03-192dd672e537" providerId="AD" clId="Web-{93B72D4D-A05A-5EED-8736-B803A194E9E0}" dt="2021-01-14T14:51:13.169" v="19" actId="20577"/>
          <ac:spMkLst>
            <pc:docMk/>
            <pc:sldMk cId="1439892650" sldId="446"/>
            <ac:spMk id="2" creationId="{E8D619F4-FFC2-4D66-98A1-7C3D58FC3A28}"/>
          </ac:spMkLst>
        </pc:spChg>
        <pc:spChg chg="add mod">
          <ac:chgData name="Paillacar Oyarzo Paulo Ignacio (Codelco-Casa Matriz)" userId="S::ppail001@codelco.cl::3f9c4ec0-dfff-4bc5-ba03-192dd672e537" providerId="AD" clId="Web-{93B72D4D-A05A-5EED-8736-B803A194E9E0}" dt="2021-01-14T14:52:47.800" v="124" actId="20577"/>
          <ac:spMkLst>
            <pc:docMk/>
            <pc:sldMk cId="1439892650" sldId="446"/>
            <ac:spMk id="7" creationId="{748911FB-67EE-4B7C-B285-E95096B7B8EB}"/>
          </ac:spMkLst>
        </pc:spChg>
        <pc:picChg chg="add mod">
          <ac:chgData name="Paillacar Oyarzo Paulo Ignacio (Codelco-Casa Matriz)" userId="S::ppail001@codelco.cl::3f9c4ec0-dfff-4bc5-ba03-192dd672e537" providerId="AD" clId="Web-{93B72D4D-A05A-5EED-8736-B803A194E9E0}" dt="2021-01-14T14:51:40.405" v="29" actId="1076"/>
          <ac:picMkLst>
            <pc:docMk/>
            <pc:sldMk cId="1439892650" sldId="446"/>
            <ac:picMk id="5" creationId="{8861FE34-207C-4BB5-8860-3115822179B3}"/>
          </ac:picMkLst>
        </pc:picChg>
        <pc:picChg chg="add del mod">
          <ac:chgData name="Paillacar Oyarzo Paulo Ignacio (Codelco-Casa Matriz)" userId="S::ppail001@codelco.cl::3f9c4ec0-dfff-4bc5-ba03-192dd672e537" providerId="AD" clId="Web-{93B72D4D-A05A-5EED-8736-B803A194E9E0}" dt="2021-01-14T14:51:38.405" v="28"/>
          <ac:picMkLst>
            <pc:docMk/>
            <pc:sldMk cId="1439892650" sldId="446"/>
            <ac:picMk id="6" creationId="{96276B7C-303D-4C79-8E12-89E4E1A1BF66}"/>
          </ac:picMkLst>
        </pc:picChg>
      </pc:sldChg>
    </pc:docChg>
  </pc:docChgLst>
  <pc:docChgLst>
    <pc:chgData name="Allende Bustamante Jose (Codelco-Casa Matriz)" userId="S::jalle011@codelco.cl::54345eee-8770-43bf-b080-e3e333067d62" providerId="AD" clId="Web-{E963C66C-E097-BBDA-EF6F-D6E06E356F06}"/>
    <pc:docChg chg="delSld modSld">
      <pc:chgData name="Allende Bustamante Jose (Codelco-Casa Matriz)" userId="S::jalle011@codelco.cl::54345eee-8770-43bf-b080-e3e333067d62" providerId="AD" clId="Web-{E963C66C-E097-BBDA-EF6F-D6E06E356F06}" dt="2021-04-15T15:36:28.385" v="516"/>
      <pc:docMkLst>
        <pc:docMk/>
      </pc:docMkLst>
      <pc:sldChg chg="modSp">
        <pc:chgData name="Allende Bustamante Jose (Codelco-Casa Matriz)" userId="S::jalle011@codelco.cl::54345eee-8770-43bf-b080-e3e333067d62" providerId="AD" clId="Web-{E963C66C-E097-BBDA-EF6F-D6E06E356F06}" dt="2021-04-15T15:10:31.649" v="4" actId="20577"/>
        <pc:sldMkLst>
          <pc:docMk/>
          <pc:sldMk cId="474715341" sldId="344"/>
        </pc:sldMkLst>
        <pc:spChg chg="mod">
          <ac:chgData name="Allende Bustamante Jose (Codelco-Casa Matriz)" userId="S::jalle011@codelco.cl::54345eee-8770-43bf-b080-e3e333067d62" providerId="AD" clId="Web-{E963C66C-E097-BBDA-EF6F-D6E06E356F06}" dt="2021-04-15T15:10:31.446" v="2" actId="20577"/>
          <ac:spMkLst>
            <pc:docMk/>
            <pc:sldMk cId="474715341" sldId="344"/>
            <ac:spMk id="15" creationId="{CD0B7DD4-E12F-497F-96B0-2183E0CFDADD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0:31.649" v="4" actId="20577"/>
          <ac:spMkLst>
            <pc:docMk/>
            <pc:sldMk cId="474715341" sldId="344"/>
            <ac:spMk id="16" creationId="{C362A9E2-540B-4ECF-B6C5-C1DF31564628}"/>
          </ac:spMkLst>
        </pc:spChg>
      </pc:sldChg>
      <pc:sldChg chg="addSp delSp modSp">
        <pc:chgData name="Allende Bustamante Jose (Codelco-Casa Matriz)" userId="S::jalle011@codelco.cl::54345eee-8770-43bf-b080-e3e333067d62" providerId="AD" clId="Web-{E963C66C-E097-BBDA-EF6F-D6E06E356F06}" dt="2021-04-15T15:19:58.458" v="229" actId="20577"/>
        <pc:sldMkLst>
          <pc:docMk/>
          <pc:sldMk cId="1544981574" sldId="409"/>
        </pc:sldMkLst>
        <pc:spChg chg="mod">
          <ac:chgData name="Allende Bustamante Jose (Codelco-Casa Matriz)" userId="S::jalle011@codelco.cl::54345eee-8770-43bf-b080-e3e333067d62" providerId="AD" clId="Web-{E963C66C-E097-BBDA-EF6F-D6E06E356F06}" dt="2021-04-15T15:19:58.458" v="229" actId="20577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4:09.888" v="84" actId="20577"/>
          <ac:spMkLst>
            <pc:docMk/>
            <pc:sldMk cId="1544981574" sldId="409"/>
            <ac:spMk id="20" creationId="{5DD814C3-F9E7-44C1-9A20-799B0B7555CF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0:51.899" v="12" actId="20577"/>
          <ac:spMkLst>
            <pc:docMk/>
            <pc:sldMk cId="1544981574" sldId="409"/>
            <ac:spMk id="21" creationId="{839346A3-1820-4C50-8F02-466E51D4A44E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14:15.419" v="85"/>
          <ac:spMkLst>
            <pc:docMk/>
            <pc:sldMk cId="1544981574" sldId="409"/>
            <ac:spMk id="24" creationId="{16B6A73B-5369-43B2-892D-E5686AA01F1D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9:55.630" v="226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0:51.649" v="9" actId="20577"/>
          <ac:spMkLst>
            <pc:docMk/>
            <pc:sldMk cId="1544981574" sldId="409"/>
            <ac:spMk id="28" creationId="{7D87AA50-43C8-48A4-8E56-E0A235C2864A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1:50.854" v="33"/>
          <ac:spMkLst>
            <pc:docMk/>
            <pc:sldMk cId="1544981574" sldId="409"/>
            <ac:spMk id="29" creationId="{31BF07D5-AA9B-42A1-B33C-DC4420D200A2}"/>
          </ac:spMkLst>
        </pc:spChg>
        <pc:spChg chg="add mod">
          <ac:chgData name="Allende Bustamante Jose (Codelco-Casa Matriz)" userId="S::jalle011@codelco.cl::54345eee-8770-43bf-b080-e3e333067d62" providerId="AD" clId="Web-{E963C66C-E097-BBDA-EF6F-D6E06E356F06}" dt="2021-04-15T15:15:50.749" v="131" actId="20577"/>
          <ac:spMkLst>
            <pc:docMk/>
            <pc:sldMk cId="1544981574" sldId="409"/>
            <ac:spMk id="30" creationId="{44A25184-26B8-4AAA-9E65-3A78929CCFB6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0:41.524" v="6" actId="20577"/>
          <ac:spMkLst>
            <pc:docMk/>
            <pc:sldMk cId="1544981574" sldId="409"/>
            <ac:spMk id="31" creationId="{0F0C68C8-7E5C-4702-92C2-12695702903C}"/>
          </ac:spMkLst>
        </pc:spChg>
        <pc:spChg chg="add del mod">
          <ac:chgData name="Allende Bustamante Jose (Codelco-Casa Matriz)" userId="S::jalle011@codelco.cl::54345eee-8770-43bf-b080-e3e333067d62" providerId="AD" clId="Web-{E963C66C-E097-BBDA-EF6F-D6E06E356F06}" dt="2021-04-15T15:18:07.205" v="186" actId="20577"/>
          <ac:spMkLst>
            <pc:docMk/>
            <pc:sldMk cId="1544981574" sldId="409"/>
            <ac:spMk id="32" creationId="{878D481B-74FF-415D-BFF5-A8DD8F0FEC9A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14:38.607" v="95"/>
          <ac:spMkLst>
            <pc:docMk/>
            <pc:sldMk cId="1544981574" sldId="409"/>
            <ac:spMk id="33" creationId="{31CE5E89-228B-4D57-B94B-01974E601762}"/>
          </ac:spMkLst>
        </pc:spChg>
        <pc:spChg chg="add mod">
          <ac:chgData name="Allende Bustamante Jose (Codelco-Casa Matriz)" userId="S::jalle011@codelco.cl::54345eee-8770-43bf-b080-e3e333067d62" providerId="AD" clId="Web-{E963C66C-E097-BBDA-EF6F-D6E06E356F06}" dt="2021-04-15T15:19:34.254" v="221" actId="20577"/>
          <ac:spMkLst>
            <pc:docMk/>
            <pc:sldMk cId="1544981574" sldId="409"/>
            <ac:spMk id="35" creationId="{413C3D54-2186-4FCD-BF79-CC9F7E7512E4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9:45.864" v="224" actId="20577"/>
          <ac:spMkLst>
            <pc:docMk/>
            <pc:sldMk cId="1544981574" sldId="409"/>
            <ac:spMk id="39" creationId="{92D09D5F-B4BB-4B26-A56A-D76176A78E5D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0:43.321" v="7" actId="20577"/>
          <ac:spMkLst>
            <pc:docMk/>
            <pc:sldMk cId="1544981574" sldId="409"/>
            <ac:spMk id="41" creationId="{79B6483E-7060-4A55-A8F4-C7DD2AF3826E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18:16.581" v="187"/>
          <ac:spMkLst>
            <pc:docMk/>
            <pc:sldMk cId="1544981574" sldId="409"/>
            <ac:spMk id="43" creationId="{562E9DD8-242D-4297-8844-6E280DDDCCF3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1:50.744" v="32" actId="20577"/>
          <ac:spMkLst>
            <pc:docMk/>
            <pc:sldMk cId="1544981574" sldId="409"/>
            <ac:spMk id="45" creationId="{6B6D7AF3-CD2C-4C43-9BC8-76C21B1521B2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4:30.857" v="92" actId="20577"/>
          <ac:spMkLst>
            <pc:docMk/>
            <pc:sldMk cId="1544981574" sldId="409"/>
            <ac:spMk id="48" creationId="{DC72A8FA-3B7A-403B-88B7-54617FF605B5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8:36.987" v="201" actId="1076"/>
          <ac:spMkLst>
            <pc:docMk/>
            <pc:sldMk cId="1544981574" sldId="409"/>
            <ac:spMk id="50" creationId="{858D0EEE-7674-4667-BC95-74AC805A08A6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18:30.893" v="200" actId="20577"/>
          <ac:spMkLst>
            <pc:docMk/>
            <pc:sldMk cId="1544981574" sldId="409"/>
            <ac:spMk id="52" creationId="{B595D2F3-9C47-4FEE-9CCC-EBCC6DF263EC}"/>
          </ac:spMkLst>
        </pc:spChg>
      </pc:sldChg>
      <pc:sldChg chg="modSp">
        <pc:chgData name="Allende Bustamante Jose (Codelco-Casa Matriz)" userId="S::jalle011@codelco.cl::54345eee-8770-43bf-b080-e3e333067d62" providerId="AD" clId="Web-{E963C66C-E097-BBDA-EF6F-D6E06E356F06}" dt="2021-04-15T15:26:42.716" v="465" actId="20577"/>
        <pc:sldMkLst>
          <pc:docMk/>
          <pc:sldMk cId="1775339418" sldId="440"/>
        </pc:sldMkLst>
        <pc:spChg chg="mod">
          <ac:chgData name="Allende Bustamante Jose (Codelco-Casa Matriz)" userId="S::jalle011@codelco.cl::54345eee-8770-43bf-b080-e3e333067d62" providerId="AD" clId="Web-{E963C66C-E097-BBDA-EF6F-D6E06E356F06}" dt="2021-04-15T15:26:42.716" v="465" actId="20577"/>
          <ac:spMkLst>
            <pc:docMk/>
            <pc:sldMk cId="1775339418" sldId="440"/>
            <ac:spMk id="18" creationId="{F7890E52-9B17-4ACD-B97D-2013A667226D}"/>
          </ac:spMkLst>
        </pc:spChg>
        <pc:spChg chg="mod">
          <ac:chgData name="Allende Bustamante Jose (Codelco-Casa Matriz)" userId="S::jalle011@codelco.cl::54345eee-8770-43bf-b080-e3e333067d62" providerId="AD" clId="Web-{E963C66C-E097-BBDA-EF6F-D6E06E356F06}" dt="2021-04-15T15:25:37.590" v="419" actId="1076"/>
          <ac:spMkLst>
            <pc:docMk/>
            <pc:sldMk cId="1775339418" sldId="440"/>
            <ac:spMk id="19" creationId="{488562D1-4154-4B20-8682-0B484D7B4DCB}"/>
          </ac:spMkLst>
        </pc:spChg>
      </pc:sldChg>
      <pc:sldChg chg="del">
        <pc:chgData name="Allende Bustamante Jose (Codelco-Casa Matriz)" userId="S::jalle011@codelco.cl::54345eee-8770-43bf-b080-e3e333067d62" providerId="AD" clId="Web-{E963C66C-E097-BBDA-EF6F-D6E06E356F06}" dt="2021-04-15T15:20:58.084" v="230"/>
        <pc:sldMkLst>
          <pc:docMk/>
          <pc:sldMk cId="808467728" sldId="442"/>
        </pc:sldMkLst>
      </pc:sldChg>
      <pc:sldChg chg="del">
        <pc:chgData name="Allende Bustamante Jose (Codelco-Casa Matriz)" userId="S::jalle011@codelco.cl::54345eee-8770-43bf-b080-e3e333067d62" providerId="AD" clId="Web-{E963C66C-E097-BBDA-EF6F-D6E06E356F06}" dt="2021-04-15T15:33:04.896" v="466"/>
        <pc:sldMkLst>
          <pc:docMk/>
          <pc:sldMk cId="3130690881" sldId="448"/>
        </pc:sldMkLst>
      </pc:sldChg>
      <pc:sldChg chg="del">
        <pc:chgData name="Allende Bustamante Jose (Codelco-Casa Matriz)" userId="S::jalle011@codelco.cl::54345eee-8770-43bf-b080-e3e333067d62" providerId="AD" clId="Web-{E963C66C-E097-BBDA-EF6F-D6E06E356F06}" dt="2021-04-15T15:34:10.726" v="469"/>
        <pc:sldMkLst>
          <pc:docMk/>
          <pc:sldMk cId="1645582534" sldId="454"/>
        </pc:sldMkLst>
      </pc:sldChg>
      <pc:sldChg chg="del">
        <pc:chgData name="Allende Bustamante Jose (Codelco-Casa Matriz)" userId="S::jalle011@codelco.cl::54345eee-8770-43bf-b080-e3e333067d62" providerId="AD" clId="Web-{E963C66C-E097-BBDA-EF6F-D6E06E356F06}" dt="2021-04-15T15:33:20.959" v="468"/>
        <pc:sldMkLst>
          <pc:docMk/>
          <pc:sldMk cId="500662025" sldId="455"/>
        </pc:sldMkLst>
      </pc:sldChg>
      <pc:sldChg chg="del">
        <pc:chgData name="Allende Bustamante Jose (Codelco-Casa Matriz)" userId="S::jalle011@codelco.cl::54345eee-8770-43bf-b080-e3e333067d62" providerId="AD" clId="Web-{E963C66C-E097-BBDA-EF6F-D6E06E356F06}" dt="2021-04-15T15:33:16.865" v="467"/>
        <pc:sldMkLst>
          <pc:docMk/>
          <pc:sldMk cId="1664775789" sldId="456"/>
        </pc:sldMkLst>
      </pc:sldChg>
      <pc:sldChg chg="del">
        <pc:chgData name="Allende Bustamante Jose (Codelco-Casa Matriz)" userId="S::jalle011@codelco.cl::54345eee-8770-43bf-b080-e3e333067d62" providerId="AD" clId="Web-{E963C66C-E097-BBDA-EF6F-D6E06E356F06}" dt="2021-04-15T15:36:28.385" v="516"/>
        <pc:sldMkLst>
          <pc:docMk/>
          <pc:sldMk cId="2297803984" sldId="457"/>
        </pc:sldMkLst>
      </pc:sldChg>
      <pc:sldChg chg="delSp">
        <pc:chgData name="Allende Bustamante Jose (Codelco-Casa Matriz)" userId="S::jalle011@codelco.cl::54345eee-8770-43bf-b080-e3e333067d62" providerId="AD" clId="Web-{E963C66C-E097-BBDA-EF6F-D6E06E356F06}" dt="2021-04-15T15:34:45.258" v="478"/>
        <pc:sldMkLst>
          <pc:docMk/>
          <pc:sldMk cId="1352864007" sldId="462"/>
        </pc:sldMkLst>
        <pc:spChg chg="del">
          <ac:chgData name="Allende Bustamante Jose (Codelco-Casa Matriz)" userId="S::jalle011@codelco.cl::54345eee-8770-43bf-b080-e3e333067d62" providerId="AD" clId="Web-{E963C66C-E097-BBDA-EF6F-D6E06E356F06}" dt="2021-04-15T15:34:45.258" v="478"/>
          <ac:spMkLst>
            <pc:docMk/>
            <pc:sldMk cId="1352864007" sldId="462"/>
            <ac:spMk id="7" creationId="{3F067F21-CA09-43F9-8290-4FE824AE6822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7"/>
          <ac:spMkLst>
            <pc:docMk/>
            <pc:sldMk cId="1352864007" sldId="462"/>
            <ac:spMk id="27" creationId="{A062FC8C-1E57-4847-93FE-E45C585DFE1C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6"/>
          <ac:spMkLst>
            <pc:docMk/>
            <pc:sldMk cId="1352864007" sldId="462"/>
            <ac:spMk id="28" creationId="{E62D2DE4-5353-428C-9AD9-568F12103B8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5"/>
          <ac:spMkLst>
            <pc:docMk/>
            <pc:sldMk cId="1352864007" sldId="462"/>
            <ac:spMk id="29" creationId="{FFED319F-853F-4E15-92EB-438E69BFF0A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4"/>
          <ac:spMkLst>
            <pc:docMk/>
            <pc:sldMk cId="1352864007" sldId="462"/>
            <ac:spMk id="30" creationId="{FC6F8EAE-BF9D-4CD4-A556-34E7503884BF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3"/>
          <ac:spMkLst>
            <pc:docMk/>
            <pc:sldMk cId="1352864007" sldId="462"/>
            <ac:spMk id="33" creationId="{D1447759-3F21-48D6-AB39-027999D4AD5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2"/>
          <ac:spMkLst>
            <pc:docMk/>
            <pc:sldMk cId="1352864007" sldId="462"/>
            <ac:spMk id="36" creationId="{F8970961-C770-4524-80ED-EA4CCAC96C75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1"/>
          <ac:spMkLst>
            <pc:docMk/>
            <pc:sldMk cId="1352864007" sldId="462"/>
            <ac:spMk id="39" creationId="{34432FFB-2946-4134-8124-A7CA5A2902DD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45.258" v="470"/>
          <ac:spMkLst>
            <pc:docMk/>
            <pc:sldMk cId="1352864007" sldId="462"/>
            <ac:spMk id="40" creationId="{80DA0721-0F90-4A6D-AB10-DE73BA9A477C}"/>
          </ac:spMkLst>
        </pc:spChg>
      </pc:sldChg>
      <pc:sldChg chg="delSp">
        <pc:chgData name="Allende Bustamante Jose (Codelco-Casa Matriz)" userId="S::jalle011@codelco.cl::54345eee-8770-43bf-b080-e3e333067d62" providerId="AD" clId="Web-{E963C66C-E097-BBDA-EF6F-D6E06E356F06}" dt="2021-04-15T15:34:58.883" v="487"/>
        <pc:sldMkLst>
          <pc:docMk/>
          <pc:sldMk cId="1975661586" sldId="463"/>
        </pc:sldMkLst>
        <pc:spChg chg="del">
          <ac:chgData name="Allende Bustamante Jose (Codelco-Casa Matriz)" userId="S::jalle011@codelco.cl::54345eee-8770-43bf-b080-e3e333067d62" providerId="AD" clId="Web-{E963C66C-E097-BBDA-EF6F-D6E06E356F06}" dt="2021-04-15T15:34:58.883" v="487"/>
          <ac:spMkLst>
            <pc:docMk/>
            <pc:sldMk cId="1975661586" sldId="463"/>
            <ac:spMk id="7" creationId="{3F067F21-CA09-43F9-8290-4FE824AE6822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6"/>
          <ac:spMkLst>
            <pc:docMk/>
            <pc:sldMk cId="1975661586" sldId="463"/>
            <ac:spMk id="27" creationId="{A062FC8C-1E57-4847-93FE-E45C585DFE1C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5"/>
          <ac:spMkLst>
            <pc:docMk/>
            <pc:sldMk cId="1975661586" sldId="463"/>
            <ac:spMk id="28" creationId="{E62D2DE4-5353-428C-9AD9-568F12103B8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4"/>
          <ac:spMkLst>
            <pc:docMk/>
            <pc:sldMk cId="1975661586" sldId="463"/>
            <ac:spMk id="29" creationId="{FFED319F-853F-4E15-92EB-438E69BFF0A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3"/>
          <ac:spMkLst>
            <pc:docMk/>
            <pc:sldMk cId="1975661586" sldId="463"/>
            <ac:spMk id="30" creationId="{FC6F8EAE-BF9D-4CD4-A556-34E7503884BF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2"/>
          <ac:spMkLst>
            <pc:docMk/>
            <pc:sldMk cId="1975661586" sldId="463"/>
            <ac:spMk id="33" creationId="{D1447759-3F21-48D6-AB39-027999D4AD5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1"/>
          <ac:spMkLst>
            <pc:docMk/>
            <pc:sldMk cId="1975661586" sldId="463"/>
            <ac:spMk id="36" creationId="{F8970961-C770-4524-80ED-EA4CCAC96C75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80"/>
          <ac:spMkLst>
            <pc:docMk/>
            <pc:sldMk cId="1975661586" sldId="463"/>
            <ac:spMk id="39" creationId="{34432FFB-2946-4134-8124-A7CA5A2902DD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4:58.883" v="479"/>
          <ac:spMkLst>
            <pc:docMk/>
            <pc:sldMk cId="1975661586" sldId="463"/>
            <ac:spMk id="40" creationId="{80DA0721-0F90-4A6D-AB10-DE73BA9A477C}"/>
          </ac:spMkLst>
        </pc:spChg>
      </pc:sldChg>
      <pc:sldChg chg="del">
        <pc:chgData name="Allende Bustamante Jose (Codelco-Casa Matriz)" userId="S::jalle011@codelco.cl::54345eee-8770-43bf-b080-e3e333067d62" providerId="AD" clId="Web-{E963C66C-E097-BBDA-EF6F-D6E06E356F06}" dt="2021-04-15T15:35:41.337" v="506"/>
        <pc:sldMkLst>
          <pc:docMk/>
          <pc:sldMk cId="594575033" sldId="467"/>
        </pc:sldMkLst>
      </pc:sldChg>
      <pc:sldChg chg="delSp">
        <pc:chgData name="Allende Bustamante Jose (Codelco-Casa Matriz)" userId="S::jalle011@codelco.cl::54345eee-8770-43bf-b080-e3e333067d62" providerId="AD" clId="Web-{E963C66C-E097-BBDA-EF6F-D6E06E356F06}" dt="2021-04-15T15:36:20.181" v="515"/>
        <pc:sldMkLst>
          <pc:docMk/>
          <pc:sldMk cId="1156667839" sldId="468"/>
        </pc:sldMkLst>
        <pc:spChg chg="del">
          <ac:chgData name="Allende Bustamante Jose (Codelco-Casa Matriz)" userId="S::jalle011@codelco.cl::54345eee-8770-43bf-b080-e3e333067d62" providerId="AD" clId="Web-{E963C66C-E097-BBDA-EF6F-D6E06E356F06}" dt="2021-04-15T15:36:20.181" v="515"/>
          <ac:spMkLst>
            <pc:docMk/>
            <pc:sldMk cId="1156667839" sldId="468"/>
            <ac:spMk id="7" creationId="{3F067F21-CA09-43F9-8290-4FE824AE6822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81" v="514"/>
          <ac:spMkLst>
            <pc:docMk/>
            <pc:sldMk cId="1156667839" sldId="468"/>
            <ac:spMk id="27" creationId="{A062FC8C-1E57-4847-93FE-E45C585DFE1C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81" v="513"/>
          <ac:spMkLst>
            <pc:docMk/>
            <pc:sldMk cId="1156667839" sldId="468"/>
            <ac:spMk id="28" creationId="{E62D2DE4-5353-428C-9AD9-568F12103B8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66" v="512"/>
          <ac:spMkLst>
            <pc:docMk/>
            <pc:sldMk cId="1156667839" sldId="468"/>
            <ac:spMk id="29" creationId="{FFED319F-853F-4E15-92EB-438E69BFF0A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66" v="511"/>
          <ac:spMkLst>
            <pc:docMk/>
            <pc:sldMk cId="1156667839" sldId="468"/>
            <ac:spMk id="30" creationId="{FC6F8EAE-BF9D-4CD4-A556-34E7503884BF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66" v="510"/>
          <ac:spMkLst>
            <pc:docMk/>
            <pc:sldMk cId="1156667839" sldId="468"/>
            <ac:spMk id="33" creationId="{D1447759-3F21-48D6-AB39-027999D4AD5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66" v="509"/>
          <ac:spMkLst>
            <pc:docMk/>
            <pc:sldMk cId="1156667839" sldId="468"/>
            <ac:spMk id="36" creationId="{F8970961-C770-4524-80ED-EA4CCAC96C75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66" v="508"/>
          <ac:spMkLst>
            <pc:docMk/>
            <pc:sldMk cId="1156667839" sldId="468"/>
            <ac:spMk id="39" creationId="{34432FFB-2946-4134-8124-A7CA5A2902DD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6:20.166" v="507"/>
          <ac:spMkLst>
            <pc:docMk/>
            <pc:sldMk cId="1156667839" sldId="468"/>
            <ac:spMk id="40" creationId="{80DA0721-0F90-4A6D-AB10-DE73BA9A477C}"/>
          </ac:spMkLst>
        </pc:spChg>
      </pc:sldChg>
      <pc:sldChg chg="delSp">
        <pc:chgData name="Allende Bustamante Jose (Codelco-Casa Matriz)" userId="S::jalle011@codelco.cl::54345eee-8770-43bf-b080-e3e333067d62" providerId="AD" clId="Web-{E963C66C-E097-BBDA-EF6F-D6E06E356F06}" dt="2021-04-15T15:35:25.602" v="496"/>
        <pc:sldMkLst>
          <pc:docMk/>
          <pc:sldMk cId="3720476170" sldId="470"/>
        </pc:sldMkLst>
        <pc:spChg chg="del">
          <ac:chgData name="Allende Bustamante Jose (Codelco-Casa Matriz)" userId="S::jalle011@codelco.cl::54345eee-8770-43bf-b080-e3e333067d62" providerId="AD" clId="Web-{E963C66C-E097-BBDA-EF6F-D6E06E356F06}" dt="2021-04-15T15:35:20.149" v="494"/>
          <ac:spMkLst>
            <pc:docMk/>
            <pc:sldMk cId="3720476170" sldId="470"/>
            <ac:spMk id="7" creationId="{3F067F21-CA09-43F9-8290-4FE824AE6822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0.149" v="493"/>
          <ac:spMkLst>
            <pc:docMk/>
            <pc:sldMk cId="3720476170" sldId="470"/>
            <ac:spMk id="27" creationId="{A062FC8C-1E57-4847-93FE-E45C585DFE1C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0.149" v="492"/>
          <ac:spMkLst>
            <pc:docMk/>
            <pc:sldMk cId="3720476170" sldId="470"/>
            <ac:spMk id="28" creationId="{E62D2DE4-5353-428C-9AD9-568F12103B8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0.149" v="491"/>
          <ac:spMkLst>
            <pc:docMk/>
            <pc:sldMk cId="3720476170" sldId="470"/>
            <ac:spMk id="29" creationId="{FFED319F-853F-4E15-92EB-438E69BFF0A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0.149" v="490"/>
          <ac:spMkLst>
            <pc:docMk/>
            <pc:sldMk cId="3720476170" sldId="470"/>
            <ac:spMk id="30" creationId="{FC6F8EAE-BF9D-4CD4-A556-34E7503884BF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0.149" v="489"/>
          <ac:spMkLst>
            <pc:docMk/>
            <pc:sldMk cId="3720476170" sldId="470"/>
            <ac:spMk id="33" creationId="{D1447759-3F21-48D6-AB39-027999D4AD5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5.602" v="496"/>
          <ac:spMkLst>
            <pc:docMk/>
            <pc:sldMk cId="3720476170" sldId="470"/>
            <ac:spMk id="36" creationId="{F8970961-C770-4524-80ED-EA4CCAC96C75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5.602" v="495"/>
          <ac:spMkLst>
            <pc:docMk/>
            <pc:sldMk cId="3720476170" sldId="470"/>
            <ac:spMk id="39" creationId="{34432FFB-2946-4134-8124-A7CA5A2902DD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20.149" v="488"/>
          <ac:spMkLst>
            <pc:docMk/>
            <pc:sldMk cId="3720476170" sldId="470"/>
            <ac:spMk id="40" creationId="{80DA0721-0F90-4A6D-AB10-DE73BA9A477C}"/>
          </ac:spMkLst>
        </pc:spChg>
      </pc:sldChg>
      <pc:sldChg chg="delSp">
        <pc:chgData name="Allende Bustamante Jose (Codelco-Casa Matriz)" userId="S::jalle011@codelco.cl::54345eee-8770-43bf-b080-e3e333067d62" providerId="AD" clId="Web-{E963C66C-E097-BBDA-EF6F-D6E06E356F06}" dt="2021-04-15T15:35:35.681" v="505"/>
        <pc:sldMkLst>
          <pc:docMk/>
          <pc:sldMk cId="2396319988" sldId="471"/>
        </pc:sldMkLst>
        <pc:spChg chg="del">
          <ac:chgData name="Allende Bustamante Jose (Codelco-Casa Matriz)" userId="S::jalle011@codelco.cl::54345eee-8770-43bf-b080-e3e333067d62" providerId="AD" clId="Web-{E963C66C-E097-BBDA-EF6F-D6E06E356F06}" dt="2021-04-15T15:35:35.681" v="505"/>
          <ac:spMkLst>
            <pc:docMk/>
            <pc:sldMk cId="2396319988" sldId="471"/>
            <ac:spMk id="7" creationId="{3F067F21-CA09-43F9-8290-4FE824AE6822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504"/>
          <ac:spMkLst>
            <pc:docMk/>
            <pc:sldMk cId="2396319988" sldId="471"/>
            <ac:spMk id="27" creationId="{A062FC8C-1E57-4847-93FE-E45C585DFE1C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503"/>
          <ac:spMkLst>
            <pc:docMk/>
            <pc:sldMk cId="2396319988" sldId="471"/>
            <ac:spMk id="28" creationId="{E62D2DE4-5353-428C-9AD9-568F12103B8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502"/>
          <ac:spMkLst>
            <pc:docMk/>
            <pc:sldMk cId="2396319988" sldId="471"/>
            <ac:spMk id="29" creationId="{FFED319F-853F-4E15-92EB-438E69BFF0A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501"/>
          <ac:spMkLst>
            <pc:docMk/>
            <pc:sldMk cId="2396319988" sldId="471"/>
            <ac:spMk id="30" creationId="{FC6F8EAE-BF9D-4CD4-A556-34E7503884BF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500"/>
          <ac:spMkLst>
            <pc:docMk/>
            <pc:sldMk cId="2396319988" sldId="471"/>
            <ac:spMk id="33" creationId="{D1447759-3F21-48D6-AB39-027999D4AD5B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499"/>
          <ac:spMkLst>
            <pc:docMk/>
            <pc:sldMk cId="2396319988" sldId="471"/>
            <ac:spMk id="36" creationId="{F8970961-C770-4524-80ED-EA4CCAC96C75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498"/>
          <ac:spMkLst>
            <pc:docMk/>
            <pc:sldMk cId="2396319988" sldId="471"/>
            <ac:spMk id="39" creationId="{34432FFB-2946-4134-8124-A7CA5A2902DD}"/>
          </ac:spMkLst>
        </pc:spChg>
        <pc:spChg chg="del">
          <ac:chgData name="Allende Bustamante Jose (Codelco-Casa Matriz)" userId="S::jalle011@codelco.cl::54345eee-8770-43bf-b080-e3e333067d62" providerId="AD" clId="Web-{E963C66C-E097-BBDA-EF6F-D6E06E356F06}" dt="2021-04-15T15:35:35.681" v="497"/>
          <ac:spMkLst>
            <pc:docMk/>
            <pc:sldMk cId="2396319988" sldId="471"/>
            <ac:spMk id="40" creationId="{80DA0721-0F90-4A6D-AB10-DE73BA9A477C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F3924AF8-0E4F-50A6-787A-C78AC6790799}"/>
    <pc:docChg chg="modSld">
      <pc:chgData name="Mery Carrasco Mauricio (Codelco-Casa Matriz)" userId="S::mmery004@codelco.cl::a0378191-74de-4d59-9b37-aa421303daba" providerId="AD" clId="Web-{F3924AF8-0E4F-50A6-787A-C78AC6790799}" dt="2021-09-08T16:43:15.194" v="126" actId="20577"/>
      <pc:docMkLst>
        <pc:docMk/>
      </pc:docMkLst>
      <pc:sldChg chg="modSp">
        <pc:chgData name="Mery Carrasco Mauricio (Codelco-Casa Matriz)" userId="S::mmery004@codelco.cl::a0378191-74de-4d59-9b37-aa421303daba" providerId="AD" clId="Web-{F3924AF8-0E4F-50A6-787A-C78AC6790799}" dt="2021-09-08T16:43:15.194" v="126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F3924AF8-0E4F-50A6-787A-C78AC6790799}" dt="2021-09-08T16:40:23.533" v="82" actId="20577"/>
          <ac:spMkLst>
            <pc:docMk/>
            <pc:sldMk cId="1544981574" sldId="409"/>
            <ac:spMk id="32" creationId="{878D481B-74FF-415D-BFF5-A8DD8F0FEC9A}"/>
          </ac:spMkLst>
        </pc:spChg>
        <pc:spChg chg="mod">
          <ac:chgData name="Mery Carrasco Mauricio (Codelco-Casa Matriz)" userId="S::mmery004@codelco.cl::a0378191-74de-4d59-9b37-aa421303daba" providerId="AD" clId="Web-{F3924AF8-0E4F-50A6-787A-C78AC6790799}" dt="2021-09-08T16:43:15.194" v="126" actId="20577"/>
          <ac:spMkLst>
            <pc:docMk/>
            <pc:sldMk cId="1544981574" sldId="409"/>
            <ac:spMk id="35" creationId="{413C3D54-2186-4FCD-BF79-CC9F7E7512E4}"/>
          </ac:spMkLst>
        </pc:spChg>
        <pc:spChg chg="mod">
          <ac:chgData name="Mery Carrasco Mauricio (Codelco-Casa Matriz)" userId="S::mmery004@codelco.cl::a0378191-74de-4d59-9b37-aa421303daba" providerId="AD" clId="Web-{F3924AF8-0E4F-50A6-787A-C78AC6790799}" dt="2021-09-08T16:40:31.112" v="86" actId="20577"/>
          <ac:spMkLst>
            <pc:docMk/>
            <pc:sldMk cId="1544981574" sldId="409"/>
            <ac:spMk id="52" creationId="{B595D2F3-9C47-4FEE-9CCC-EBCC6DF263EC}"/>
          </ac:spMkLst>
        </pc:spChg>
      </pc:sldChg>
    </pc:docChg>
  </pc:docChgLst>
  <pc:docChgLst>
    <pc:chgData name="Mery Carrasco Mauricio (Codelco-Casa Matriz)" userId="S::mmery004@codelco.cl::a0378191-74de-4d59-9b37-aa421303daba" providerId="AD" clId="Web-{5CCC614C-E77C-8CAB-9BE1-5C4A5197B7E8}"/>
    <pc:docChg chg="addSld delSld modSld sldOrd">
      <pc:chgData name="Mery Carrasco Mauricio (Codelco-Casa Matriz)" userId="S::mmery004@codelco.cl::a0378191-74de-4d59-9b37-aa421303daba" providerId="AD" clId="Web-{5CCC614C-E77C-8CAB-9BE1-5C4A5197B7E8}" dt="2021-05-06T15:39:21.673" v="152"/>
      <pc:docMkLst>
        <pc:docMk/>
      </pc:docMkLst>
      <pc:sldChg chg="delSp modSp">
        <pc:chgData name="Mery Carrasco Mauricio (Codelco-Casa Matriz)" userId="S::mmery004@codelco.cl::a0378191-74de-4d59-9b37-aa421303daba" providerId="AD" clId="Web-{5CCC614C-E77C-8CAB-9BE1-5C4A5197B7E8}" dt="2021-05-06T15:25:17.922" v="66"/>
        <pc:sldMkLst>
          <pc:docMk/>
          <pc:sldMk cId="772336465" sldId="346"/>
        </pc:sldMkLst>
        <pc:spChg chg="del">
          <ac:chgData name="Mery Carrasco Mauricio (Codelco-Casa Matriz)" userId="S::mmery004@codelco.cl::a0378191-74de-4d59-9b37-aa421303daba" providerId="AD" clId="Web-{5CCC614C-E77C-8CAB-9BE1-5C4A5197B7E8}" dt="2021-05-06T15:25:17.922" v="66"/>
          <ac:spMkLst>
            <pc:docMk/>
            <pc:sldMk cId="772336465" sldId="346"/>
            <ac:spMk id="4" creationId="{74807A95-85B1-4D64-88E0-3F608E746914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5:17.750" v="65" actId="20577"/>
          <ac:spMkLst>
            <pc:docMk/>
            <pc:sldMk cId="772336465" sldId="346"/>
            <ac:spMk id="9" creationId="{792A0799-6567-4F07-9AC3-5B36D58CDF80}"/>
          </ac:spMkLst>
        </pc:spChg>
      </pc:sldChg>
      <pc:sldChg chg="modSp">
        <pc:chgData name="Mery Carrasco Mauricio (Codelco-Casa Matriz)" userId="S::mmery004@codelco.cl::a0378191-74de-4d59-9b37-aa421303daba" providerId="AD" clId="Web-{5CCC614C-E77C-8CAB-9BE1-5C4A5197B7E8}" dt="2021-05-06T15:39:01.063" v="148" actId="20577"/>
        <pc:sldMkLst>
          <pc:docMk/>
          <pc:sldMk cId="2155997825" sldId="375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39:01.063" v="148" actId="20577"/>
          <ac:spMkLst>
            <pc:docMk/>
            <pc:sldMk cId="2155997825" sldId="37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2:21.352" v="109"/>
          <ac:spMkLst>
            <pc:docMk/>
            <pc:sldMk cId="2155997825" sldId="37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7:12.874" v="131"/>
          <ac:spMkLst>
            <pc:docMk/>
            <pc:sldMk cId="2155997825" sldId="375"/>
            <ac:spMk id="24" creationId="{99091804-6602-4E77-B3DC-179EC9B09D1A}"/>
          </ac:spMkLst>
        </pc:spChg>
      </pc:sldChg>
      <pc:sldChg chg="modSp">
        <pc:chgData name="Mery Carrasco Mauricio (Codelco-Casa Matriz)" userId="S::mmery004@codelco.cl::a0378191-74de-4d59-9b37-aa421303daba" providerId="AD" clId="Web-{5CCC614C-E77C-8CAB-9BE1-5C4A5197B7E8}" dt="2021-05-06T15:13:25.298" v="7" actId="20577"/>
        <pc:sldMkLst>
          <pc:docMk/>
          <pc:sldMk cId="1544981574" sldId="409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13:25.298" v="7" actId="20577"/>
          <ac:spMkLst>
            <pc:docMk/>
            <pc:sldMk cId="1544981574" sldId="409"/>
            <ac:spMk id="19" creationId="{A9EEF7B6-576E-4A25-B47C-4A7D15289EE7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3:00.985" v="3" actId="20577"/>
          <ac:spMkLst>
            <pc:docMk/>
            <pc:sldMk cId="1544981574" sldId="409"/>
            <ac:spMk id="26" creationId="{B4C16604-F189-4BF6-8628-75D0774C0903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2:46.032" v="1" actId="20577"/>
          <ac:spMkLst>
            <pc:docMk/>
            <pc:sldMk cId="1544981574" sldId="409"/>
            <ac:spMk id="39" creationId="{92D09D5F-B4BB-4B26-A56A-D76176A78E5D}"/>
          </ac:spMkLst>
        </pc:spChg>
      </pc:sldChg>
      <pc:sldChg chg="del">
        <pc:chgData name="Mery Carrasco Mauricio (Codelco-Casa Matriz)" userId="S::mmery004@codelco.cl::a0378191-74de-4d59-9b37-aa421303daba" providerId="AD" clId="Web-{5CCC614C-E77C-8CAB-9BE1-5C4A5197B7E8}" dt="2021-05-06T15:24:42.968" v="57"/>
        <pc:sldMkLst>
          <pc:docMk/>
          <pc:sldMk cId="1352864007" sldId="462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26:07.079" v="72"/>
        <pc:sldMkLst>
          <pc:docMk/>
          <pc:sldMk cId="1975661586" sldId="463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38:26.078" v="141"/>
        <pc:sldMkLst>
          <pc:docMk/>
          <pc:sldMk cId="2828386828" sldId="490"/>
        </pc:sldMkLst>
      </pc:sldChg>
      <pc:sldChg chg="ord">
        <pc:chgData name="Mery Carrasco Mauricio (Codelco-Casa Matriz)" userId="S::mmery004@codelco.cl::a0378191-74de-4d59-9b37-aa421303daba" providerId="AD" clId="Web-{5CCC614C-E77C-8CAB-9BE1-5C4A5197B7E8}" dt="2021-05-06T15:34:53.293" v="124"/>
        <pc:sldMkLst>
          <pc:docMk/>
          <pc:sldMk cId="889978394" sldId="492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29:24.052" v="92"/>
        <pc:sldMkLst>
          <pc:docMk/>
          <pc:sldMk cId="4245515824" sldId="496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27:01.971" v="79"/>
        <pc:sldMkLst>
          <pc:docMk/>
          <pc:sldMk cId="2076073396" sldId="497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28:05.050" v="85"/>
        <pc:sldMkLst>
          <pc:docMk/>
          <pc:sldMk cId="2011057260" sldId="498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29:20.083" v="91"/>
        <pc:sldMkLst>
          <pc:docMk/>
          <pc:sldMk cId="148514629" sldId="499"/>
        </pc:sldMkLst>
      </pc:sldChg>
      <pc:sldChg chg="del">
        <pc:chgData name="Mery Carrasco Mauricio (Codelco-Casa Matriz)" userId="S::mmery004@codelco.cl::a0378191-74de-4d59-9b37-aa421303daba" providerId="AD" clId="Web-{5CCC614C-E77C-8CAB-9BE1-5C4A5197B7E8}" dt="2021-05-06T15:37:59.062" v="136"/>
        <pc:sldMkLst>
          <pc:docMk/>
          <pc:sldMk cId="954267347" sldId="501"/>
        </pc:sldMkLst>
      </pc:sldChg>
      <pc:sldChg chg="ord">
        <pc:chgData name="Mery Carrasco Mauricio (Codelco-Casa Matriz)" userId="S::mmery004@codelco.cl::a0378191-74de-4d59-9b37-aa421303daba" providerId="AD" clId="Web-{5CCC614C-E77C-8CAB-9BE1-5C4A5197B7E8}" dt="2021-05-06T15:31:44.180" v="105"/>
        <pc:sldMkLst>
          <pc:docMk/>
          <pc:sldMk cId="3298664609" sldId="504"/>
        </pc:sldMkLst>
      </pc:sldChg>
      <pc:sldChg chg="modSp ord">
        <pc:chgData name="Mery Carrasco Mauricio (Codelco-Casa Matriz)" userId="S::mmery004@codelco.cl::a0378191-74de-4d59-9b37-aa421303daba" providerId="AD" clId="Web-{5CCC614C-E77C-8CAB-9BE1-5C4A5197B7E8}" dt="2021-05-06T15:39:21.673" v="152"/>
        <pc:sldMkLst>
          <pc:docMk/>
          <pc:sldMk cId="3458529993" sldId="505"/>
        </pc:sldMkLst>
        <pc:picChg chg="mod">
          <ac:chgData name="Mery Carrasco Mauricio (Codelco-Casa Matriz)" userId="S::mmery004@codelco.cl::a0378191-74de-4d59-9b37-aa421303daba" providerId="AD" clId="Web-{5CCC614C-E77C-8CAB-9BE1-5C4A5197B7E8}" dt="2021-05-06T15:34:26.574" v="123" actId="14100"/>
          <ac:picMkLst>
            <pc:docMk/>
            <pc:sldMk cId="3458529993" sldId="505"/>
            <ac:picMk id="4" creationId="{0D6B3153-D283-49E9-816C-F215E446B490}"/>
          </ac:picMkLst>
        </pc:picChg>
      </pc:sldChg>
      <pc:sldChg chg="modSp add ord">
        <pc:chgData name="Mery Carrasco Mauricio (Codelco-Casa Matriz)" userId="S::mmery004@codelco.cl::a0378191-74de-4d59-9b37-aa421303daba" providerId="AD" clId="Web-{5CCC614C-E77C-8CAB-9BE1-5C4A5197B7E8}" dt="2021-05-06T15:19:44.681" v="36"/>
        <pc:sldMkLst>
          <pc:docMk/>
          <pc:sldMk cId="136576996" sldId="506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18:13.726" v="34" actId="1076"/>
          <ac:spMkLst>
            <pc:docMk/>
            <pc:sldMk cId="136576996" sldId="506"/>
            <ac:spMk id="44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07.788" v="28" actId="1076"/>
          <ac:spMkLst>
            <pc:docMk/>
            <pc:sldMk cId="136576996" sldId="506"/>
            <ac:spMk id="46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07.773" v="27" actId="1076"/>
          <ac:spMkLst>
            <pc:docMk/>
            <pc:sldMk cId="136576996" sldId="506"/>
            <ac:spMk id="47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07.819" v="29" actId="1076"/>
          <ac:spMkLst>
            <pc:docMk/>
            <pc:sldMk cId="136576996" sldId="506"/>
            <ac:spMk id="48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07.898" v="32" actId="1076"/>
          <ac:spMkLst>
            <pc:docMk/>
            <pc:sldMk cId="136576996" sldId="506"/>
            <ac:spMk id="49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07.851" v="30" actId="1076"/>
          <ac:spMkLst>
            <pc:docMk/>
            <pc:sldMk cId="136576996" sldId="506"/>
            <ac:spMk id="50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07.882" v="31" actId="1076"/>
          <ac:spMkLst>
            <pc:docMk/>
            <pc:sldMk cId="136576996" sldId="506"/>
            <ac:spMk id="51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13.757" v="35" actId="1076"/>
          <ac:spMkLst>
            <pc:docMk/>
            <pc:sldMk cId="136576996" sldId="506"/>
            <ac:spMk id="59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8:13.695" v="33" actId="1076"/>
          <ac:spMkLst>
            <pc:docMk/>
            <pc:sldMk cId="136576996" sldId="506"/>
            <ac:spMk id="62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6:12.786" v="16" actId="20577"/>
          <ac:spMkLst>
            <pc:docMk/>
            <pc:sldMk cId="136576996" sldId="506"/>
            <ac:spMk id="145" creationId="{3F302836-4F68-4641-BD29-64B0A72CA38E}"/>
          </ac:spMkLst>
        </pc:spChg>
        <pc:graphicFrameChg chg="mod">
          <ac:chgData name="Mery Carrasco Mauricio (Codelco-Casa Matriz)" userId="S::mmery004@codelco.cl::a0378191-74de-4d59-9b37-aa421303daba" providerId="AD" clId="Web-{5CCC614C-E77C-8CAB-9BE1-5C4A5197B7E8}" dt="2021-05-06T15:17:43.038" v="25" actId="14100"/>
          <ac:graphicFrameMkLst>
            <pc:docMk/>
            <pc:sldMk cId="136576996" sldId="506"/>
            <ac:graphicFrameMk id="37" creationId="{00000000-0000-0000-0000-000000000000}"/>
          </ac:graphicFrameMkLst>
        </pc:graphicFrameChg>
        <pc:graphicFrameChg chg="mod">
          <ac:chgData name="Mery Carrasco Mauricio (Codelco-Casa Matriz)" userId="S::mmery004@codelco.cl::a0378191-74de-4d59-9b37-aa421303daba" providerId="AD" clId="Web-{5CCC614C-E77C-8CAB-9BE1-5C4A5197B7E8}" dt="2021-05-06T15:18:07.741" v="26" actId="1076"/>
          <ac:graphicFrameMkLst>
            <pc:docMk/>
            <pc:sldMk cId="136576996" sldId="506"/>
            <ac:graphicFrameMk id="83" creationId="{00000000-0000-0000-0000-000000000000}"/>
          </ac:graphicFrameMkLst>
        </pc:graphicFrameChg>
      </pc:sldChg>
      <pc:sldChg chg="modSp add ord">
        <pc:chgData name="Mery Carrasco Mauricio (Codelco-Casa Matriz)" userId="S::mmery004@codelco.cl::a0378191-74de-4d59-9b37-aa421303daba" providerId="AD" clId="Web-{5CCC614C-E77C-8CAB-9BE1-5C4A5197B7E8}" dt="2021-05-06T15:19:44.681" v="37"/>
        <pc:sldMkLst>
          <pc:docMk/>
          <pc:sldMk cId="24165273" sldId="507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17:12.037" v="21" actId="1076"/>
          <ac:spMkLst>
            <pc:docMk/>
            <pc:sldMk cId="24165273" sldId="507"/>
            <ac:spMk id="47" creationId="{00000000-0000-0000-0000-00000000000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16:16.473" v="18" actId="20577"/>
          <ac:spMkLst>
            <pc:docMk/>
            <pc:sldMk cId="24165273" sldId="507"/>
            <ac:spMk id="145" creationId="{3F302836-4F68-4641-BD29-64B0A72CA38E}"/>
          </ac:spMkLst>
        </pc:spChg>
        <pc:graphicFrameChg chg="mod">
          <ac:chgData name="Mery Carrasco Mauricio (Codelco-Casa Matriz)" userId="S::mmery004@codelco.cl::a0378191-74de-4d59-9b37-aa421303daba" providerId="AD" clId="Web-{5CCC614C-E77C-8CAB-9BE1-5C4A5197B7E8}" dt="2021-05-06T15:16:43.443" v="19" actId="14100"/>
          <ac:graphicFrameMkLst>
            <pc:docMk/>
            <pc:sldMk cId="24165273" sldId="507"/>
            <ac:graphicFrameMk id="129" creationId="{00000000-0000-0000-0000-000000000000}"/>
          </ac:graphicFrameMkLst>
        </pc:graphicFrameChg>
        <pc:cxnChg chg="mod">
          <ac:chgData name="Mery Carrasco Mauricio (Codelco-Casa Matriz)" userId="S::mmery004@codelco.cl::a0378191-74de-4d59-9b37-aa421303daba" providerId="AD" clId="Web-{5CCC614C-E77C-8CAB-9BE1-5C4A5197B7E8}" dt="2021-05-06T15:17:32.881" v="24" actId="1076"/>
          <ac:cxnSpMkLst>
            <pc:docMk/>
            <pc:sldMk cId="24165273" sldId="507"/>
            <ac:cxnSpMk id="31" creationId="{00000000-0000-0000-0000-000000000000}"/>
          </ac:cxnSpMkLst>
        </pc:cxnChg>
        <pc:cxnChg chg="mod">
          <ac:chgData name="Mery Carrasco Mauricio (Codelco-Casa Matriz)" userId="S::mmery004@codelco.cl::a0378191-74de-4d59-9b37-aa421303daba" providerId="AD" clId="Web-{5CCC614C-E77C-8CAB-9BE1-5C4A5197B7E8}" dt="2021-05-06T15:17:19.303" v="22" actId="1076"/>
          <ac:cxnSpMkLst>
            <pc:docMk/>
            <pc:sldMk cId="24165273" sldId="507"/>
            <ac:cxnSpMk id="32" creationId="{00000000-0000-0000-0000-000000000000}"/>
          </ac:cxnSpMkLst>
        </pc:cxnChg>
        <pc:cxnChg chg="mod">
          <ac:chgData name="Mery Carrasco Mauricio (Codelco-Casa Matriz)" userId="S::mmery004@codelco.cl::a0378191-74de-4d59-9b37-aa421303daba" providerId="AD" clId="Web-{5CCC614C-E77C-8CAB-9BE1-5C4A5197B7E8}" dt="2021-05-06T15:17:27.537" v="23" actId="1076"/>
          <ac:cxnSpMkLst>
            <pc:docMk/>
            <pc:sldMk cId="24165273" sldId="507"/>
            <ac:cxnSpMk id="33" creationId="{00000000-0000-0000-0000-000000000000}"/>
          </ac:cxnSpMkLst>
        </pc:cxnChg>
      </pc:sldChg>
      <pc:sldChg chg="modSp add replId">
        <pc:chgData name="Mery Carrasco Mauricio (Codelco-Casa Matriz)" userId="S::mmery004@codelco.cl::a0378191-74de-4d59-9b37-aa421303daba" providerId="AD" clId="Web-{5CCC614C-E77C-8CAB-9BE1-5C4A5197B7E8}" dt="2021-05-06T15:24:31.608" v="56"/>
        <pc:sldMkLst>
          <pc:docMk/>
          <pc:sldMk cId="1490313849" sldId="508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23:48.670" v="49"/>
          <ac:spMkLst>
            <pc:docMk/>
            <pc:sldMk cId="1490313849" sldId="508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4:11.999" v="52"/>
          <ac:spMkLst>
            <pc:docMk/>
            <pc:sldMk cId="1490313849" sldId="508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37.545" v="46"/>
          <ac:spMkLst>
            <pc:docMk/>
            <pc:sldMk cId="1490313849" sldId="508"/>
            <ac:spMk id="17" creationId="{552090A5-F322-40DD-8355-465D65FAB046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13.904" v="43"/>
          <ac:spMkLst>
            <pc:docMk/>
            <pc:sldMk cId="1490313849" sldId="508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33.842" v="45"/>
          <ac:spMkLst>
            <pc:docMk/>
            <pc:sldMk cId="1490313849" sldId="508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03.560" v="42"/>
          <ac:spMkLst>
            <pc:docMk/>
            <pc:sldMk cId="1490313849" sldId="508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52.686" v="50"/>
          <ac:spMkLst>
            <pc:docMk/>
            <pc:sldMk cId="1490313849" sldId="508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4:15.749" v="53"/>
          <ac:spMkLst>
            <pc:docMk/>
            <pc:sldMk cId="1490313849" sldId="508"/>
            <ac:spMk id="24" creationId="{99091804-6602-4E77-B3DC-179EC9B09D1A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56.327" v="51"/>
          <ac:spMkLst>
            <pc:docMk/>
            <pc:sldMk cId="1490313849" sldId="508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4:19.296" v="54"/>
          <ac:spMkLst>
            <pc:docMk/>
            <pc:sldMk cId="1490313849" sldId="508"/>
            <ac:spMk id="34" creationId="{4D6685A8-C632-4230-9E08-284878417DE5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45.029" v="48"/>
          <ac:spMkLst>
            <pc:docMk/>
            <pc:sldMk cId="1490313849" sldId="508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4:31.608" v="56"/>
          <ac:spMkLst>
            <pc:docMk/>
            <pc:sldMk cId="1490313849" sldId="508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2:42.247" v="39"/>
          <ac:spMkLst>
            <pc:docMk/>
            <pc:sldMk cId="1490313849" sldId="508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2:49.481" v="40"/>
          <ac:spMkLst>
            <pc:docMk/>
            <pc:sldMk cId="1490313849" sldId="508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41.342" v="47"/>
          <ac:spMkLst>
            <pc:docMk/>
            <pc:sldMk cId="1490313849" sldId="508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4:27.921" v="55"/>
          <ac:spMkLst>
            <pc:docMk/>
            <pc:sldMk cId="1490313849" sldId="508"/>
            <ac:spMk id="48" creationId="{62444E91-07F2-4258-A080-F0F76AFF8F8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30.670" v="44"/>
          <ac:spMkLst>
            <pc:docMk/>
            <pc:sldMk cId="1490313849" sldId="508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3:00.060" v="41"/>
          <ac:spMkLst>
            <pc:docMk/>
            <pc:sldMk cId="1490313849" sldId="508"/>
            <ac:spMk id="51" creationId="{F913A60D-2783-4406-9452-4739CB932FC8}"/>
          </ac:spMkLst>
        </pc:spChg>
      </pc:sldChg>
      <pc:sldChg chg="modSp add replId">
        <pc:chgData name="Mery Carrasco Mauricio (Codelco-Casa Matriz)" userId="S::mmery004@codelco.cl::a0378191-74de-4d59-9b37-aa421303daba" providerId="AD" clId="Web-{5CCC614C-E77C-8CAB-9BE1-5C4A5197B7E8}" dt="2021-05-06T15:26:03.251" v="71"/>
        <pc:sldMkLst>
          <pc:docMk/>
          <pc:sldMk cId="1490156629" sldId="509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25:44.891" v="69"/>
          <ac:spMkLst>
            <pc:docMk/>
            <pc:sldMk cId="1490156629" sldId="509"/>
            <ac:spMk id="41" creationId="{DE907C1A-0FFF-4431-94AA-1E9BD4429219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6:03.251" v="71"/>
          <ac:spMkLst>
            <pc:docMk/>
            <pc:sldMk cId="1490156629" sldId="509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5:53.251" v="70"/>
          <ac:spMkLst>
            <pc:docMk/>
            <pc:sldMk cId="1490156629" sldId="509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5:41.016" v="68"/>
          <ac:spMkLst>
            <pc:docMk/>
            <pc:sldMk cId="1490156629" sldId="509"/>
            <ac:spMk id="46" creationId="{A863237C-ED2D-42C7-9134-B59EF05355B9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5CCC614C-E77C-8CAB-9BE1-5C4A5197B7E8}" dt="2021-05-06T15:26:50.189" v="78"/>
        <pc:sldMkLst>
          <pc:docMk/>
          <pc:sldMk cId="334918088" sldId="510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26:36.705" v="76"/>
          <ac:spMkLst>
            <pc:docMk/>
            <pc:sldMk cId="334918088" sldId="510"/>
            <ac:spMk id="42" creationId="{EC348201-1069-4CB5-90C7-D138998005C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6:40.174" v="77"/>
          <ac:spMkLst>
            <pc:docMk/>
            <pc:sldMk cId="334918088" sldId="510"/>
            <ac:spMk id="43" creationId="{D3E50C62-A68A-4CB0-A20F-755A1D68CAD2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6:32.283" v="75"/>
          <ac:spMkLst>
            <pc:docMk/>
            <pc:sldMk cId="334918088" sldId="510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6:50.189" v="78"/>
          <ac:spMkLst>
            <pc:docMk/>
            <pc:sldMk cId="334918088" sldId="510"/>
            <ac:spMk id="51" creationId="{F913A60D-2783-4406-9452-4739CB932FC8}"/>
          </ac:spMkLst>
        </pc:spChg>
      </pc:sldChg>
      <pc:sldChg chg="modSp add replId">
        <pc:chgData name="Mery Carrasco Mauricio (Codelco-Casa Matriz)" userId="S::mmery004@codelco.cl::a0378191-74de-4d59-9b37-aa421303daba" providerId="AD" clId="Web-{5CCC614C-E77C-8CAB-9BE1-5C4A5197B7E8}" dt="2021-05-06T15:28:01.785" v="84"/>
        <pc:sldMkLst>
          <pc:docMk/>
          <pc:sldMk cId="4083408312" sldId="511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27:50.316" v="82"/>
          <ac:spMkLst>
            <pc:docMk/>
            <pc:sldMk cId="4083408312" sldId="511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7:46.581" v="81"/>
          <ac:spMkLst>
            <pc:docMk/>
            <pc:sldMk cId="4083408312" sldId="511"/>
            <ac:spMk id="20" creationId="{147F67F4-8295-4335-A9A3-880D29F245E0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7:54.425" v="83"/>
          <ac:spMkLst>
            <pc:docMk/>
            <pc:sldMk cId="4083408312" sldId="511"/>
            <ac:spMk id="50" creationId="{CAB885FA-46E1-44EF-8D19-C807FC349CC4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8:01.785" v="84"/>
          <ac:spMkLst>
            <pc:docMk/>
            <pc:sldMk cId="4083408312" sldId="511"/>
            <ac:spMk id="51" creationId="{F913A60D-2783-4406-9452-4739CB932FC8}"/>
          </ac:spMkLst>
        </pc:spChg>
      </pc:sldChg>
      <pc:sldChg chg="modSp add replId">
        <pc:chgData name="Mery Carrasco Mauricio (Codelco-Casa Matriz)" userId="S::mmery004@codelco.cl::a0378191-74de-4d59-9b37-aa421303daba" providerId="AD" clId="Web-{5CCC614C-E77C-8CAB-9BE1-5C4A5197B7E8}" dt="2021-05-06T15:29:15.583" v="90"/>
        <pc:sldMkLst>
          <pc:docMk/>
          <pc:sldMk cId="3232580586" sldId="512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29:10.942" v="89"/>
          <ac:spMkLst>
            <pc:docMk/>
            <pc:sldMk cId="3232580586" sldId="512"/>
            <ac:spMk id="17" creationId="{552090A5-F322-40DD-8355-465D65FAB046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8:48.207" v="87"/>
          <ac:spMkLst>
            <pc:docMk/>
            <pc:sldMk cId="3232580586" sldId="512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8:53.270" v="88"/>
          <ac:spMkLst>
            <pc:docMk/>
            <pc:sldMk cId="3232580586" sldId="512"/>
            <ac:spMk id="19" creationId="{DCBCEB20-8377-429A-B182-F1F2770545F5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29:15.583" v="90"/>
          <ac:spMkLst>
            <pc:docMk/>
            <pc:sldMk cId="3232580586" sldId="512"/>
            <ac:spMk id="20" creationId="{147F67F4-8295-4335-A9A3-880D29F245E0}"/>
          </ac:spMkLst>
        </pc:spChg>
      </pc:sldChg>
      <pc:sldChg chg="modSp add replId">
        <pc:chgData name="Mery Carrasco Mauricio (Codelco-Casa Matriz)" userId="S::mmery004@codelco.cl::a0378191-74de-4d59-9b37-aa421303daba" providerId="AD" clId="Web-{5CCC614C-E77C-8CAB-9BE1-5C4A5197B7E8}" dt="2021-05-06T15:30:20.631" v="97"/>
        <pc:sldMkLst>
          <pc:docMk/>
          <pc:sldMk cId="1516675172" sldId="513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30:16.975" v="96"/>
          <ac:spMkLst>
            <pc:docMk/>
            <pc:sldMk cId="1516675172" sldId="513"/>
            <ac:spMk id="17" creationId="{552090A5-F322-40DD-8355-465D65FAB046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0:20.631" v="97"/>
          <ac:spMkLst>
            <pc:docMk/>
            <pc:sldMk cId="1516675172" sldId="513"/>
            <ac:spMk id="18" creationId="{71192C79-FAE5-4BB2-8C6D-43A9BC271C9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0:13.397" v="95"/>
          <ac:spMkLst>
            <pc:docMk/>
            <pc:sldMk cId="1516675172" sldId="513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0:08.600" v="94"/>
          <ac:spMkLst>
            <pc:docMk/>
            <pc:sldMk cId="1516675172" sldId="513"/>
            <ac:spMk id="48" creationId="{62444E91-07F2-4258-A080-F0F76AFF8F81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5CCC614C-E77C-8CAB-9BE1-5C4A5197B7E8}" dt="2021-05-06T15:31:39.242" v="104"/>
        <pc:sldMkLst>
          <pc:docMk/>
          <pc:sldMk cId="3150566601" sldId="514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31:30.836" v="102"/>
          <ac:spMkLst>
            <pc:docMk/>
            <pc:sldMk cId="3150566601" sldId="514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1:25.976" v="101"/>
          <ac:spMkLst>
            <pc:docMk/>
            <pc:sldMk cId="3150566601" sldId="514"/>
            <ac:spMk id="38" creationId="{E36C8C52-B31C-4588-B407-A9B8FBEAEE6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1:39.242" v="104"/>
          <ac:spMkLst>
            <pc:docMk/>
            <pc:sldMk cId="3150566601" sldId="514"/>
            <ac:spMk id="47" creationId="{8AFED1E8-722F-4F9D-8B1C-DD0D8C1C324E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1:34.320" v="103"/>
          <ac:spMkLst>
            <pc:docMk/>
            <pc:sldMk cId="3150566601" sldId="514"/>
            <ac:spMk id="48" creationId="{62444E91-07F2-4258-A080-F0F76AFF8F81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5CCC614C-E77C-8CAB-9BE1-5C4A5197B7E8}" dt="2021-05-06T15:39:14.439" v="151" actId="20577"/>
        <pc:sldMkLst>
          <pc:docMk/>
          <pc:sldMk cId="503890821" sldId="515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39:14.439" v="151" actId="20577"/>
          <ac:spMkLst>
            <pc:docMk/>
            <pc:sldMk cId="503890821" sldId="515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2:56.150" v="110"/>
          <ac:spMkLst>
            <pc:docMk/>
            <pc:sldMk cId="503890821" sldId="515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3:05.306" v="112"/>
          <ac:spMkLst>
            <pc:docMk/>
            <pc:sldMk cId="503890821" sldId="515"/>
            <ac:spMk id="37" creationId="{6DE85956-0A08-4CC0-853E-4785B358071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3:09.322" v="113"/>
          <ac:spMkLst>
            <pc:docMk/>
            <pc:sldMk cId="503890821" sldId="515"/>
            <ac:spMk id="38" creationId="{E36C8C52-B31C-4588-B407-A9B8FBEAEE6F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5CCC614C-E77C-8CAB-9BE1-5C4A5197B7E8}" dt="2021-05-06T15:37:40.249" v="133"/>
        <pc:sldMkLst>
          <pc:docMk/>
          <pc:sldMk cId="40304363" sldId="516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35:17.168" v="128"/>
          <ac:spMkLst>
            <pc:docMk/>
            <pc:sldMk cId="40304363" sldId="516"/>
            <ac:spMk id="3" creationId="{4248B998-1688-4898-9628-8FF1A9F36A2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7:40.249" v="133"/>
          <ac:spMkLst>
            <pc:docMk/>
            <pc:sldMk cId="40304363" sldId="516"/>
            <ac:spMk id="4" creationId="{4E905CBF-F1FF-48C4-AF2B-075028B38C41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5:12.762" v="127"/>
          <ac:spMkLst>
            <pc:docMk/>
            <pc:sldMk cId="40304363" sldId="516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7:35.327" v="132"/>
          <ac:spMkLst>
            <pc:docMk/>
            <pc:sldMk cId="40304363" sldId="516"/>
            <ac:spMk id="24" creationId="{99091804-6602-4E77-B3DC-179EC9B09D1A}"/>
          </ac:spMkLst>
        </pc:spChg>
      </pc:sldChg>
      <pc:sldChg chg="modSp add ord replId">
        <pc:chgData name="Mery Carrasco Mauricio (Codelco-Casa Matriz)" userId="S::mmery004@codelco.cl::a0378191-74de-4d59-9b37-aa421303daba" providerId="AD" clId="Web-{5CCC614C-E77C-8CAB-9BE1-5C4A5197B7E8}" dt="2021-05-06T15:38:21.688" v="140"/>
        <pc:sldMkLst>
          <pc:docMk/>
          <pc:sldMk cId="985900261" sldId="517"/>
        </pc:sldMkLst>
        <pc:spChg chg="mod">
          <ac:chgData name="Mery Carrasco Mauricio (Codelco-Casa Matriz)" userId="S::mmery004@codelco.cl::a0378191-74de-4d59-9b37-aa421303daba" providerId="AD" clId="Web-{5CCC614C-E77C-8CAB-9BE1-5C4A5197B7E8}" dt="2021-05-06T15:38:17.922" v="139"/>
          <ac:spMkLst>
            <pc:docMk/>
            <pc:sldMk cId="985900261" sldId="517"/>
            <ac:spMk id="23" creationId="{600E4E35-763E-4B81-B795-D3AB27C431DF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8:21.688" v="140"/>
          <ac:spMkLst>
            <pc:docMk/>
            <pc:sldMk cId="985900261" sldId="517"/>
            <ac:spMk id="24" creationId="{99091804-6602-4E77-B3DC-179EC9B09D1A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8:13.906" v="138"/>
          <ac:spMkLst>
            <pc:docMk/>
            <pc:sldMk cId="985900261" sldId="517"/>
            <ac:spMk id="32" creationId="{3660DA99-0A9E-4208-9336-B0076E6B5498}"/>
          </ac:spMkLst>
        </pc:spChg>
        <pc:spChg chg="mod">
          <ac:chgData name="Mery Carrasco Mauricio (Codelco-Casa Matriz)" userId="S::mmery004@codelco.cl::a0378191-74de-4d59-9b37-aa421303daba" providerId="AD" clId="Web-{5CCC614C-E77C-8CAB-9BE1-5C4A5197B7E8}" dt="2021-05-06T15:38:09.141" v="137"/>
          <ac:spMkLst>
            <pc:docMk/>
            <pc:sldMk cId="985900261" sldId="517"/>
            <ac:spMk id="34" creationId="{4D6685A8-C632-4230-9E08-284878417DE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16AE85-EC6B-FA46-A536-3880D224E2C7}" type="datetimeFigureOut">
              <a:rPr lang="es-ES" smtClean="0"/>
              <a:t>07/11/2023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BB5964-3198-054B-A7D4-01D2F9A8F34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080513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ABF21-B12F-2A40-863B-327E430D26D1}" type="datetimeFigureOut">
              <a:rPr lang="es-ES" smtClean="0"/>
              <a:t>07/11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0D8B6B-3DEB-3E46-AC6C-D8E04D3D030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7898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 November 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2243617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12" Type="http://schemas.microsoft.com/office/2007/relationships/hdphoto" Target="../media/hdphoto2.wdp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4.png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1.emf"/><Relationship Id="rId14" Type="http://schemas.microsoft.com/office/2007/relationships/hdphoto" Target="../media/hdphoto3.wdp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image" Target="../media/image8.png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image" Target="../media/image8.png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7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microsoft.com/office/2007/relationships/hdphoto" Target="../media/hdphoto1.wdp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8.png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microsoft.com/office/2007/relationships/hdphoto" Target="../media/hdphoto1.wdp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microsoft.com/office/2007/relationships/hdphoto" Target="../media/hdphoto1.wdp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image" Target="../media/image2.png"/><Relationship Id="rId5" Type="http://schemas.openxmlformats.org/officeDocument/2006/relationships/tags" Target="../tags/tag117.xml"/><Relationship Id="rId10" Type="http://schemas.openxmlformats.org/officeDocument/2006/relationships/image" Target="../media/image1.emf"/><Relationship Id="rId4" Type="http://schemas.openxmlformats.org/officeDocument/2006/relationships/tags" Target="../tags/tag116.xml"/><Relationship Id="rId9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4.xml"/><Relationship Id="rId10" Type="http://schemas.microsoft.com/office/2007/relationships/hdphoto" Target="../media/hdphoto1.wdp"/><Relationship Id="rId4" Type="http://schemas.openxmlformats.org/officeDocument/2006/relationships/tags" Target="../tags/tag123.xml"/><Relationship Id="rId9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5.wdp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49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1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image" Target="../media/image10.png"/><Relationship Id="rId5" Type="http://schemas.openxmlformats.org/officeDocument/2006/relationships/tags" Target="../tags/tag151.xml"/><Relationship Id="rId10" Type="http://schemas.openxmlformats.org/officeDocument/2006/relationships/image" Target="../media/image3.png"/><Relationship Id="rId4" Type="http://schemas.openxmlformats.org/officeDocument/2006/relationships/tags" Target="../tags/tag150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microsoft.com/office/2007/relationships/hdphoto" Target="../media/hdphoto4.wd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7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1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image" Target="../media/image10.png"/><Relationship Id="rId5" Type="http://schemas.openxmlformats.org/officeDocument/2006/relationships/tags" Target="../tags/tag159.xml"/><Relationship Id="rId10" Type="http://schemas.openxmlformats.org/officeDocument/2006/relationships/image" Target="../media/image3.png"/><Relationship Id="rId4" Type="http://schemas.openxmlformats.org/officeDocument/2006/relationships/tags" Target="../tags/tag158.xml"/><Relationship Id="rId9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microsoft.com/office/2007/relationships/hdphoto" Target="../media/hdphoto4.wd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microsoft.com/office/2007/relationships/hdphoto" Target="../media/hdphoto4.wdp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image" Target="../media/image7.emf"/><Relationship Id="rId5" Type="http://schemas.openxmlformats.org/officeDocument/2006/relationships/tags" Target="../tags/tag167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6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5" Type="http://schemas.openxmlformats.org/officeDocument/2006/relationships/tags" Target="../tags/tag175.xml"/><Relationship Id="rId10" Type="http://schemas.openxmlformats.org/officeDocument/2006/relationships/image" Target="../media/image1.emf"/><Relationship Id="rId4" Type="http://schemas.openxmlformats.org/officeDocument/2006/relationships/tags" Target="../tags/tag174.xml"/><Relationship Id="rId9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10" Type="http://schemas.openxmlformats.org/officeDocument/2006/relationships/image" Target="../media/image1.emf"/><Relationship Id="rId4" Type="http://schemas.openxmlformats.org/officeDocument/2006/relationships/tags" Target="../tags/tag181.xml"/><Relationship Id="rId9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1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1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8.pn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7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microsoft.com/office/2007/relationships/hdphoto" Target="../media/hdphoto1.wdp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image" Target="../media/image8.png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7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microsoft.com/office/2007/relationships/hdphoto" Target="../media/hdphoto1.wdp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image" Target="../media/image8.png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7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microsoft.com/office/2007/relationships/hdphoto" Target="../media/hdphoto1.wdp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image" Target="../media/image8.png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3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image" Target="../media/image8.png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7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7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microsoft.com/office/2007/relationships/hdphoto" Target="../media/hdphoto1.wdp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image" Target="../media/image8.png"/><Relationship Id="rId5" Type="http://schemas.openxmlformats.org/officeDocument/2006/relationships/tags" Target="../tags/tag249.xml"/><Relationship Id="rId10" Type="http://schemas.openxmlformats.org/officeDocument/2006/relationships/image" Target="../media/image1.emf"/><Relationship Id="rId4" Type="http://schemas.openxmlformats.org/officeDocument/2006/relationships/tags" Target="../tags/tag248.xml"/><Relationship Id="rId9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6.xml"/><Relationship Id="rId10" Type="http://schemas.microsoft.com/office/2007/relationships/hdphoto" Target="../media/hdphoto1.wdp"/><Relationship Id="rId4" Type="http://schemas.openxmlformats.org/officeDocument/2006/relationships/tags" Target="../tags/tag255.xml"/><Relationship Id="rId9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3.png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microsoft.com/office/2007/relationships/hdphoto" Target="../media/hdphoto1.wdp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image" Target="../media/image8.png"/><Relationship Id="rId5" Type="http://schemas.openxmlformats.org/officeDocument/2006/relationships/tags" Target="../tags/tag261.xml"/><Relationship Id="rId10" Type="http://schemas.openxmlformats.org/officeDocument/2006/relationships/image" Target="../media/image1.emf"/><Relationship Id="rId4" Type="http://schemas.openxmlformats.org/officeDocument/2006/relationships/tags" Target="../tags/tag260.xml"/><Relationship Id="rId9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5.wdp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5" Type="http://schemas.openxmlformats.org/officeDocument/2006/relationships/tags" Target="../tags/tag270.xml"/><Relationship Id="rId10" Type="http://schemas.openxmlformats.org/officeDocument/2006/relationships/image" Target="../media/image1.emf"/><Relationship Id="rId4" Type="http://schemas.openxmlformats.org/officeDocument/2006/relationships/tags" Target="../tags/tag269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1.emf"/><Relationship Id="rId4" Type="http://schemas.openxmlformats.org/officeDocument/2006/relationships/tags" Target="../tags/tag42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1.emf"/><Relationship Id="rId4" Type="http://schemas.openxmlformats.org/officeDocument/2006/relationships/tags" Target="../tags/tag49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1.emf"/><Relationship Id="rId4" Type="http://schemas.openxmlformats.org/officeDocument/2006/relationships/tags" Target="../tags/tag5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1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3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image" Target="../media/image8.png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7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image" Target="../media/image8.png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7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1880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0C09363-4F49-4BCC-9D18-17E1B2B041E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070440" y="-314639"/>
            <a:ext cx="5679813" cy="577277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FF7D992-6A8F-41B9-80F5-A3500F3AB128}"/>
              </a:ext>
            </a:extLst>
          </p:cNvPr>
          <p:cNvSpPr/>
          <p:nvPr userDrawn="1"/>
        </p:nvSpPr>
        <p:spPr>
          <a:xfrm>
            <a:off x="0" y="0"/>
            <a:ext cx="9141619" cy="5143500"/>
          </a:xfrm>
          <a:prstGeom prst="rect">
            <a:avLst/>
          </a:prstGeom>
          <a:solidFill>
            <a:srgbClr val="0098AA">
              <a:alpha val="49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CO" sz="1200" err="1">
              <a:solidFill>
                <a:schemeClr val="bg1"/>
              </a:solidFill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11622" y="4473182"/>
            <a:ext cx="499250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1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1622" y="4159976"/>
            <a:ext cx="4992504" cy="2308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1622" y="2965539"/>
            <a:ext cx="4426445" cy="101566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s-ES" sz="33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id="{2696D36B-CB56-4236-B5E6-C4ACA8DFF719}"/>
              </a:ext>
            </a:extLst>
          </p:cNvPr>
          <p:cNvSpPr txBox="1">
            <a:spLocks/>
          </p:cNvSpPr>
          <p:nvPr userDrawn="1"/>
        </p:nvSpPr>
        <p:spPr>
          <a:xfrm>
            <a:off x="0" y="4953040"/>
            <a:ext cx="5229225" cy="2309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b="0">
                <a:solidFill>
                  <a:schemeClr val="bg1">
                    <a:lumMod val="65000"/>
                  </a:schemeClr>
                </a:solidFill>
              </a:rPr>
              <a:t>Copyrights © 2020  Codelco Chile.  Todos los Derechos Reservados. |  Copyrights © 2020 by Codelco Chile  All Rights Reserved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9CED08-027A-42BC-AB55-95315E9FC382}"/>
              </a:ext>
            </a:extLst>
          </p:cNvPr>
          <p:cNvSpPr>
            <a:spLocks/>
          </p:cNvSpPr>
          <p:nvPr userDrawn="1"/>
        </p:nvSpPr>
        <p:spPr>
          <a:xfrm>
            <a:off x="6522440" y="520142"/>
            <a:ext cx="144498" cy="759781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CO" sz="1200" err="1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DA74D-2237-4906-B9B7-E0B4003EE442}"/>
              </a:ext>
            </a:extLst>
          </p:cNvPr>
          <p:cNvSpPr>
            <a:spLocks/>
          </p:cNvSpPr>
          <p:nvPr userDrawn="1"/>
        </p:nvSpPr>
        <p:spPr>
          <a:xfrm>
            <a:off x="2382" y="520142"/>
            <a:ext cx="6358225" cy="759781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CO" sz="120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91FF676-1E02-42DD-9E53-A039890A5A48}"/>
              </a:ext>
            </a:extLst>
          </p:cNvPr>
          <p:cNvSpPr>
            <a:spLocks/>
          </p:cNvSpPr>
          <p:nvPr userDrawn="1"/>
        </p:nvSpPr>
        <p:spPr>
          <a:xfrm>
            <a:off x="6666938" y="1279923"/>
            <a:ext cx="2477061" cy="348852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CO" sz="1200" err="1">
              <a:solidFill>
                <a:schemeClr val="bg1"/>
              </a:solidFill>
            </a:endParaRPr>
          </a:p>
        </p:txBody>
      </p:sp>
      <p:sp>
        <p:nvSpPr>
          <p:cNvPr id="31" name="Chevron 11">
            <a:extLst>
              <a:ext uri="{FF2B5EF4-FFF2-40B4-BE49-F238E27FC236}">
                <a16:creationId xmlns:a16="http://schemas.microsoft.com/office/drawing/2014/main" id="{3F1FD740-A271-4CFA-BA39-ED670EF2CFC1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760901" y="800100"/>
            <a:ext cx="106016" cy="199863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accent1"/>
          </a:solidFill>
          <a:ln w="127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CEB9D5D-364B-4525-97DB-6B265C24CB1C}"/>
              </a:ext>
            </a:extLst>
          </p:cNvPr>
          <p:cNvSpPr txBox="1"/>
          <p:nvPr userDrawn="1"/>
        </p:nvSpPr>
        <p:spPr>
          <a:xfrm>
            <a:off x="7623709" y="761533"/>
            <a:ext cx="110238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47990" lvl="3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99986" lvl="4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b="1"/>
              <a:t>Proyecto </a:t>
            </a:r>
            <a:r>
              <a:rPr lang="en-US" sz="900" b="1" err="1"/>
              <a:t>Analítica</a:t>
            </a:r>
            <a:br>
              <a:rPr lang="en-US" sz="900" b="1"/>
            </a:br>
            <a:r>
              <a:rPr lang="en-US" sz="900" b="1" err="1"/>
              <a:t>Avanzada</a:t>
            </a:r>
            <a:r>
              <a:rPr lang="en-US" sz="900" b="1"/>
              <a:t> </a:t>
            </a:r>
            <a:r>
              <a:rPr lang="en-US" sz="900" b="1" err="1"/>
              <a:t>Codelco</a:t>
            </a:r>
            <a:endParaRPr lang="en-US" sz="900" b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4980FB-4A2A-4D67-99E0-E259DAC353C4}"/>
              </a:ext>
            </a:extLst>
          </p:cNvPr>
          <p:cNvSpPr>
            <a:spLocks/>
          </p:cNvSpPr>
          <p:nvPr userDrawn="1"/>
        </p:nvSpPr>
        <p:spPr>
          <a:xfrm>
            <a:off x="399009" y="2382"/>
            <a:ext cx="1488832" cy="174069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  <a:effectLst>
            <a:outerShdw blurRad="50800" dist="381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FE22419-3455-4D40-B94C-BEC94710787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125" y="782266"/>
            <a:ext cx="1112600" cy="6675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23424E0-B59A-4FAF-A5E9-964DF84C33AF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0346" y="696785"/>
            <a:ext cx="700850" cy="406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78174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592" imgH="591" progId="TCLayout.ActiveDocument.1">
                  <p:embed/>
                </p:oleObj>
              </mc:Choice>
              <mc:Fallback>
                <p:oleObj name="Diapositiva de think-cell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29159"/>
            <a:ext cx="3799332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663544"/>
            <a:ext cx="37993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5AF55C4-B14E-464C-809E-64E10FECC5DE}"/>
              </a:ext>
            </a:extLst>
          </p:cNvPr>
          <p:cNvCxnSpPr/>
          <p:nvPr userDrawn="1"/>
        </p:nvCxnSpPr>
        <p:spPr>
          <a:xfrm>
            <a:off x="5375652" y="500360"/>
            <a:ext cx="1121589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F65E709-D78F-4D58-B17B-92080DF7E90B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4B1EC62-FE4F-44A1-9FF9-2D47BFF26CFB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40BC6975-2C2B-4FDB-81ED-1FA127FDFE2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3799332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solidFill>
                  <a:schemeClr val="bg2"/>
                </a:solidFill>
              </a:rPr>
              <a:t>Footnot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90874B-1880-4605-A036-F5E4B459449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875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663544"/>
            <a:ext cx="52257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225797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353682-7073-4418-8360-9C98BE6DD202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A30545C-EF29-4696-895F-0CA81E8D3959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F68D03EC-1549-403A-A848-A3325E5E7471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5225796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solidFill>
                  <a:schemeClr val="bg2"/>
                </a:solidFill>
              </a:rPr>
              <a:t>Footnot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9ED141A-F86B-4743-A0DD-F39E28AFDCA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4284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73" imgH="473" progId="TCLayout.ActiveDocument.1">
                  <p:embed/>
                </p:oleObj>
              </mc:Choice>
              <mc:Fallback>
                <p:oleObj name="Diapositiva de think-cell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29159"/>
            <a:ext cx="5939028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663544"/>
            <a:ext cx="5939028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s-ES" sz="1400" b="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>
                <a:solidFill>
                  <a:schemeClr val="bg2"/>
                </a:solidFill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83B8D8-8150-45FE-981C-1C25EB271891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5B66F8E8-AD2C-428A-87C5-B5BED848CEB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593902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solidFill>
                  <a:schemeClr val="bg2"/>
                </a:solidFill>
              </a:rPr>
              <a:t>Footnot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D9B69E-C071-40C0-8E08-C34D7F77333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2792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31378"/>
            <a:ext cx="8311896" cy="74213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4. Footnote" hidden="1">
            <a:extLst>
              <a:ext uri="{FF2B5EF4-FFF2-40B4-BE49-F238E27FC236}">
                <a16:creationId xmlns:a16="http://schemas.microsoft.com/office/drawing/2014/main" id="{9E315A19-642D-459C-88AC-F41E6F89884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62A011E-9B2A-4641-A8FE-1A86D290E33E}"/>
              </a:ext>
            </a:extLst>
          </p:cNvPr>
          <p:cNvGrpSpPr/>
          <p:nvPr userDrawn="1"/>
        </p:nvGrpSpPr>
        <p:grpSpPr>
          <a:xfrm>
            <a:off x="417498" y="4846792"/>
            <a:ext cx="3815997" cy="241310"/>
            <a:chOff x="556664" y="6462390"/>
            <a:chExt cx="5087996" cy="32174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34019A4-4CD0-4F62-9750-F68ECDE841C4}"/>
                </a:ext>
              </a:extLst>
            </p:cNvPr>
            <p:cNvGrpSpPr/>
            <p:nvPr userDrawn="1"/>
          </p:nvGrpSpPr>
          <p:grpSpPr>
            <a:xfrm>
              <a:off x="1177408" y="6623263"/>
              <a:ext cx="4467252" cy="0"/>
              <a:chOff x="1506828" y="6575576"/>
              <a:chExt cx="4467252" cy="0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C424F49-8E80-4304-936B-C8AF4147CB9A}"/>
                  </a:ext>
                </a:extLst>
              </p:cNvPr>
              <p:cNvCxnSpPr/>
              <p:nvPr userDrawn="1"/>
            </p:nvCxnSpPr>
            <p:spPr>
              <a:xfrm>
                <a:off x="150682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3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5248675-87A8-4209-AE72-2772FC76A4C5}"/>
                  </a:ext>
                </a:extLst>
              </p:cNvPr>
              <p:cNvCxnSpPr/>
              <p:nvPr userDrawn="1"/>
            </p:nvCxnSpPr>
            <p:spPr>
              <a:xfrm>
                <a:off x="298510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473A5B5-B242-4D10-9E4A-B8C536B31EA0}"/>
                  </a:ext>
                </a:extLst>
              </p:cNvPr>
              <p:cNvCxnSpPr/>
              <p:nvPr userDrawn="1"/>
            </p:nvCxnSpPr>
            <p:spPr>
              <a:xfrm>
                <a:off x="447862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276AA62-E214-408F-A9D1-6349599CC6FD}"/>
                </a:ext>
              </a:extLst>
            </p:cNvPr>
            <p:cNvPicPr>
              <a:picLocks/>
            </p:cNvPicPr>
            <p:nvPr userDrawn="1"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6664" y="6462390"/>
              <a:ext cx="536243" cy="3217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25287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C76C8D36-FDC2-42B1-805E-6E258FF6669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2B734A6-42C1-429B-89FB-5C65BBF4E5C0}"/>
              </a:ext>
            </a:extLst>
          </p:cNvPr>
          <p:cNvGrpSpPr/>
          <p:nvPr userDrawn="1"/>
        </p:nvGrpSpPr>
        <p:grpSpPr>
          <a:xfrm>
            <a:off x="417498" y="4846792"/>
            <a:ext cx="3815997" cy="241310"/>
            <a:chOff x="556664" y="6462390"/>
            <a:chExt cx="5087996" cy="32174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315D183-86CD-4E91-A630-C064DFAA28C5}"/>
                </a:ext>
              </a:extLst>
            </p:cNvPr>
            <p:cNvGrpSpPr/>
            <p:nvPr userDrawn="1"/>
          </p:nvGrpSpPr>
          <p:grpSpPr>
            <a:xfrm>
              <a:off x="1177408" y="6623263"/>
              <a:ext cx="4467252" cy="0"/>
              <a:chOff x="1506828" y="6575576"/>
              <a:chExt cx="4467252" cy="0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404D5947-FDBD-4A0B-865F-5ADCB1BC1AA3}"/>
                  </a:ext>
                </a:extLst>
              </p:cNvPr>
              <p:cNvCxnSpPr/>
              <p:nvPr userDrawn="1"/>
            </p:nvCxnSpPr>
            <p:spPr>
              <a:xfrm>
                <a:off x="150682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3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B0AD1462-A7E8-4266-BAF2-F8338CDABD10}"/>
                  </a:ext>
                </a:extLst>
              </p:cNvPr>
              <p:cNvCxnSpPr/>
              <p:nvPr userDrawn="1"/>
            </p:nvCxnSpPr>
            <p:spPr>
              <a:xfrm>
                <a:off x="298510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16581D9E-7757-486F-80BF-188688C4B3C2}"/>
                  </a:ext>
                </a:extLst>
              </p:cNvPr>
              <p:cNvCxnSpPr/>
              <p:nvPr userDrawn="1"/>
            </p:nvCxnSpPr>
            <p:spPr>
              <a:xfrm>
                <a:off x="447862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4017BB0-BFD5-465E-9A00-F4346FE9DCAD}"/>
                </a:ext>
              </a:extLst>
            </p:cNvPr>
            <p:cNvPicPr>
              <a:picLocks/>
            </p:cNvPicPr>
            <p:nvPr userDrawn="1"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6664" y="6462390"/>
              <a:ext cx="536243" cy="3217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9266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8AFB7F63-A2A8-4FF5-9C7C-844B9FA8D47F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30000">
                <a:schemeClr val="bg1"/>
              </a:gs>
              <a:gs pos="84000">
                <a:schemeClr val="bg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2EF746-F9FD-4F2E-875C-2FFB4840E4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8451" y="2005621"/>
            <a:ext cx="1887099" cy="1132259"/>
          </a:xfrm>
          <a:prstGeom prst="rect">
            <a:avLst/>
          </a:prstGeom>
        </p:spPr>
      </p:pic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8C08B8C9-303E-4612-98BA-15C33FFB05C9}"/>
              </a:ext>
            </a:extLst>
          </p:cNvPr>
          <p:cNvSpPr txBox="1">
            <a:spLocks/>
          </p:cNvSpPr>
          <p:nvPr userDrawn="1"/>
        </p:nvSpPr>
        <p:spPr>
          <a:xfrm>
            <a:off x="0" y="4953040"/>
            <a:ext cx="5229225" cy="2309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b="0">
                <a:solidFill>
                  <a:schemeClr val="bg1">
                    <a:lumMod val="65000"/>
                  </a:schemeClr>
                </a:solidFill>
              </a:rPr>
              <a:t>Copyrights © 2020  Codelco Chile.  Todos los Derechos Reservados. |  Copyrights © 2020 by Codelco Chile 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24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33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0651C06-0CA2-45C9-A25B-0D30507431D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070440" y="-314639"/>
            <a:ext cx="5679813" cy="577277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BC87722-B009-4FC6-8B73-CD3D5DF0DB85}"/>
              </a:ext>
            </a:extLst>
          </p:cNvPr>
          <p:cNvSpPr>
            <a:spLocks/>
          </p:cNvSpPr>
          <p:nvPr userDrawn="1"/>
        </p:nvSpPr>
        <p:spPr>
          <a:xfrm>
            <a:off x="6522440" y="520142"/>
            <a:ext cx="144498" cy="759781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F30A8A-D6BF-407D-9689-F19700D588F8}"/>
              </a:ext>
            </a:extLst>
          </p:cNvPr>
          <p:cNvSpPr>
            <a:spLocks/>
          </p:cNvSpPr>
          <p:nvPr userDrawn="1"/>
        </p:nvSpPr>
        <p:spPr>
          <a:xfrm>
            <a:off x="2382" y="520142"/>
            <a:ext cx="6358225" cy="759781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37671D-BD2D-42F9-A280-DA1B44E36B2C}"/>
              </a:ext>
            </a:extLst>
          </p:cNvPr>
          <p:cNvSpPr>
            <a:spLocks/>
          </p:cNvSpPr>
          <p:nvPr userDrawn="1"/>
        </p:nvSpPr>
        <p:spPr>
          <a:xfrm>
            <a:off x="6666938" y="1279923"/>
            <a:ext cx="2477061" cy="348852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410766" y="4473182"/>
            <a:ext cx="4992504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s-ES" sz="1100" dirty="0"/>
            </a:lvl1pPr>
          </a:lstStyle>
          <a:p>
            <a:pPr lvl="0">
              <a:buNone/>
            </a:pPr>
            <a:r>
              <a:rPr lang="es-AR" err="1"/>
              <a:t>Edit</a:t>
            </a:r>
            <a:r>
              <a:rPr lang="es-AR"/>
              <a:t> date </a:t>
            </a:r>
            <a:r>
              <a:rPr lang="es-AR" err="1"/>
              <a:t>or</a:t>
            </a:r>
            <a:r>
              <a:rPr lang="es-AR"/>
              <a:t> </a:t>
            </a:r>
            <a:r>
              <a:rPr lang="es-AR" noProof="0" err="1"/>
              <a:t>title</a:t>
            </a:r>
            <a:r>
              <a:rPr lang="es-AR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411622" y="4159976"/>
            <a:ext cx="4992504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s-ES" sz="1500" dirty="0"/>
            </a:lvl1pPr>
          </a:lstStyle>
          <a:p>
            <a:pPr lvl="0">
              <a:buNone/>
            </a:pPr>
            <a:r>
              <a:rPr lang="es-AR" err="1"/>
              <a:t>Click</a:t>
            </a:r>
            <a:r>
              <a:rPr lang="es-AR"/>
              <a:t> </a:t>
            </a:r>
            <a:r>
              <a:rPr lang="es-AR" err="1"/>
              <a:t>to</a:t>
            </a:r>
            <a:r>
              <a:rPr lang="es-AR"/>
              <a:t> </a:t>
            </a:r>
            <a:r>
              <a:rPr lang="es-AR" err="1"/>
              <a:t>edit</a:t>
            </a:r>
            <a:r>
              <a:rPr lang="es-AR"/>
              <a:t> Master </a:t>
            </a:r>
            <a:r>
              <a:rPr lang="es-AR" err="1"/>
              <a:t>subtitle</a:t>
            </a:r>
            <a:r>
              <a:rPr lang="es-AR"/>
              <a:t> </a:t>
            </a:r>
            <a:r>
              <a:rPr lang="es-AR" err="1"/>
              <a:t>style</a:t>
            </a:r>
            <a:endParaRPr lang="es-A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411622" y="2965539"/>
            <a:ext cx="4426445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sz="3300" dirty="0"/>
            </a:lvl1pPr>
          </a:lstStyle>
          <a:p>
            <a:pPr lvl="0"/>
            <a:r>
              <a:rPr lang="es-AR" err="1"/>
              <a:t>Click</a:t>
            </a:r>
            <a:r>
              <a:rPr lang="es-AR"/>
              <a:t> </a:t>
            </a:r>
            <a:r>
              <a:rPr lang="es-AR" err="1"/>
              <a:t>to</a:t>
            </a:r>
            <a:r>
              <a:rPr lang="es-AR"/>
              <a:t> </a:t>
            </a:r>
            <a:r>
              <a:rPr lang="es-AR" err="1"/>
              <a:t>edit</a:t>
            </a:r>
            <a:r>
              <a:rPr lang="es-AR"/>
              <a:t> Master </a:t>
            </a:r>
            <a:r>
              <a:rPr lang="es-AR" err="1"/>
              <a:t>title</a:t>
            </a:r>
            <a:r>
              <a:rPr lang="es-AR"/>
              <a:t> </a:t>
            </a:r>
            <a:r>
              <a:rPr lang="es-AR" err="1"/>
              <a:t>style</a:t>
            </a:r>
            <a:endParaRPr lang="es-AR"/>
          </a:p>
        </p:txBody>
      </p:sp>
      <p:sp>
        <p:nvSpPr>
          <p:cNvPr id="48" name="Chevron 11">
            <a:extLst>
              <a:ext uri="{FF2B5EF4-FFF2-40B4-BE49-F238E27FC236}">
                <a16:creationId xmlns:a16="http://schemas.microsoft.com/office/drawing/2014/main" id="{A468B6D1-87AD-438D-ADEF-21FBE71C3ED2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760901" y="800100"/>
            <a:ext cx="106016" cy="199863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accent1"/>
          </a:solidFill>
          <a:ln w="127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47761CD4-0B7B-4E8C-B533-5C994236B10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0346" y="696785"/>
            <a:ext cx="700850" cy="40649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2DDE3ED-DE58-4DB2-AC8E-154138556D3A}"/>
              </a:ext>
            </a:extLst>
          </p:cNvPr>
          <p:cNvSpPr txBox="1"/>
          <p:nvPr userDrawn="1"/>
        </p:nvSpPr>
        <p:spPr>
          <a:xfrm>
            <a:off x="7523126" y="699811"/>
            <a:ext cx="150581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47990" lvl="3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99986" lvl="4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s-AR" sz="900" b="1"/>
              <a:t>Gerencia Corporativa</a:t>
            </a:r>
            <a:r>
              <a:rPr lang="es-AR" sz="900" b="1" baseline="0"/>
              <a:t> Digital </a:t>
            </a:r>
            <a:r>
              <a:rPr lang="es-AR" sz="900" b="1"/>
              <a:t>Analítica</a:t>
            </a:r>
            <a:r>
              <a:rPr lang="es-AR" sz="900" b="1" baseline="0"/>
              <a:t> </a:t>
            </a:r>
            <a:r>
              <a:rPr lang="es-AR" sz="900" b="1"/>
              <a:t>Avanzad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16F4442-7E99-4158-984A-3DC55C509818}"/>
              </a:ext>
            </a:extLst>
          </p:cNvPr>
          <p:cNvSpPr>
            <a:spLocks/>
          </p:cNvSpPr>
          <p:nvPr userDrawn="1"/>
        </p:nvSpPr>
        <p:spPr>
          <a:xfrm>
            <a:off x="399009" y="2382"/>
            <a:ext cx="1488832" cy="174069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  <a:effectLst>
            <a:outerShdw blurRad="50800" dist="381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DCE9CBE8-9D81-4787-9038-AC1393E4A0A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125" y="782266"/>
            <a:ext cx="1112600" cy="667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715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998A28F-E345-44F4-B2EF-44D9D4571CC0}"/>
              </a:ext>
            </a:extLst>
          </p:cNvPr>
          <p:cNvGrpSpPr/>
          <p:nvPr userDrawn="1"/>
        </p:nvGrpSpPr>
        <p:grpSpPr>
          <a:xfrm>
            <a:off x="2085471" y="3632781"/>
            <a:ext cx="5458329" cy="797563"/>
            <a:chOff x="3948356" y="3763725"/>
            <a:chExt cx="7277772" cy="1063417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DCE9CBE8-9D81-4787-9038-AC1393E4A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48356" y="3795920"/>
              <a:ext cx="1665044" cy="999027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761CD4-0B7B-4E8C-B533-5C994236B1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446677" y="3763725"/>
              <a:ext cx="1833477" cy="1063417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2DDE3ED-DE58-4DB2-AC8E-154138556D3A}"/>
                </a:ext>
              </a:extLst>
            </p:cNvPr>
            <p:cNvSpPr txBox="1"/>
            <p:nvPr userDrawn="1"/>
          </p:nvSpPr>
          <p:spPr>
            <a:xfrm>
              <a:off x="8407380" y="3997917"/>
              <a:ext cx="2818748" cy="595034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91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47990" lvl="3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99986" lvl="4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s-AR" sz="1200" b="1" noProof="0"/>
                <a:t>Gerencia</a:t>
              </a:r>
              <a:r>
                <a:rPr lang="es-AR" sz="1200" b="1" baseline="0" noProof="0"/>
                <a:t> Corporativa </a:t>
              </a:r>
            </a:p>
            <a:p>
              <a:pPr algn="ctr"/>
              <a:r>
                <a:rPr lang="es-AR" sz="1200" b="1" noProof="0"/>
                <a:t>Analítica Avanzada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C16C37D-662D-416F-84DD-2A0DF912A072}"/>
                </a:ext>
              </a:extLst>
            </p:cNvPr>
            <p:cNvCxnSpPr/>
            <p:nvPr userDrawn="1"/>
          </p:nvCxnSpPr>
          <p:spPr>
            <a:xfrm>
              <a:off x="6096000" y="3844913"/>
              <a:ext cx="0" cy="90104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8165B3F3-22F3-4704-B052-063244176F9D}"/>
              </a:ext>
            </a:extLst>
          </p:cNvPr>
          <p:cNvSpPr txBox="1">
            <a:spLocks/>
          </p:cNvSpPr>
          <p:nvPr userDrawn="1"/>
        </p:nvSpPr>
        <p:spPr>
          <a:xfrm>
            <a:off x="0" y="4953040"/>
            <a:ext cx="5229225" cy="2309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600" b="0" noProof="0">
                <a:solidFill>
                  <a:schemeClr val="bg1">
                    <a:lumMod val="65000"/>
                  </a:schemeClr>
                </a:solidFill>
              </a:rPr>
              <a:t>Copyrights © 2020  Codelco Chile.  Todos los Derechos Reservados. |  Copyrights © 2020 by Codelco Chile 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24116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2492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33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0651C06-0CA2-45C9-A25B-0D30507431D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070440" y="-314639"/>
            <a:ext cx="5679813" cy="577277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BC87722-B009-4FC6-8B73-CD3D5DF0DB85}"/>
              </a:ext>
            </a:extLst>
          </p:cNvPr>
          <p:cNvSpPr>
            <a:spLocks/>
          </p:cNvSpPr>
          <p:nvPr userDrawn="1"/>
        </p:nvSpPr>
        <p:spPr>
          <a:xfrm>
            <a:off x="6522440" y="520142"/>
            <a:ext cx="144498" cy="759781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F30A8A-D6BF-407D-9689-F19700D588F8}"/>
              </a:ext>
            </a:extLst>
          </p:cNvPr>
          <p:cNvSpPr>
            <a:spLocks/>
          </p:cNvSpPr>
          <p:nvPr userDrawn="1"/>
        </p:nvSpPr>
        <p:spPr>
          <a:xfrm>
            <a:off x="2382" y="520142"/>
            <a:ext cx="6358225" cy="759781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37671D-BD2D-42F9-A280-DA1B44E36B2C}"/>
              </a:ext>
            </a:extLst>
          </p:cNvPr>
          <p:cNvSpPr>
            <a:spLocks/>
          </p:cNvSpPr>
          <p:nvPr userDrawn="1"/>
        </p:nvSpPr>
        <p:spPr>
          <a:xfrm>
            <a:off x="6666938" y="1279923"/>
            <a:ext cx="2477061" cy="348852"/>
          </a:xfrm>
          <a:prstGeom prst="rect">
            <a:avLst/>
          </a:prstGeom>
          <a:solidFill>
            <a:schemeClr val="accent1">
              <a:alpha val="86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410766" y="4473182"/>
            <a:ext cx="4992504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s-ES" sz="1100" dirty="0"/>
            </a:lvl1pPr>
          </a:lstStyle>
          <a:p>
            <a:pPr lvl="0">
              <a:buNone/>
            </a:pPr>
            <a:r>
              <a:rPr lang="es-AR" err="1"/>
              <a:t>Edit</a:t>
            </a:r>
            <a:r>
              <a:rPr lang="es-AR"/>
              <a:t> date </a:t>
            </a:r>
            <a:r>
              <a:rPr lang="es-AR" err="1"/>
              <a:t>or</a:t>
            </a:r>
            <a:r>
              <a:rPr lang="es-AR"/>
              <a:t> </a:t>
            </a:r>
            <a:r>
              <a:rPr lang="es-AR" noProof="0" err="1"/>
              <a:t>title</a:t>
            </a:r>
            <a:r>
              <a:rPr lang="es-AR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411622" y="4159976"/>
            <a:ext cx="4992504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s-ES" sz="1500" dirty="0"/>
            </a:lvl1pPr>
          </a:lstStyle>
          <a:p>
            <a:pPr lvl="0">
              <a:buNone/>
            </a:pPr>
            <a:r>
              <a:rPr lang="es-AR" err="1"/>
              <a:t>Click</a:t>
            </a:r>
            <a:r>
              <a:rPr lang="es-AR"/>
              <a:t> </a:t>
            </a:r>
            <a:r>
              <a:rPr lang="es-AR" err="1"/>
              <a:t>to</a:t>
            </a:r>
            <a:r>
              <a:rPr lang="es-AR"/>
              <a:t> </a:t>
            </a:r>
            <a:r>
              <a:rPr lang="es-AR" err="1"/>
              <a:t>edit</a:t>
            </a:r>
            <a:r>
              <a:rPr lang="es-AR"/>
              <a:t> Master </a:t>
            </a:r>
            <a:r>
              <a:rPr lang="es-AR" err="1"/>
              <a:t>subtitle</a:t>
            </a:r>
            <a:r>
              <a:rPr lang="es-AR"/>
              <a:t> </a:t>
            </a:r>
            <a:r>
              <a:rPr lang="es-AR" err="1"/>
              <a:t>style</a:t>
            </a:r>
            <a:endParaRPr lang="es-A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411622" y="2965539"/>
            <a:ext cx="4426445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sz="3300" dirty="0"/>
            </a:lvl1pPr>
          </a:lstStyle>
          <a:p>
            <a:pPr lvl="0"/>
            <a:r>
              <a:rPr lang="es-AR" err="1"/>
              <a:t>Click</a:t>
            </a:r>
            <a:r>
              <a:rPr lang="es-AR"/>
              <a:t> </a:t>
            </a:r>
            <a:r>
              <a:rPr lang="es-AR" err="1"/>
              <a:t>to</a:t>
            </a:r>
            <a:r>
              <a:rPr lang="es-AR"/>
              <a:t> </a:t>
            </a:r>
            <a:r>
              <a:rPr lang="es-AR" err="1"/>
              <a:t>edit</a:t>
            </a:r>
            <a:r>
              <a:rPr lang="es-AR"/>
              <a:t> Master </a:t>
            </a:r>
            <a:r>
              <a:rPr lang="es-AR" err="1"/>
              <a:t>title</a:t>
            </a:r>
            <a:r>
              <a:rPr lang="es-AR"/>
              <a:t> </a:t>
            </a:r>
            <a:r>
              <a:rPr lang="es-AR" err="1"/>
              <a:t>style</a:t>
            </a:r>
            <a:endParaRPr lang="es-AR"/>
          </a:p>
        </p:txBody>
      </p:sp>
      <p:sp>
        <p:nvSpPr>
          <p:cNvPr id="48" name="Chevron 11">
            <a:extLst>
              <a:ext uri="{FF2B5EF4-FFF2-40B4-BE49-F238E27FC236}">
                <a16:creationId xmlns:a16="http://schemas.microsoft.com/office/drawing/2014/main" id="{A468B6D1-87AD-438D-ADEF-21FBE71C3ED2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760901" y="800100"/>
            <a:ext cx="106016" cy="199863"/>
          </a:xfrm>
          <a:custGeom>
            <a:avLst/>
            <a:gdLst/>
            <a:ahLst/>
            <a:cxnLst/>
            <a:rect l="0" t="0" r="0" b="0"/>
            <a:pathLst>
              <a:path w="103601" h="195312">
                <a:moveTo>
                  <a:pt x="9358" y="193790"/>
                </a:moveTo>
                <a:lnTo>
                  <a:pt x="101575" y="101574"/>
                </a:lnTo>
                <a:lnTo>
                  <a:pt x="103600" y="99549"/>
                </a:lnTo>
                <a:lnTo>
                  <a:pt x="103600" y="96266"/>
                </a:lnTo>
                <a:lnTo>
                  <a:pt x="101575" y="94241"/>
                </a:lnTo>
                <a:lnTo>
                  <a:pt x="9358" y="2025"/>
                </a:lnTo>
                <a:lnTo>
                  <a:pt x="7332" y="0"/>
                </a:lnTo>
                <a:lnTo>
                  <a:pt x="4049" y="0"/>
                </a:lnTo>
                <a:lnTo>
                  <a:pt x="2026" y="2025"/>
                </a:lnTo>
                <a:lnTo>
                  <a:pt x="0" y="4048"/>
                </a:lnTo>
                <a:lnTo>
                  <a:pt x="0" y="7331"/>
                </a:lnTo>
                <a:lnTo>
                  <a:pt x="2026" y="9357"/>
                </a:lnTo>
                <a:lnTo>
                  <a:pt x="90576" y="97907"/>
                </a:lnTo>
                <a:lnTo>
                  <a:pt x="2026" y="186459"/>
                </a:lnTo>
                <a:lnTo>
                  <a:pt x="0" y="188483"/>
                </a:lnTo>
                <a:lnTo>
                  <a:pt x="0" y="191766"/>
                </a:lnTo>
                <a:lnTo>
                  <a:pt x="2026" y="193790"/>
                </a:lnTo>
                <a:lnTo>
                  <a:pt x="3040" y="194805"/>
                </a:lnTo>
                <a:lnTo>
                  <a:pt x="4366" y="195311"/>
                </a:lnTo>
                <a:lnTo>
                  <a:pt x="5692" y="195311"/>
                </a:lnTo>
                <a:lnTo>
                  <a:pt x="7017" y="195311"/>
                </a:lnTo>
                <a:lnTo>
                  <a:pt x="8348" y="194805"/>
                </a:lnTo>
                <a:close/>
              </a:path>
            </a:pathLst>
          </a:custGeom>
          <a:solidFill>
            <a:schemeClr val="accent1"/>
          </a:solidFill>
          <a:ln w="127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47761CD4-0B7B-4E8C-B533-5C994236B10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0346" y="696785"/>
            <a:ext cx="700850" cy="40649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2DDE3ED-DE58-4DB2-AC8E-154138556D3A}"/>
              </a:ext>
            </a:extLst>
          </p:cNvPr>
          <p:cNvSpPr txBox="1"/>
          <p:nvPr userDrawn="1"/>
        </p:nvSpPr>
        <p:spPr>
          <a:xfrm>
            <a:off x="7623709" y="761533"/>
            <a:ext cx="110238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47990" lvl="3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99986" lvl="4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AR" sz="900" b="1"/>
              <a:t>Proyecto Analítica</a:t>
            </a:r>
            <a:br>
              <a:rPr lang="es-AR" sz="900" b="1"/>
            </a:br>
            <a:r>
              <a:rPr lang="es-AR" sz="900" b="1"/>
              <a:t>Avanzada Codelco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16F4442-7E99-4158-984A-3DC55C509818}"/>
              </a:ext>
            </a:extLst>
          </p:cNvPr>
          <p:cNvSpPr>
            <a:spLocks/>
          </p:cNvSpPr>
          <p:nvPr userDrawn="1"/>
        </p:nvSpPr>
        <p:spPr>
          <a:xfrm>
            <a:off x="399009" y="2382"/>
            <a:ext cx="1488832" cy="174069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  <a:effectLst>
            <a:outerShdw blurRad="50800" dist="381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s-AR" sz="1200">
              <a:solidFill>
                <a:schemeClr val="bg1"/>
              </a:solidFill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DCE9CBE8-9D81-4787-9038-AC1393E4A0A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125" y="782266"/>
            <a:ext cx="1112600" cy="667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715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998A28F-E345-44F4-B2EF-44D9D4571CC0}"/>
              </a:ext>
            </a:extLst>
          </p:cNvPr>
          <p:cNvGrpSpPr/>
          <p:nvPr userDrawn="1"/>
        </p:nvGrpSpPr>
        <p:grpSpPr>
          <a:xfrm>
            <a:off x="2085471" y="3632781"/>
            <a:ext cx="4973058" cy="797563"/>
            <a:chOff x="3948356" y="3763725"/>
            <a:chExt cx="6630744" cy="1063417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DCE9CBE8-9D81-4787-9038-AC1393E4A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48356" y="3795920"/>
              <a:ext cx="1665044" cy="999027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761CD4-0B7B-4E8C-B533-5C994236B1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446677" y="3763725"/>
              <a:ext cx="1833477" cy="1063417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2DDE3ED-DE58-4DB2-AC8E-154138556D3A}"/>
                </a:ext>
              </a:extLst>
            </p:cNvPr>
            <p:cNvSpPr txBox="1"/>
            <p:nvPr userDrawn="1"/>
          </p:nvSpPr>
          <p:spPr>
            <a:xfrm>
              <a:off x="8407380" y="4049213"/>
              <a:ext cx="2171720" cy="49244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91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47990" lvl="3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99986" lvl="4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s-AR" sz="1200" b="1" noProof="0"/>
                <a:t>Proyecto Analítica</a:t>
              </a:r>
              <a:br>
                <a:rPr lang="es-AR" sz="1200" b="1" noProof="0"/>
              </a:br>
              <a:r>
                <a:rPr lang="es-AR" sz="1200" b="1" noProof="0"/>
                <a:t>Avanzada Codelco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C16C37D-662D-416F-84DD-2A0DF912A072}"/>
                </a:ext>
              </a:extLst>
            </p:cNvPr>
            <p:cNvCxnSpPr/>
            <p:nvPr userDrawn="1"/>
          </p:nvCxnSpPr>
          <p:spPr>
            <a:xfrm>
              <a:off x="6096000" y="3844913"/>
              <a:ext cx="0" cy="90104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8165B3F3-22F3-4704-B052-063244176F9D}"/>
              </a:ext>
            </a:extLst>
          </p:cNvPr>
          <p:cNvSpPr txBox="1">
            <a:spLocks/>
          </p:cNvSpPr>
          <p:nvPr userDrawn="1"/>
        </p:nvSpPr>
        <p:spPr>
          <a:xfrm>
            <a:off x="0" y="4953040"/>
            <a:ext cx="5229225" cy="2309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600" b="0" noProof="0">
                <a:solidFill>
                  <a:schemeClr val="bg1">
                    <a:lumMod val="65000"/>
                  </a:schemeClr>
                </a:solidFill>
              </a:rPr>
              <a:t>Copyrights © 2020  Codelco Chile.  Todos los Derechos Reservados. |  Copyrights © 2020 by Codelco Chile 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2411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9475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DCE9CBE8-9D81-4787-9038-AC1393E4A0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5471" y="3656927"/>
            <a:ext cx="1248783" cy="74927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7761CD4-0B7B-4E8C-B533-5C994236B10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9212" y="3632781"/>
            <a:ext cx="1375108" cy="79756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2DDE3ED-DE58-4DB2-AC8E-154138556D3A}"/>
              </a:ext>
            </a:extLst>
          </p:cNvPr>
          <p:cNvSpPr txBox="1"/>
          <p:nvPr userDrawn="1"/>
        </p:nvSpPr>
        <p:spPr>
          <a:xfrm>
            <a:off x="5429739" y="3846896"/>
            <a:ext cx="1628790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47990" lvl="3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99986" lvl="4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/>
              <a:t>Proyectos Analítica</a:t>
            </a:r>
            <a:br>
              <a:rPr lang="en-US" sz="1200" b="1"/>
            </a:br>
            <a:r>
              <a:rPr lang="en-US" sz="1200" b="1"/>
              <a:t>Avanzada Codelco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C16C37D-662D-416F-84DD-2A0DF912A072}"/>
              </a:ext>
            </a:extLst>
          </p:cNvPr>
          <p:cNvCxnSpPr/>
          <p:nvPr userDrawn="1"/>
        </p:nvCxnSpPr>
        <p:spPr>
          <a:xfrm>
            <a:off x="3696204" y="3693671"/>
            <a:ext cx="0" cy="67578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B27FCF7A-F99E-4F0D-9F39-F1173A287B69}"/>
              </a:ext>
            </a:extLst>
          </p:cNvPr>
          <p:cNvSpPr txBox="1">
            <a:spLocks/>
          </p:cNvSpPr>
          <p:nvPr userDrawn="1"/>
        </p:nvSpPr>
        <p:spPr>
          <a:xfrm>
            <a:off x="0" y="4953040"/>
            <a:ext cx="5229225" cy="2309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b="0">
                <a:solidFill>
                  <a:schemeClr val="bg1">
                    <a:lumMod val="65000"/>
                  </a:schemeClr>
                </a:solidFill>
              </a:rPr>
              <a:t>Copyrights © 2020  Codelco Chile.  Todos los Derechos Reservados. |  Copyrights © 2020 by Codelco Chile 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4885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5275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413" imgH="416" progId="TCLayout.ActiveDocument.1">
                  <p:embed/>
                </p:oleObj>
              </mc:Choice>
              <mc:Fallback>
                <p:oleObj name="Diapositiva de think-cell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19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AR" noProof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663544"/>
            <a:ext cx="83118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s-AR" noProof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AR" sz="700" b="0" noProof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AR" sz="700" b="0" noProof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s-AR" noProof="0"/>
              <a:t>Add tracker</a:t>
            </a:r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8F4E9424-8489-430C-8C19-72B7783CA78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9975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19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AR" noProof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AR" sz="700" noProof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AR" sz="700" noProof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s-AR" noProof="0"/>
              <a:t>Add tracker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2E0DE914-BDAF-4AC9-A482-B30EDB05EE0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4114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19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AR" noProof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AR" sz="700" noProof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AR" sz="700" noProof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s-AR" noProof="0"/>
              <a:t>Add tracker</a:t>
            </a:r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13C294B2-245D-4BAD-9A0C-2B0DB69A7BC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0719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19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8311896" cy="50783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AR" noProof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AR" sz="700" noProof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AR" sz="700" noProof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s-AR" noProof="0"/>
              <a:t>Add tracker</a:t>
            </a:r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0532135-60DB-4B6E-A5BE-BFC2C613B27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3101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592" imgH="591" progId="TCLayout.ActiveDocument.1">
                  <p:embed/>
                </p:oleObj>
              </mc:Choice>
              <mc:Fallback>
                <p:oleObj name="Diapositiva de think-cell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19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771046"/>
            <a:ext cx="6885432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AR" noProof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s-AR" noProof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AR" sz="700" noProof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AR" sz="700" noProof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s-AR" noProof="0"/>
              <a:t>Add tracker</a:t>
            </a:r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0F92BBCD-1AA4-4F8D-901B-C44CFCA11C9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29518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50583"/>
            <a:ext cx="1885950" cy="584775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3"/>
            <a:ext cx="188595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7E2EDC-D819-4D55-9C83-2E0C3FB8E94A}"/>
              </a:ext>
            </a:extLst>
          </p:cNvPr>
          <p:cNvCxnSpPr/>
          <p:nvPr userDrawn="1"/>
        </p:nvCxnSpPr>
        <p:spPr>
          <a:xfrm>
            <a:off x="5375652" y="500360"/>
            <a:ext cx="1121589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75BD86E-734D-4931-A521-D1EFA8A20ED6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8245C95-B97C-431C-B06C-1CCAF6951FF0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4. Footnote" hidden="1">
            <a:extLst>
              <a:ext uri="{FF2B5EF4-FFF2-40B4-BE49-F238E27FC236}">
                <a16:creationId xmlns:a16="http://schemas.microsoft.com/office/drawing/2014/main" id="{D5BC04BB-89C3-4FD0-B269-4679B29249B8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188595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E55EC3F-9372-42F3-A729-D1A9DD4F6B6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2476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50583"/>
            <a:ext cx="2599182" cy="58477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3"/>
            <a:ext cx="25991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DE8FFF4-B519-4F47-BC91-93B835FF5EFB}"/>
              </a:ext>
            </a:extLst>
          </p:cNvPr>
          <p:cNvCxnSpPr/>
          <p:nvPr userDrawn="1"/>
        </p:nvCxnSpPr>
        <p:spPr>
          <a:xfrm>
            <a:off x="5375652" y="500360"/>
            <a:ext cx="1121589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62EBFB4-95C6-4482-AA44-BD5D184DA2D7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C66332-F59D-491D-A7A2-4C811E123A49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4. Footnote" hidden="1">
            <a:extLst>
              <a:ext uri="{FF2B5EF4-FFF2-40B4-BE49-F238E27FC236}">
                <a16:creationId xmlns:a16="http://schemas.microsoft.com/office/drawing/2014/main" id="{4B6C31A0-4073-4907-B78E-73C418919530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80" y="4537874"/>
            <a:ext cx="2599181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D59C98D-9915-468F-A5D0-D44FEC8ACB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4242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29159"/>
            <a:ext cx="3799332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663544"/>
            <a:ext cx="37993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CD7BD04-5B85-4477-870F-A9DEAB159913}"/>
              </a:ext>
            </a:extLst>
          </p:cNvPr>
          <p:cNvCxnSpPr/>
          <p:nvPr userDrawn="1"/>
        </p:nvCxnSpPr>
        <p:spPr>
          <a:xfrm>
            <a:off x="5375652" y="500360"/>
            <a:ext cx="1121589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93F704-BEB9-46BB-A517-22E230DC817D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0BE35F8-535C-4207-AD11-EA63034D00FA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4. Footnote" hidden="1">
            <a:extLst>
              <a:ext uri="{FF2B5EF4-FFF2-40B4-BE49-F238E27FC236}">
                <a16:creationId xmlns:a16="http://schemas.microsoft.com/office/drawing/2014/main" id="{CA4EEBB3-59A7-4513-9C15-F4B399CDE4D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3799332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133946F-59C1-4CFB-8610-5834C3598F4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986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572" imgH="588" progId="TCLayout.ActiveDocument.1">
                  <p:embed/>
                </p:oleObj>
              </mc:Choice>
              <mc:Fallback>
                <p:oleObj name="Diapositiva de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663544"/>
            <a:ext cx="52257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225797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6F22137-7108-47D6-AEAA-B8044192EE4F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7FD9EEB-F72B-46FD-9498-FE3F59DD80DB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4. Footnote" hidden="1">
            <a:extLst>
              <a:ext uri="{FF2B5EF4-FFF2-40B4-BE49-F238E27FC236}">
                <a16:creationId xmlns:a16="http://schemas.microsoft.com/office/drawing/2014/main" id="{196AE923-DB74-4F0C-BB19-75323BF96533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5225796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EA3160-38D7-44A8-B560-C6942CEDDF7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74619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29159"/>
            <a:ext cx="5939028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663544"/>
            <a:ext cx="593902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1DE907-3362-4369-A411-DAAF80060332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4. Footnote" hidden="1">
            <a:extLst>
              <a:ext uri="{FF2B5EF4-FFF2-40B4-BE49-F238E27FC236}">
                <a16:creationId xmlns:a16="http://schemas.microsoft.com/office/drawing/2014/main" id="{F9DBDE70-12CC-4255-BC1E-C8B14936DE7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E21326B-F40C-47BC-A8E0-875D5FF99B6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4086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413" imgH="416" progId="TCLayout.ActiveDocument.1">
                  <p:embed/>
                </p:oleObj>
              </mc:Choice>
              <mc:Fallback>
                <p:oleObj name="Diapositiva de think-cell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54864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663544"/>
            <a:ext cx="83118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4. Footnote" hidden="1">
            <a:extLst>
              <a:ext uri="{FF2B5EF4-FFF2-40B4-BE49-F238E27FC236}">
                <a16:creationId xmlns:a16="http://schemas.microsoft.com/office/drawing/2014/main" id="{932D314C-5E20-4FEE-9C15-EB01FC0AA51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9664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81372"/>
            <a:ext cx="8311896" cy="74213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05566E3E-C3C3-45C6-A4AB-090665BEF4E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2FD643-7176-4629-A469-18D94B2B47C3}"/>
              </a:ext>
            </a:extLst>
          </p:cNvPr>
          <p:cNvGrpSpPr/>
          <p:nvPr userDrawn="1"/>
        </p:nvGrpSpPr>
        <p:grpSpPr>
          <a:xfrm>
            <a:off x="883056" y="4967447"/>
            <a:ext cx="3350439" cy="0"/>
            <a:chOff x="1506828" y="6575576"/>
            <a:chExt cx="4467252" cy="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ABB5128-F05A-4320-A3B4-7A4AAE685DC6}"/>
                </a:ext>
              </a:extLst>
            </p:cNvPr>
            <p:cNvCxnSpPr/>
            <p:nvPr userDrawn="1"/>
          </p:nvCxnSpPr>
          <p:spPr>
            <a:xfrm>
              <a:off x="1506828" y="6575576"/>
              <a:ext cx="1495452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7B0C0FD-A4FC-4867-B41C-5E3BC5A338DC}"/>
                </a:ext>
              </a:extLst>
            </p:cNvPr>
            <p:cNvCxnSpPr/>
            <p:nvPr userDrawn="1"/>
          </p:nvCxnSpPr>
          <p:spPr>
            <a:xfrm>
              <a:off x="2985108" y="6575576"/>
              <a:ext cx="1495452" cy="0"/>
            </a:xfrm>
            <a:prstGeom prst="line">
              <a:avLst/>
            </a:prstGeom>
            <a:ln w="6350" cap="flat">
              <a:solidFill>
                <a:schemeClr val="accent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9B3C31A-91D9-48C6-8995-32CC4314DD3C}"/>
                </a:ext>
              </a:extLst>
            </p:cNvPr>
            <p:cNvCxnSpPr/>
            <p:nvPr userDrawn="1"/>
          </p:nvCxnSpPr>
          <p:spPr>
            <a:xfrm>
              <a:off x="4478628" y="6575576"/>
              <a:ext cx="1495452" cy="0"/>
            </a:xfrm>
            <a:prstGeom prst="line">
              <a:avLst/>
            </a:prstGeom>
            <a:ln w="635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2A8D88B3-70E8-4129-9A03-ACB005E7C6A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0137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592" imgH="591" progId="TCLayout.ActiveDocument.1">
                  <p:embed/>
                </p:oleObj>
              </mc:Choice>
              <mc:Fallback>
                <p:oleObj name="Diapositiva de think-cell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4. Footnote" hidden="1">
            <a:extLst>
              <a:ext uri="{FF2B5EF4-FFF2-40B4-BE49-F238E27FC236}">
                <a16:creationId xmlns:a16="http://schemas.microsoft.com/office/drawing/2014/main" id="{FF169F72-00D9-4120-8110-0772DB6F094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563D5B8-F2D4-451C-9E5F-198322662792}"/>
              </a:ext>
            </a:extLst>
          </p:cNvPr>
          <p:cNvGrpSpPr/>
          <p:nvPr userDrawn="1"/>
        </p:nvGrpSpPr>
        <p:grpSpPr>
          <a:xfrm>
            <a:off x="883056" y="4967447"/>
            <a:ext cx="3350439" cy="0"/>
            <a:chOff x="1506828" y="6575576"/>
            <a:chExt cx="4467252" cy="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02AFBD2-AC42-47F3-9B7B-8A14ED12073C}"/>
                </a:ext>
              </a:extLst>
            </p:cNvPr>
            <p:cNvCxnSpPr/>
            <p:nvPr userDrawn="1"/>
          </p:nvCxnSpPr>
          <p:spPr>
            <a:xfrm>
              <a:off x="1506828" y="6575576"/>
              <a:ext cx="1495452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00899FD-E8A1-452E-A38C-CA9C6676CB5D}"/>
                </a:ext>
              </a:extLst>
            </p:cNvPr>
            <p:cNvCxnSpPr/>
            <p:nvPr userDrawn="1"/>
          </p:nvCxnSpPr>
          <p:spPr>
            <a:xfrm>
              <a:off x="2985108" y="6575576"/>
              <a:ext cx="1495452" cy="0"/>
            </a:xfrm>
            <a:prstGeom prst="line">
              <a:avLst/>
            </a:prstGeom>
            <a:ln w="6350" cap="flat">
              <a:solidFill>
                <a:schemeClr val="accent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D5280FE-3CF7-4D74-BC8C-A7E621E9002A}"/>
                </a:ext>
              </a:extLst>
            </p:cNvPr>
            <p:cNvCxnSpPr/>
            <p:nvPr userDrawn="1"/>
          </p:nvCxnSpPr>
          <p:spPr>
            <a:xfrm>
              <a:off x="4478628" y="6575576"/>
              <a:ext cx="1495452" cy="0"/>
            </a:xfrm>
            <a:prstGeom prst="line">
              <a:avLst/>
            </a:prstGeom>
            <a:ln w="635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906BE50E-25E7-4054-B70F-EADAFC657F9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53644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971DBA-9BE0-4127-987F-5E8A635AE2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s-AR" sz="1900" b="1" i="0" baseline="0" err="1">
              <a:solidFill>
                <a:schemeClr val="bg1"/>
              </a:solidFill>
              <a:latin typeface="Montserrat" panose="020B0604020202020204" charset="0"/>
              <a:ea typeface="+mj-ea"/>
              <a:cs typeface="+mj-cs"/>
              <a:sym typeface="Montserrat" panose="020B060402020202020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4. Footnote" hidden="1">
            <a:extLst>
              <a:ext uri="{FF2B5EF4-FFF2-40B4-BE49-F238E27FC236}">
                <a16:creationId xmlns:a16="http://schemas.microsoft.com/office/drawing/2014/main" id="{FCF244EA-6986-41E5-98A2-46E0CFE3018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7439BB-9884-4D15-8666-D151550DD2C1}"/>
              </a:ext>
            </a:extLst>
          </p:cNvPr>
          <p:cNvGrpSpPr/>
          <p:nvPr userDrawn="1"/>
        </p:nvGrpSpPr>
        <p:grpSpPr>
          <a:xfrm>
            <a:off x="883056" y="4967447"/>
            <a:ext cx="3350439" cy="0"/>
            <a:chOff x="1506828" y="6575576"/>
            <a:chExt cx="4467252" cy="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654B07F-1779-4550-955B-B88C1EE7A49E}"/>
                </a:ext>
              </a:extLst>
            </p:cNvPr>
            <p:cNvCxnSpPr/>
            <p:nvPr userDrawn="1"/>
          </p:nvCxnSpPr>
          <p:spPr>
            <a:xfrm>
              <a:off x="1506828" y="6575576"/>
              <a:ext cx="1495452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678E2D7-E97D-4B37-BA85-1526A65091DF}"/>
                </a:ext>
              </a:extLst>
            </p:cNvPr>
            <p:cNvCxnSpPr/>
            <p:nvPr userDrawn="1"/>
          </p:nvCxnSpPr>
          <p:spPr>
            <a:xfrm>
              <a:off x="2985108" y="6575576"/>
              <a:ext cx="1495452" cy="0"/>
            </a:xfrm>
            <a:prstGeom prst="line">
              <a:avLst/>
            </a:prstGeom>
            <a:ln w="6350" cap="flat">
              <a:solidFill>
                <a:schemeClr val="accent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7409063-8098-4A63-BF0A-B65DC9510AE7}"/>
                </a:ext>
              </a:extLst>
            </p:cNvPr>
            <p:cNvCxnSpPr/>
            <p:nvPr userDrawn="1"/>
          </p:nvCxnSpPr>
          <p:spPr>
            <a:xfrm>
              <a:off x="4478628" y="6575576"/>
              <a:ext cx="1495452" cy="0"/>
            </a:xfrm>
            <a:prstGeom prst="line">
              <a:avLst/>
            </a:prstGeom>
            <a:ln w="635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4202E7C-3B74-431F-91E6-7BE2E76BE1A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0DC2B3C-8D76-44EA-AA7A-267740F0855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flipH="1" flipV="1">
            <a:off x="-1444129" y="0"/>
            <a:ext cx="4873129" cy="4952890"/>
          </a:xfrm>
          <a:prstGeom prst="rect">
            <a:avLst/>
          </a:prstGeom>
        </p:spPr>
      </p:pic>
      <p:sp>
        <p:nvSpPr>
          <p:cNvPr id="21" name="2. Slide Title">
            <a:extLst>
              <a:ext uri="{FF2B5EF4-FFF2-40B4-BE49-F238E27FC236}">
                <a16:creationId xmlns:a16="http://schemas.microsoft.com/office/drawing/2014/main" id="{398E74F4-BEE5-454B-A888-6AAD6E7A032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3729038" y="444104"/>
            <a:ext cx="4811744" cy="5212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AR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327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9481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58CE0F6-7CBB-42FF-8850-2B580CD1A25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30000">
                <a:schemeClr val="bg1">
                  <a:lumMod val="95000"/>
                </a:schemeClr>
              </a:gs>
              <a:gs pos="84000">
                <a:schemeClr val="bg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CF15EFA-D0B2-46C2-95C2-0BF2E3D4D71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8451" y="2005621"/>
            <a:ext cx="1887099" cy="1132259"/>
          </a:xfrm>
          <a:prstGeom prst="rect">
            <a:avLst/>
          </a:prstGeom>
        </p:spPr>
      </p:pic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A9DF2965-36F5-4895-81F5-B8F86CB4E633}"/>
              </a:ext>
            </a:extLst>
          </p:cNvPr>
          <p:cNvSpPr txBox="1">
            <a:spLocks/>
          </p:cNvSpPr>
          <p:nvPr userDrawn="1"/>
        </p:nvSpPr>
        <p:spPr>
          <a:xfrm>
            <a:off x="0" y="4953040"/>
            <a:ext cx="5229225" cy="2309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b="0">
                <a:solidFill>
                  <a:schemeClr val="bg1">
                    <a:lumMod val="65000"/>
                  </a:schemeClr>
                </a:solidFill>
              </a:rPr>
              <a:t>Copyrights © 2020  Codelco Chile.  Todos los Derechos Reservados. |  Copyrights © 2020 by Codelco Chile 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CF6D3FA5-53AE-4242-BC35-0B653CCD83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057775"/>
            <a:ext cx="9144000" cy="8572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AFEB7E8-858A-6A4A-AE25-5C53074AA9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151" y="0"/>
            <a:ext cx="626644" cy="80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098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1070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4. Footnote" hidden="1">
            <a:extLst>
              <a:ext uri="{FF2B5EF4-FFF2-40B4-BE49-F238E27FC236}">
                <a16:creationId xmlns:a16="http://schemas.microsoft.com/office/drawing/2014/main" id="{132612D0-172A-418A-B94A-6EE66403DA4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750065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4599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64633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4. Footnote" hidden="1">
            <a:extLst>
              <a:ext uri="{FF2B5EF4-FFF2-40B4-BE49-F238E27FC236}">
                <a16:creationId xmlns:a16="http://schemas.microsoft.com/office/drawing/2014/main" id="{73EE63CB-6B40-4721-8095-FEA7C69A899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1070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4. Footnote" hidden="1">
            <a:extLst>
              <a:ext uri="{FF2B5EF4-FFF2-40B4-BE49-F238E27FC236}">
                <a16:creationId xmlns:a16="http://schemas.microsoft.com/office/drawing/2014/main" id="{132612D0-172A-418A-B94A-6EE66403DA4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4648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592" imgH="591" progId="TCLayout.ActiveDocument.1">
                  <p:embed/>
                </p:oleObj>
              </mc:Choice>
              <mc:Fallback>
                <p:oleObj name="Diapositiva de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8311896" cy="50783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4. Footnote" hidden="1">
            <a:extLst>
              <a:ext uri="{FF2B5EF4-FFF2-40B4-BE49-F238E27FC236}">
                <a16:creationId xmlns:a16="http://schemas.microsoft.com/office/drawing/2014/main" id="{18AE19E4-2FB9-487F-BF9F-DE76837DF92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16611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592" imgH="591" progId="TCLayout.ActiveDocument.1">
                  <p:embed/>
                </p:oleObj>
              </mc:Choice>
              <mc:Fallback>
                <p:oleObj name="Diapositiva de think-cell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771046"/>
            <a:ext cx="6885432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4. Footnote" hidden="1">
            <a:extLst>
              <a:ext uri="{FF2B5EF4-FFF2-40B4-BE49-F238E27FC236}">
                <a16:creationId xmlns:a16="http://schemas.microsoft.com/office/drawing/2014/main" id="{CCC00222-9B3D-4FE6-BF1E-F2EA6B8F8A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166553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s-ES" sz="1400" b="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EF05371-CF02-47A4-B59E-EFF053CE875E}"/>
              </a:ext>
            </a:extLst>
          </p:cNvPr>
          <p:cNvCxnSpPr/>
          <p:nvPr userDrawn="1"/>
        </p:nvCxnSpPr>
        <p:spPr>
          <a:xfrm>
            <a:off x="5375652" y="500360"/>
            <a:ext cx="1121589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A2B3563-81BF-497B-873C-2C2134AB82C4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8ECDFEB-03DD-4EBA-B85E-D2E053D35DE7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 hidden="1">
            <a:extLst>
              <a:ext uri="{FF2B5EF4-FFF2-40B4-BE49-F238E27FC236}">
                <a16:creationId xmlns:a16="http://schemas.microsoft.com/office/drawing/2014/main" id="{4B23B1F4-F291-4E98-8EA0-8C955E5BD3E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79" y="4537874"/>
            <a:ext cx="188595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solidFill>
                  <a:schemeClr val="bg2"/>
                </a:solidFill>
              </a:rPr>
              <a:t>Footnot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920D4F8-5460-4BBC-82A6-C1B87CF5E08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5698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13" imgH="416" progId="TCLayout.ActiveDocument.1">
                  <p:embed/>
                </p:oleObj>
              </mc:Choice>
              <mc:Fallback>
                <p:oleObj name="Diapositiva de think-cell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7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50583"/>
            <a:ext cx="2599182" cy="58477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s-E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3"/>
            <a:ext cx="25991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400" b="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66153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198"/>
            <a:ext cx="259918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D64900-6901-4A3A-8A0F-C77CFCDF7F1B}"/>
              </a:ext>
            </a:extLst>
          </p:cNvPr>
          <p:cNvCxnSpPr/>
          <p:nvPr userDrawn="1"/>
        </p:nvCxnSpPr>
        <p:spPr>
          <a:xfrm>
            <a:off x="5375652" y="500360"/>
            <a:ext cx="1121589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9BCB6A-8AA4-47F5-B097-BD1CEF9B3C21}"/>
              </a:ext>
            </a:extLst>
          </p:cNvPr>
          <p:cNvCxnSpPr/>
          <p:nvPr userDrawn="1"/>
        </p:nvCxnSpPr>
        <p:spPr>
          <a:xfrm>
            <a:off x="6484362" y="500360"/>
            <a:ext cx="1121589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54BFA8B-0EEA-46A6-8F4B-6A2FBBE0631B}"/>
              </a:ext>
            </a:extLst>
          </p:cNvPr>
          <p:cNvCxnSpPr/>
          <p:nvPr userDrawn="1"/>
        </p:nvCxnSpPr>
        <p:spPr>
          <a:xfrm>
            <a:off x="7604502" y="500360"/>
            <a:ext cx="1121589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4. Footnote" hidden="1">
            <a:extLst>
              <a:ext uri="{FF2B5EF4-FFF2-40B4-BE49-F238E27FC236}">
                <a16:creationId xmlns:a16="http://schemas.microsoft.com/office/drawing/2014/main" id="{5FC337B7-ABC8-4EDC-AEAE-B32B3731C3B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5480" y="4537874"/>
            <a:ext cx="2599181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solidFill>
                  <a:schemeClr val="bg2"/>
                </a:solidFill>
              </a:rPr>
              <a:t>Footnot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6DA422B-9A22-4725-81E0-DB8A1840B49E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tags" Target="../tags/tag131.xml"/><Relationship Id="rId39" Type="http://schemas.openxmlformats.org/officeDocument/2006/relationships/tags" Target="../tags/tag144.xml"/><Relationship Id="rId3" Type="http://schemas.openxmlformats.org/officeDocument/2006/relationships/slideLayout" Target="../slideLayouts/slideLayout18.xml"/><Relationship Id="rId21" Type="http://schemas.openxmlformats.org/officeDocument/2006/relationships/theme" Target="../theme/theme2.xml"/><Relationship Id="rId34" Type="http://schemas.openxmlformats.org/officeDocument/2006/relationships/tags" Target="../tags/tag139.xml"/><Relationship Id="rId42" Type="http://schemas.openxmlformats.org/officeDocument/2006/relationships/oleObject" Target="../embeddings/oleObject17.bin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130.xml"/><Relationship Id="rId33" Type="http://schemas.openxmlformats.org/officeDocument/2006/relationships/tags" Target="../tags/tag138.xml"/><Relationship Id="rId38" Type="http://schemas.openxmlformats.org/officeDocument/2006/relationships/tags" Target="../tags/tag143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tags" Target="../tags/tag134.xml"/><Relationship Id="rId41" Type="http://schemas.openxmlformats.org/officeDocument/2006/relationships/tags" Target="../tags/tag146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29.xml"/><Relationship Id="rId32" Type="http://schemas.openxmlformats.org/officeDocument/2006/relationships/tags" Target="../tags/tag137.xml"/><Relationship Id="rId37" Type="http://schemas.openxmlformats.org/officeDocument/2006/relationships/tags" Target="../tags/tag142.xml"/><Relationship Id="rId40" Type="http://schemas.openxmlformats.org/officeDocument/2006/relationships/tags" Target="../tags/tag145.xml"/><Relationship Id="rId45" Type="http://schemas.microsoft.com/office/2007/relationships/hdphoto" Target="../media/hdphoto1.wdp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28.xml"/><Relationship Id="rId28" Type="http://schemas.openxmlformats.org/officeDocument/2006/relationships/tags" Target="../tags/tag133.xml"/><Relationship Id="rId36" Type="http://schemas.openxmlformats.org/officeDocument/2006/relationships/tags" Target="../tags/tag14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136.xml"/><Relationship Id="rId44" Type="http://schemas.openxmlformats.org/officeDocument/2006/relationships/image" Target="../media/image8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27.xml"/><Relationship Id="rId27" Type="http://schemas.openxmlformats.org/officeDocument/2006/relationships/tags" Target="../tags/tag132.xml"/><Relationship Id="rId30" Type="http://schemas.openxmlformats.org/officeDocument/2006/relationships/tags" Target="../tags/tag135.xml"/><Relationship Id="rId35" Type="http://schemas.openxmlformats.org/officeDocument/2006/relationships/tags" Target="../tags/tag140.xml"/><Relationship Id="rId43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210149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8" imgW="592" imgH="591" progId="TCLayout.ActiveDocument.1">
                  <p:embed/>
                </p:oleObj>
              </mc:Choice>
              <mc:Fallback>
                <p:oleObj name="Diapositiva de think-cell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/>
              <a:ea typeface="+mj-ea"/>
              <a:cs typeface="+mj-cs"/>
              <a:sym typeface="Montserrat" panose="02000505000000020004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416052" y="129159"/>
            <a:ext cx="8311896" cy="548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143" y="0"/>
            <a:ext cx="9142857" cy="51435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416052" y="966955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6052" y="1628776"/>
            <a:ext cx="2286940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Título</a:t>
            </a:r>
          </a:p>
          <a:p>
            <a:pPr lvl="0"/>
            <a:r>
              <a:rPr lang="en-US"/>
              <a:t>Unidad de medi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100"/>
            <a:ext cx="1692771" cy="12234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B12EB86F-BCE5-499B-AA77-4DBF1408F890}"/>
              </a:ext>
            </a:extLst>
          </p:cNvPr>
          <p:cNvGrpSpPr/>
          <p:nvPr userDrawn="1"/>
        </p:nvGrpSpPr>
        <p:grpSpPr>
          <a:xfrm>
            <a:off x="7968772" y="3282277"/>
            <a:ext cx="723908" cy="1295655"/>
            <a:chOff x="10554770" y="4317695"/>
            <a:chExt cx="965211" cy="1727541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04FE6ABF-E527-42D3-BC89-9A4CE59F13ED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52B77511-0678-415D-A200-1BE94D019873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C4ED2FCF-32BC-405C-8206-026020726501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97592967-6243-4E45-ADBC-CA9E234796AD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62432171-225F-4CC8-B01F-DF55CC1599E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EF41D398-D48E-4B12-804F-7669572895A8}"/>
                </a:ext>
              </a:extLst>
            </p:cNvPr>
            <p:cNvSpPr txBox="1"/>
            <p:nvPr/>
          </p:nvSpPr>
          <p:spPr>
            <a:xfrm>
              <a:off x="10880917" y="4317695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0A07A55F-1900-4B0A-A671-24CF524B937E}"/>
                </a:ext>
              </a:extLst>
            </p:cNvPr>
            <p:cNvSpPr txBox="1"/>
            <p:nvPr/>
          </p:nvSpPr>
          <p:spPr>
            <a:xfrm>
              <a:off x="10880915" y="4697192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27964056-3E80-4BD6-965F-B0305DCB17DE}"/>
                </a:ext>
              </a:extLst>
            </p:cNvPr>
            <p:cNvSpPr txBox="1"/>
            <p:nvPr/>
          </p:nvSpPr>
          <p:spPr>
            <a:xfrm>
              <a:off x="10880915" y="5076691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68DE1D21-39EB-4F55-A048-4D6F852BB9FA}"/>
                </a:ext>
              </a:extLst>
            </p:cNvPr>
            <p:cNvSpPr txBox="1"/>
            <p:nvPr/>
          </p:nvSpPr>
          <p:spPr>
            <a:xfrm>
              <a:off x="10880915" y="5448111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420282A7-BD3C-41A9-AECC-33F67FCC988F}"/>
                </a:ext>
              </a:extLst>
            </p:cNvPr>
            <p:cNvSpPr txBox="1"/>
            <p:nvPr/>
          </p:nvSpPr>
          <p:spPr>
            <a:xfrm>
              <a:off x="10880915" y="5819533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2C22AC95-867D-47CD-81A4-C59F9F057103}"/>
              </a:ext>
            </a:extLst>
          </p:cNvPr>
          <p:cNvGrpSpPr/>
          <p:nvPr userDrawn="1"/>
        </p:nvGrpSpPr>
        <p:grpSpPr>
          <a:xfrm>
            <a:off x="7670658" y="2359275"/>
            <a:ext cx="1022032" cy="726408"/>
            <a:chOff x="10162879" y="3238643"/>
            <a:chExt cx="1362708" cy="968545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7631AEE9-AB1E-48C6-A266-101E7BEC6B7E}"/>
                </a:ext>
              </a:extLst>
            </p:cNvPr>
            <p:cNvSpPr txBox="1"/>
            <p:nvPr/>
          </p:nvSpPr>
          <p:spPr>
            <a:xfrm>
              <a:off x="10886521" y="3238643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5CDFE7B6-62A1-4B0E-9A5A-D8C3A7140BAA}"/>
                </a:ext>
              </a:extLst>
            </p:cNvPr>
            <p:cNvSpPr txBox="1"/>
            <p:nvPr/>
          </p:nvSpPr>
          <p:spPr>
            <a:xfrm>
              <a:off x="10886523" y="3610064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702C6B26-BE07-4E91-A121-A56DFAC08E05}"/>
                </a:ext>
              </a:extLst>
            </p:cNvPr>
            <p:cNvSpPr txBox="1"/>
            <p:nvPr/>
          </p:nvSpPr>
          <p:spPr>
            <a:xfrm>
              <a:off x="10886522" y="3981485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D0A1D77F-40F1-4123-A1AE-CB0A559435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00" baseline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48E3CB42-4BF2-45FD-B754-93F5A9F0342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00" baseline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32E7FC1C-2288-46D1-954F-C221E37CD2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00" baseline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1B66C5D5-DA50-455C-A47A-825ADF357C83}"/>
              </a:ext>
            </a:extLst>
          </p:cNvPr>
          <p:cNvGrpSpPr/>
          <p:nvPr userDrawn="1"/>
        </p:nvGrpSpPr>
        <p:grpSpPr>
          <a:xfrm>
            <a:off x="7948911" y="859942"/>
            <a:ext cx="743772" cy="1298894"/>
            <a:chOff x="7716535" y="2630582"/>
            <a:chExt cx="991695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45BEC9B-CD85-4BBE-BED9-60BB82C3AFC8}"/>
                </a:ext>
              </a:extLst>
            </p:cNvPr>
            <p:cNvSpPr txBox="1"/>
            <p:nvPr/>
          </p:nvSpPr>
          <p:spPr>
            <a:xfrm>
              <a:off x="8069167" y="2632811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0B88C033-655E-4429-BF1E-EA153EE7E532}"/>
                </a:ext>
              </a:extLst>
            </p:cNvPr>
            <p:cNvSpPr txBox="1"/>
            <p:nvPr/>
          </p:nvSpPr>
          <p:spPr>
            <a:xfrm>
              <a:off x="8069167" y="3008271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B41AB3A6-1985-40CA-AEEE-A739482412BF}"/>
                </a:ext>
              </a:extLst>
            </p:cNvPr>
            <p:cNvSpPr txBox="1"/>
            <p:nvPr/>
          </p:nvSpPr>
          <p:spPr>
            <a:xfrm>
              <a:off x="8069167" y="3383730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ACA2657D-B51D-497A-ACD7-1AAA3C01001F}"/>
                </a:ext>
              </a:extLst>
            </p:cNvPr>
            <p:cNvSpPr txBox="1"/>
            <p:nvPr/>
          </p:nvSpPr>
          <p:spPr>
            <a:xfrm>
              <a:off x="8069167" y="3759189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C1DBE9F-0D90-458D-95B7-E5024C940F82}"/>
                </a:ext>
              </a:extLst>
            </p:cNvPr>
            <p:cNvSpPr txBox="1"/>
            <p:nvPr/>
          </p:nvSpPr>
          <p:spPr>
            <a:xfrm>
              <a:off x="8069167" y="4134650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CC568060-F845-4C59-91F9-CB43122A55E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37DE7BEA-F902-46F9-BF6A-0BDBCBBFBC5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B6DEF2B1-10B2-41A6-8701-DBBBC5ECDD6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6C7CA9D1-B366-4BA7-9F20-0E44293C449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60EC4271-CE1D-4312-9AD2-CD938BB618B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CF09CFC0-E7BF-40CA-A8E3-45B9547E0F9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A0EF7605-A8E9-4D82-8D37-6EADC8C1F71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0552C4DE-5BFC-4EA6-82FA-8DADD78A69E2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B7CB22E9-8D85-4926-BAEB-16C6B571C35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30E65DDF-FD7B-4AB7-9751-6A06D081E37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FDD6FE31-0FA0-43AF-A597-B11736F735D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1E519BD7-0770-4BC4-B446-50E4A6E2CC1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D037E149-53EC-48EC-BA0F-54513D9B0E3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93FD5C2F-82B4-4E5A-91A2-E2BE50E5AEF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CDDF7AEC-F0E9-40A5-A4D7-E23A5688E34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98D069A-1B43-4434-B039-0E9889D4D023}"/>
              </a:ext>
            </a:extLst>
          </p:cNvPr>
          <p:cNvGrpSpPr/>
          <p:nvPr userDrawn="1"/>
        </p:nvGrpSpPr>
        <p:grpSpPr>
          <a:xfrm>
            <a:off x="417498" y="4846792"/>
            <a:ext cx="3815997" cy="241310"/>
            <a:chOff x="556664" y="6462390"/>
            <a:chExt cx="5087996" cy="32174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C4B69E5-7A57-4C73-BF8E-3B5EC4219E21}"/>
                </a:ext>
              </a:extLst>
            </p:cNvPr>
            <p:cNvGrpSpPr/>
            <p:nvPr userDrawn="1"/>
          </p:nvGrpSpPr>
          <p:grpSpPr>
            <a:xfrm>
              <a:off x="1177408" y="6623263"/>
              <a:ext cx="4467252" cy="0"/>
              <a:chOff x="1506828" y="6575576"/>
              <a:chExt cx="4467252" cy="0"/>
            </a:xfrm>
          </p:grpSpPr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0802CD3C-821C-40B2-8B20-94BC127A445B}"/>
                  </a:ext>
                </a:extLst>
              </p:cNvPr>
              <p:cNvCxnSpPr/>
              <p:nvPr userDrawn="1"/>
            </p:nvCxnSpPr>
            <p:spPr>
              <a:xfrm>
                <a:off x="150682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3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AE6C6EE6-6707-408F-B02B-2341E892B62C}"/>
                  </a:ext>
                </a:extLst>
              </p:cNvPr>
              <p:cNvCxnSpPr/>
              <p:nvPr userDrawn="1"/>
            </p:nvCxnSpPr>
            <p:spPr>
              <a:xfrm>
                <a:off x="298510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2B023144-2F24-49EC-AEE6-AA78E5CA1141}"/>
                  </a:ext>
                </a:extLst>
              </p:cNvPr>
              <p:cNvCxnSpPr/>
              <p:nvPr userDrawn="1"/>
            </p:nvCxnSpPr>
            <p:spPr>
              <a:xfrm>
                <a:off x="4478628" y="6575576"/>
                <a:ext cx="1495452" cy="0"/>
              </a:xfrm>
              <a:prstGeom prst="line">
                <a:avLst/>
              </a:prstGeom>
              <a:ln w="6350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A8D81DDB-4C66-4E35-9D1F-C96297A1EC4D}"/>
                </a:ext>
              </a:extLst>
            </p:cNvPr>
            <p:cNvPicPr>
              <a:picLocks/>
            </p:cNvPicPr>
            <p:nvPr userDrawn="1"/>
          </p:nvPicPr>
          <p:blipFill>
            <a:blip r:embed="rId40" cstate="print">
              <a:extLst>
                <a:ext uri="{BEBA8EAE-BF5A-486C-A8C5-ECC9F3942E4B}">
                  <a14:imgProps xmlns:a14="http://schemas.microsoft.com/office/drawing/2010/main">
                    <a14:imgLayer r:embed="rId4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6664" y="6462390"/>
              <a:ext cx="536243" cy="3217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4243" r:id="rId2"/>
    <p:sldLayoutId id="2147483866" r:id="rId3"/>
    <p:sldLayoutId id="2147483867" r:id="rId4"/>
    <p:sldLayoutId id="2147483868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81" r:id="rId12"/>
    <p:sldLayoutId id="2147483880" r:id="rId13"/>
    <p:sldLayoutId id="2147483877" r:id="rId14"/>
    <p:sldLayoutId id="2147483878" r:id="rId15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s-E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10000"/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10000"/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 userDrawn="1">
          <p15:clr>
            <a:srgbClr val="5ACBF0"/>
          </p15:clr>
        </p15:guide>
        <p15:guide id="3" orient="horz" pos="2947" userDrawn="1">
          <p15:clr>
            <a:srgbClr val="5ACBF0"/>
          </p15:clr>
        </p15:guide>
        <p15:guide id="4" orient="horz" pos="806" userDrawn="1">
          <p15:clr>
            <a:srgbClr val="F26B43"/>
          </p15:clr>
        </p15:guide>
        <p15:guide id="5" pos="5497" userDrawn="1">
          <p15:clr>
            <a:srgbClr val="F26B43"/>
          </p15:clr>
        </p15:guide>
        <p15:guide id="6" pos="259" userDrawn="1">
          <p15:clr>
            <a:srgbClr val="F26B43"/>
          </p15:clr>
        </p15:guide>
        <p15:guide id="8" orient="horz" pos="304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851335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2" imgW="413" imgH="416" progId="TCLayout.ActiveDocument.1">
                  <p:embed/>
                </p:oleObj>
              </mc:Choice>
              <mc:Fallback>
                <p:oleObj name="Diapositiva de think-cell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>
              <a:solidFill>
                <a:schemeClr val="bg1"/>
              </a:solidFill>
              <a:latin typeface="Montserrat" panose="02000505000000020004"/>
              <a:ea typeface="+mj-ea"/>
              <a:cs typeface="+mj-cs"/>
              <a:sym typeface="Montserrat" panose="02000505000000020004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479" y="4537874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416052" y="129159"/>
            <a:ext cx="8311896" cy="548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416052" y="1628776"/>
            <a:ext cx="2286940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Título</a:t>
            </a:r>
          </a:p>
          <a:p>
            <a:pPr lvl="0"/>
            <a:r>
              <a:rPr lang="en-US"/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100"/>
            <a:ext cx="169277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EB42E2A-2C40-4DC2-A0DE-E449C8928D00}"/>
              </a:ext>
            </a:extLst>
          </p:cNvPr>
          <p:cNvGrpSpPr/>
          <p:nvPr userDrawn="1"/>
        </p:nvGrpSpPr>
        <p:grpSpPr>
          <a:xfrm>
            <a:off x="7670658" y="2358819"/>
            <a:ext cx="1022032" cy="726408"/>
            <a:chOff x="10162879" y="3238643"/>
            <a:chExt cx="1362708" cy="96854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8919DADF-5A54-4052-8F0B-7A87483141C1}"/>
                </a:ext>
              </a:extLst>
            </p:cNvPr>
            <p:cNvSpPr txBox="1"/>
            <p:nvPr/>
          </p:nvSpPr>
          <p:spPr>
            <a:xfrm>
              <a:off x="10886521" y="3238643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A06B8CD0-0D97-4EBF-B45B-3ADF0FBEB661}"/>
                </a:ext>
              </a:extLst>
            </p:cNvPr>
            <p:cNvSpPr txBox="1"/>
            <p:nvPr/>
          </p:nvSpPr>
          <p:spPr>
            <a:xfrm>
              <a:off x="10886523" y="3610064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87BBE4B-9E64-48E0-96F8-DB35DBCB5671}"/>
                </a:ext>
              </a:extLst>
            </p:cNvPr>
            <p:cNvSpPr txBox="1"/>
            <p:nvPr/>
          </p:nvSpPr>
          <p:spPr>
            <a:xfrm>
              <a:off x="10886522" y="3981485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3E8D9CCD-3788-4902-9296-C440E924798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13977839-FAC7-4462-A60A-C8BA65A6731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5D8198A-BB1F-464A-AB35-C180F27BD6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C162E29-9264-4FC3-AE99-D62B59EE456C}"/>
              </a:ext>
            </a:extLst>
          </p:cNvPr>
          <p:cNvGrpSpPr/>
          <p:nvPr userDrawn="1"/>
        </p:nvGrpSpPr>
        <p:grpSpPr>
          <a:xfrm>
            <a:off x="7948911" y="859030"/>
            <a:ext cx="743772" cy="1298894"/>
            <a:chOff x="7723680" y="1702457"/>
            <a:chExt cx="991695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56552741-A8A8-4BF7-B912-97B89002BA96}"/>
                </a:ext>
              </a:extLst>
            </p:cNvPr>
            <p:cNvSpPr txBox="1"/>
            <p:nvPr/>
          </p:nvSpPr>
          <p:spPr>
            <a:xfrm>
              <a:off x="8076312" y="1704686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D8CE0F0E-16FA-425F-8AAC-DDBCCE6C4C66}"/>
                </a:ext>
              </a:extLst>
            </p:cNvPr>
            <p:cNvSpPr txBox="1"/>
            <p:nvPr/>
          </p:nvSpPr>
          <p:spPr>
            <a:xfrm>
              <a:off x="8076312" y="2080146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AECB6892-5B2F-4DFF-BA7D-07C07725135D}"/>
                </a:ext>
              </a:extLst>
            </p:cNvPr>
            <p:cNvSpPr txBox="1"/>
            <p:nvPr/>
          </p:nvSpPr>
          <p:spPr>
            <a:xfrm>
              <a:off x="8076312" y="2455605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AD5C63B-DAFE-4562-AB35-5186801B8496}"/>
                </a:ext>
              </a:extLst>
            </p:cNvPr>
            <p:cNvSpPr txBox="1"/>
            <p:nvPr/>
          </p:nvSpPr>
          <p:spPr>
            <a:xfrm>
              <a:off x="8076312" y="2831064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C3F82ACD-00BF-4E4A-9E26-79AB681085F3}"/>
                </a:ext>
              </a:extLst>
            </p:cNvPr>
            <p:cNvSpPr txBox="1"/>
            <p:nvPr/>
          </p:nvSpPr>
          <p:spPr>
            <a:xfrm>
              <a:off x="8076312" y="3206525"/>
              <a:ext cx="639063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F6DD600-7C57-4FEF-82FE-48E17D21A23C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6CC47C0C-7E78-422A-B0EE-E205036D23B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972554E0-274E-471E-91F7-96672A2B319B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ED83C69B-D124-4B76-B205-9B452A137019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F13FDA5-1C5B-4B7C-88DE-4F9CC3AB6A1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3733C045-122D-4738-8F27-E97D4185D49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D4DF2D1D-75C2-44B8-8797-F2D481A5C1A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1404E75-6473-4057-8331-C408006EA611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D37C4EE9-ED89-4465-81B9-F250A90744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161F7041-2730-410F-838D-D37A105BACB7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54B2579A-1CC1-414F-867D-DE2351245BB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C8E65D4C-5084-4BD7-9C74-81487DD9F1B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9408193D-E749-46F6-BE74-C4F07D68D7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61A9FB4F-2506-46C1-97DA-5D3A6E5924C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F750B525-BF78-4E1E-99DA-DAD3DF19FE8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67960C94-7501-4EC2-856C-EF630237FC0B}"/>
              </a:ext>
            </a:extLst>
          </p:cNvPr>
          <p:cNvGrpSpPr/>
          <p:nvPr userDrawn="1"/>
        </p:nvGrpSpPr>
        <p:grpSpPr>
          <a:xfrm>
            <a:off x="7968772" y="3282277"/>
            <a:ext cx="723908" cy="1295655"/>
            <a:chOff x="10652400" y="4317695"/>
            <a:chExt cx="965211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DA7AD101-F377-4287-B753-DD078AC35101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5604908C-4478-475B-B5B3-5F9E2BBF9BD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627E0051-4E66-4F07-BEBC-B06844654A4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2C8C3D2-1F11-4BC4-AC7A-A86670C4D45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AE9F5C8B-0788-4EF9-98B5-829D70BDE59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CADE0620-4993-4573-905A-21438B465453}"/>
                </a:ext>
              </a:extLst>
            </p:cNvPr>
            <p:cNvSpPr txBox="1"/>
            <p:nvPr/>
          </p:nvSpPr>
          <p:spPr>
            <a:xfrm>
              <a:off x="10978547" y="4317695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6E4CA336-EC99-4EF3-BA6F-259E51581B9B}"/>
                </a:ext>
              </a:extLst>
            </p:cNvPr>
            <p:cNvSpPr txBox="1"/>
            <p:nvPr/>
          </p:nvSpPr>
          <p:spPr>
            <a:xfrm>
              <a:off x="10978545" y="4697192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7386BE9-AC5D-40BF-9235-193AC25109A1}"/>
                </a:ext>
              </a:extLst>
            </p:cNvPr>
            <p:cNvSpPr txBox="1"/>
            <p:nvPr/>
          </p:nvSpPr>
          <p:spPr>
            <a:xfrm>
              <a:off x="10978545" y="5076691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8C8520E-8E58-4864-AC2A-5463639ADF8D}"/>
                </a:ext>
              </a:extLst>
            </p:cNvPr>
            <p:cNvSpPr txBox="1"/>
            <p:nvPr/>
          </p:nvSpPr>
          <p:spPr>
            <a:xfrm>
              <a:off x="10978545" y="5448111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DB82F69F-641C-465A-A6B5-4B23F018399E}"/>
                </a:ext>
              </a:extLst>
            </p:cNvPr>
            <p:cNvSpPr txBox="1"/>
            <p:nvPr/>
          </p:nvSpPr>
          <p:spPr>
            <a:xfrm>
              <a:off x="10978545" y="5819533"/>
              <a:ext cx="639064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100"/>
                <a:t>Leyenda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08FD40E-23C6-479E-BEA3-5B70679DDB5F}"/>
              </a:ext>
            </a:extLst>
          </p:cNvPr>
          <p:cNvGrpSpPr/>
          <p:nvPr userDrawn="1"/>
        </p:nvGrpSpPr>
        <p:grpSpPr>
          <a:xfrm>
            <a:off x="883056" y="4967447"/>
            <a:ext cx="3350439" cy="0"/>
            <a:chOff x="1506828" y="6575576"/>
            <a:chExt cx="4467252" cy="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4E73EA1-2CF2-4B13-9877-2A70FF3B02FE}"/>
                </a:ext>
              </a:extLst>
            </p:cNvPr>
            <p:cNvCxnSpPr/>
            <p:nvPr userDrawn="1"/>
          </p:nvCxnSpPr>
          <p:spPr>
            <a:xfrm>
              <a:off x="1506828" y="6575576"/>
              <a:ext cx="1495452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0E65C154-200C-4C3C-BF89-FD82EFF2B66A}"/>
                </a:ext>
              </a:extLst>
            </p:cNvPr>
            <p:cNvCxnSpPr/>
            <p:nvPr userDrawn="1"/>
          </p:nvCxnSpPr>
          <p:spPr>
            <a:xfrm>
              <a:off x="2985108" y="6575576"/>
              <a:ext cx="1495452" cy="0"/>
            </a:xfrm>
            <a:prstGeom prst="line">
              <a:avLst/>
            </a:prstGeom>
            <a:ln w="6350" cap="flat">
              <a:solidFill>
                <a:schemeClr val="accent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D14279CE-C387-437A-A50F-BB3614F5111B}"/>
                </a:ext>
              </a:extLst>
            </p:cNvPr>
            <p:cNvCxnSpPr/>
            <p:nvPr userDrawn="1"/>
          </p:nvCxnSpPr>
          <p:spPr>
            <a:xfrm>
              <a:off x="4478628" y="6575576"/>
              <a:ext cx="1495452" cy="0"/>
            </a:xfrm>
            <a:prstGeom prst="line">
              <a:avLst/>
            </a:prstGeom>
            <a:ln w="6350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9" name="Picture 148">
            <a:extLst>
              <a:ext uri="{FF2B5EF4-FFF2-40B4-BE49-F238E27FC236}">
                <a16:creationId xmlns:a16="http://schemas.microsoft.com/office/drawing/2014/main" id="{E483174F-BE25-4599-8B92-A844416A19EB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>
            <a:extLst>
              <a:ext uri="{BEBA8EAE-BF5A-486C-A8C5-ECC9F3942E4B}">
                <a14:imgProps xmlns:a14="http://schemas.microsoft.com/office/drawing/2010/main">
                  <a14:imgLayer r:embed="rId4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9" y="4846792"/>
            <a:ext cx="402182" cy="24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3794" r:id="rId3"/>
    <p:sldLayoutId id="2147484242" r:id="rId4"/>
    <p:sldLayoutId id="2147484424" r:id="rId5"/>
    <p:sldLayoutId id="2147483807" r:id="rId6"/>
    <p:sldLayoutId id="2147483800" r:id="rId7"/>
    <p:sldLayoutId id="2147484425" r:id="rId8"/>
    <p:sldLayoutId id="2147483804" r:id="rId9"/>
    <p:sldLayoutId id="2147483860" r:id="rId10"/>
    <p:sldLayoutId id="2147483856" r:id="rId11"/>
    <p:sldLayoutId id="2147483805" r:id="rId12"/>
    <p:sldLayoutId id="2147483806" r:id="rId13"/>
    <p:sldLayoutId id="2147483882" r:id="rId14"/>
    <p:sldLayoutId id="2147483879" r:id="rId15"/>
    <p:sldLayoutId id="2147483706" r:id="rId16"/>
    <p:sldLayoutId id="2147484244" r:id="rId17"/>
    <p:sldLayoutId id="2147483718" r:id="rId18"/>
    <p:sldLayoutId id="2147484223" r:id="rId19"/>
    <p:sldLayoutId id="2147484426" r:id="rId20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s-E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1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1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85993" indent="-161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74990" indent="-161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 userDrawn="1">
          <p15:clr>
            <a:srgbClr val="5ACBF0"/>
          </p15:clr>
        </p15:guide>
        <p15:guide id="3" orient="horz" pos="2947" userDrawn="1">
          <p15:clr>
            <a:srgbClr val="5ACBF0"/>
          </p15:clr>
        </p15:guide>
        <p15:guide id="4" orient="horz" pos="806" userDrawn="1">
          <p15:clr>
            <a:srgbClr val="F26B43"/>
          </p15:clr>
        </p15:guide>
        <p15:guide id="5" pos="5497" userDrawn="1">
          <p15:clr>
            <a:srgbClr val="F26B43"/>
          </p15:clr>
        </p15:guide>
        <p15:guide id="6" pos="259" userDrawn="1">
          <p15:clr>
            <a:srgbClr val="F26B43"/>
          </p15:clr>
        </p15:guide>
        <p15:guide id="8" orient="horz" pos="304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7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slideLayout" Target="../slideLayouts/slideLayout16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254165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592" imgH="591" progId="TCLayout.ActiveDocument.1">
                  <p:embed/>
                </p:oleObj>
              </mc:Choice>
              <mc:Fallback>
                <p:oleObj name="Diapositiva de think-cell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spcBef>
                <a:spcPts val="225"/>
              </a:spcBef>
              <a:spcAft>
                <a:spcPts val="225"/>
              </a:spcAft>
            </a:pPr>
            <a:endParaRPr lang="es-CL" sz="3300" b="1">
              <a:solidFill>
                <a:srgbClr val="0098AA"/>
              </a:solidFill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C362A9E2-540B-4ECF-B6C5-C1DF3156462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1622" y="4473182"/>
            <a:ext cx="4992504" cy="1384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Font typeface="Segoe UI" panose="020B0502040204020203" pitchFamily="34" charset="0"/>
              <a:buChar char="​"/>
              <a:defRPr lang="es-ES" sz="11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71450" indent="-16199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32185" indent="-16199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5993" indent="-16199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4990" indent="-16199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14388" indent="-1285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14388" indent="-1285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14388" indent="-1285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14388" indent="-1285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CL" sz="900" dirty="0">
                <a:cs typeface="Arial"/>
              </a:rPr>
              <a:t>ENERO 2023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44B4F61D-2A3E-494F-96A3-1A6AF2B837A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12478" y="2688540"/>
            <a:ext cx="4553222" cy="12926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33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800" dirty="0"/>
              <a:t>ANÁLISIS SÓLIDOS MALLAS VS TRATAMIENTO</a:t>
            </a:r>
            <a:endParaRPr lang="es-CL" sz="2400" dirty="0"/>
          </a:p>
        </p:txBody>
      </p:sp>
      <p:sp>
        <p:nvSpPr>
          <p:cNvPr id="2" name="Subtítulo 1">
            <a:extLst>
              <a:ext uri="{FF2B5EF4-FFF2-40B4-BE49-F238E27FC236}">
                <a16:creationId xmlns:a16="http://schemas.microsoft.com/office/drawing/2014/main" id="{B523367C-0CDA-DC18-C338-57AA2D3650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L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77929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36B6274-5A36-29DE-0A62-6A2B8D116D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445" y="200124"/>
            <a:ext cx="8171050" cy="4847581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C1036096-9D1D-5BEB-B62E-9218E1ED28DB}"/>
              </a:ext>
            </a:extLst>
          </p:cNvPr>
          <p:cNvSpPr txBox="1"/>
          <p:nvPr/>
        </p:nvSpPr>
        <p:spPr>
          <a:xfrm>
            <a:off x="1284513" y="3783874"/>
            <a:ext cx="653143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Disminución leve, no atribuible a malla </a:t>
            </a:r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26B873C6-967C-7073-F6C7-865447C9F2E4}"/>
              </a:ext>
            </a:extLst>
          </p:cNvPr>
          <p:cNvCxnSpPr>
            <a:cxnSpLocks/>
          </p:cNvCxnSpPr>
          <p:nvPr/>
        </p:nvCxnSpPr>
        <p:spPr>
          <a:xfrm flipH="1" flipV="1">
            <a:off x="1476103" y="3156857"/>
            <a:ext cx="134981" cy="57041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FF3D3801-3B5A-0F7A-AA3C-8AF50E524497}"/>
              </a:ext>
            </a:extLst>
          </p:cNvPr>
          <p:cNvCxnSpPr>
            <a:cxnSpLocks/>
          </p:cNvCxnSpPr>
          <p:nvPr/>
        </p:nvCxnSpPr>
        <p:spPr>
          <a:xfrm flipH="1">
            <a:off x="1476103" y="3971109"/>
            <a:ext cx="134981" cy="21336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BDC85DE-5EA1-5212-6E44-11074459B6D1}"/>
              </a:ext>
            </a:extLst>
          </p:cNvPr>
          <p:cNvSpPr txBox="1"/>
          <p:nvPr/>
        </p:nvSpPr>
        <p:spPr>
          <a:xfrm>
            <a:off x="5299164" y="3827417"/>
            <a:ext cx="940527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Disminución leve, posiblemente por malla alta</a:t>
            </a:r>
          </a:p>
        </p:txBody>
      </p: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C360B0BA-BEB9-01C3-A78F-FA9AC33B7CD7}"/>
              </a:ext>
            </a:extLst>
          </p:cNvPr>
          <p:cNvCxnSpPr>
            <a:cxnSpLocks/>
          </p:cNvCxnSpPr>
          <p:nvPr/>
        </p:nvCxnSpPr>
        <p:spPr>
          <a:xfrm flipH="1" flipV="1">
            <a:off x="5231673" y="2960913"/>
            <a:ext cx="246018" cy="82296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de flecha 18">
            <a:extLst>
              <a:ext uri="{FF2B5EF4-FFF2-40B4-BE49-F238E27FC236}">
                <a16:creationId xmlns:a16="http://schemas.microsoft.com/office/drawing/2014/main" id="{436FF843-C3FC-347E-E28E-ADBAE13FC50A}"/>
              </a:ext>
            </a:extLst>
          </p:cNvPr>
          <p:cNvCxnSpPr>
            <a:cxnSpLocks/>
          </p:cNvCxnSpPr>
          <p:nvPr/>
        </p:nvCxnSpPr>
        <p:spPr>
          <a:xfrm flipH="1">
            <a:off x="5231673" y="4014652"/>
            <a:ext cx="246018" cy="27649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429EAD4-9162-1CE1-CA06-A1664C29AC9B}"/>
              </a:ext>
            </a:extLst>
          </p:cNvPr>
          <p:cNvSpPr txBox="1"/>
          <p:nvPr/>
        </p:nvSpPr>
        <p:spPr>
          <a:xfrm>
            <a:off x="6932022" y="3063239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n las condiciones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6023B6AA-1744-BCB6-375B-5670D856FA98}"/>
              </a:ext>
            </a:extLst>
          </p:cNvPr>
          <p:cNvSpPr txBox="1"/>
          <p:nvPr/>
        </p:nvSpPr>
        <p:spPr>
          <a:xfrm>
            <a:off x="6932022" y="3997234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n las condiciones</a:t>
            </a:r>
          </a:p>
        </p:txBody>
      </p:sp>
    </p:spTree>
    <p:extLst>
      <p:ext uri="{BB962C8B-B14F-4D97-AF65-F5344CB8AC3E}">
        <p14:creationId xmlns:p14="http://schemas.microsoft.com/office/powerpoint/2010/main" val="1932800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815D721-BC6A-2E31-4126-62A0BA675F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938" y="398289"/>
            <a:ext cx="7528560" cy="446641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3E6C8F7-62E8-C2DF-A338-1E0866352A28}"/>
              </a:ext>
            </a:extLst>
          </p:cNvPr>
          <p:cNvSpPr txBox="1"/>
          <p:nvPr/>
        </p:nvSpPr>
        <p:spPr>
          <a:xfrm>
            <a:off x="5333998" y="3735977"/>
            <a:ext cx="940527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Disminución, posiblemente por malla alta</a:t>
            </a: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3873A94E-FAD3-B7FA-11E8-F86156BE1361}"/>
              </a:ext>
            </a:extLst>
          </p:cNvPr>
          <p:cNvCxnSpPr>
            <a:cxnSpLocks/>
          </p:cNvCxnSpPr>
          <p:nvPr/>
        </p:nvCxnSpPr>
        <p:spPr>
          <a:xfrm flipH="1" flipV="1">
            <a:off x="5399314" y="3100251"/>
            <a:ext cx="156754" cy="635726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F8A33614-F940-D035-288B-7CF31927C010}"/>
              </a:ext>
            </a:extLst>
          </p:cNvPr>
          <p:cNvCxnSpPr>
            <a:cxnSpLocks/>
          </p:cNvCxnSpPr>
          <p:nvPr/>
        </p:nvCxnSpPr>
        <p:spPr>
          <a:xfrm flipH="1">
            <a:off x="5399314" y="3923212"/>
            <a:ext cx="156754" cy="330925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5F45FB3-0156-D5B5-7225-5D8B2C1BE489}"/>
              </a:ext>
            </a:extLst>
          </p:cNvPr>
          <p:cNvSpPr txBox="1"/>
          <p:nvPr/>
        </p:nvSpPr>
        <p:spPr>
          <a:xfrm>
            <a:off x="3474721" y="3100251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n las condicione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478F6E2-1368-91D5-D0E2-A0EE71BF3D6C}"/>
              </a:ext>
            </a:extLst>
          </p:cNvPr>
          <p:cNvSpPr txBox="1"/>
          <p:nvPr/>
        </p:nvSpPr>
        <p:spPr>
          <a:xfrm>
            <a:off x="3474721" y="3923212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n las condiciones</a:t>
            </a:r>
          </a:p>
        </p:txBody>
      </p:sp>
    </p:spTree>
    <p:extLst>
      <p:ext uri="{BB962C8B-B14F-4D97-AF65-F5344CB8AC3E}">
        <p14:creationId xmlns:p14="http://schemas.microsoft.com/office/powerpoint/2010/main" val="15873701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CD138D-6C71-E508-6F95-0D4131257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39DB09D-EBC7-E6DA-AA22-CC5B62C59F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D2F5E-85CF-7758-3D18-0379E76A32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F6128D8-FED3-88EA-B4CD-B015D8062E7A}"/>
              </a:ext>
            </a:extLst>
          </p:cNvPr>
          <p:cNvSpPr txBox="1"/>
          <p:nvPr/>
        </p:nvSpPr>
        <p:spPr>
          <a:xfrm>
            <a:off x="630865" y="1332614"/>
            <a:ext cx="7038754" cy="33627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A2-A1-A0  40 /30 solidos malla (sobre 75%RT) , mas flexible con minerales de la subte (42/32 A2)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Malla 30 Verde 31-33 Amarillo / sobre 33/ Rojo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r>
              <a:rPr lang="es-CL" sz="1100" b="1" dirty="0">
                <a:ea typeface="+mn-lt"/>
                <a:cs typeface="+mn-lt"/>
              </a:rPr>
              <a:t>A2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Solido/Malla VERDE : Hasta </a:t>
            </a:r>
            <a:r>
              <a:rPr lang="es-CL" sz="1100" b="1" dirty="0">
                <a:ea typeface="+mn-lt"/>
                <a:cs typeface="+mn-lt"/>
              </a:rPr>
              <a:t>42/32</a:t>
            </a:r>
            <a:r>
              <a:rPr lang="es-CL" sz="1100" dirty="0">
                <a:ea typeface="+mn-lt"/>
                <a:cs typeface="+mn-lt"/>
              </a:rPr>
              <a:t> (Con RT bajo 50%)  , (RT sobre 50%) 40/30</a:t>
            </a:r>
          </a:p>
          <a:p>
            <a:r>
              <a:rPr lang="es-CL" sz="1100" dirty="0">
                <a:ea typeface="+mn-lt"/>
                <a:cs typeface="+mn-lt"/>
              </a:rPr>
              <a:t>Solido/Malla Amarillo: Hasta 43/33 (Con RT bajo 50%) , (Con RT sobre 50%) 42/32</a:t>
            </a:r>
          </a:p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Solido/Malla ROJO: Hasta 43/33 (Con RT bajo 50%)  40/30, 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r>
              <a:rPr lang="es-CL" sz="1100" b="1" dirty="0">
                <a:ea typeface="+mn-lt"/>
                <a:cs typeface="+mn-lt"/>
              </a:rPr>
              <a:t>CONVENCIONAL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Solido/Malla VERDE : Hasta 40/30</a:t>
            </a:r>
          </a:p>
          <a:p>
            <a:r>
              <a:rPr lang="es-CL" sz="1100" dirty="0">
                <a:ea typeface="+mn-lt"/>
                <a:cs typeface="+mn-lt"/>
              </a:rPr>
              <a:t>Solido/Malla Amarillo: Hasta 42/32</a:t>
            </a:r>
          </a:p>
          <a:p>
            <a:r>
              <a:rPr lang="es-CL" sz="1100" dirty="0">
                <a:ea typeface="+mn-lt"/>
                <a:cs typeface="+mn-lt"/>
              </a:rPr>
              <a:t>ROJO sobre 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Amoli017@contratistas.Codelco.cl</a:t>
            </a:r>
          </a:p>
          <a:p>
            <a:pPr>
              <a:buNone/>
            </a:pPr>
            <a:r>
              <a:rPr lang="es-CL" sz="1100" dirty="0">
                <a:ea typeface="+mn-lt"/>
                <a:cs typeface="+mn-lt"/>
              </a:rPr>
              <a:t>rtell007@codelco.cl</a:t>
            </a:r>
          </a:p>
          <a:p>
            <a:pPr>
              <a:buNone/>
            </a:pPr>
            <a:endParaRPr lang="es-CL" sz="11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82930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4048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>
            <a:extLst>
              <a:ext uri="{FF2B5EF4-FFF2-40B4-BE49-F238E27FC236}">
                <a16:creationId xmlns:a16="http://schemas.microsoft.com/office/drawing/2014/main" id="{AA1C905A-8E67-F7A9-66BF-1BE6BB3023EC}"/>
              </a:ext>
            </a:extLst>
          </p:cNvPr>
          <p:cNvGrpSpPr/>
          <p:nvPr/>
        </p:nvGrpSpPr>
        <p:grpSpPr>
          <a:xfrm>
            <a:off x="669394" y="1312817"/>
            <a:ext cx="1763765" cy="2517866"/>
            <a:chOff x="1973654" y="1184365"/>
            <a:chExt cx="1763765" cy="2517866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40194688-AB69-CCF2-CD60-0A230336D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73656" y="1184365"/>
              <a:ext cx="1763763" cy="2517866"/>
            </a:xfrm>
            <a:prstGeom prst="rect">
              <a:avLst/>
            </a:prstGeom>
          </p:spPr>
        </p:pic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4D066738-E3C7-6F39-5929-4E31662CF850}"/>
                </a:ext>
              </a:extLst>
            </p:cNvPr>
            <p:cNvSpPr/>
            <p:nvPr/>
          </p:nvSpPr>
          <p:spPr>
            <a:xfrm>
              <a:off x="1973654" y="1545771"/>
              <a:ext cx="1763761" cy="452845"/>
            </a:xfrm>
            <a:prstGeom prst="rect">
              <a:avLst/>
            </a:prstGeom>
            <a:noFill/>
            <a:ln w="190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CL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CFF86584-5936-31D9-6B4B-5C046F63003B}"/>
                </a:ext>
              </a:extLst>
            </p:cNvPr>
            <p:cNvSpPr/>
            <p:nvPr/>
          </p:nvSpPr>
          <p:spPr>
            <a:xfrm>
              <a:off x="1973655" y="2216875"/>
              <a:ext cx="1763764" cy="591638"/>
            </a:xfrm>
            <a:prstGeom prst="rect">
              <a:avLst/>
            </a:prstGeom>
            <a:noFill/>
            <a:ln w="190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CL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063687F4-3BE6-BB9E-EBB0-B2D104B0FAD2}"/>
                </a:ext>
              </a:extLst>
            </p:cNvPr>
            <p:cNvSpPr/>
            <p:nvPr/>
          </p:nvSpPr>
          <p:spPr>
            <a:xfrm>
              <a:off x="1973657" y="3487782"/>
              <a:ext cx="1763762" cy="214449"/>
            </a:xfrm>
            <a:prstGeom prst="rect">
              <a:avLst/>
            </a:prstGeom>
            <a:noFill/>
            <a:ln w="19050" cap="sq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CL" sz="1600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4688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078255-44C4-BFE8-2CCF-0A6A42FB9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FRECUENCIA SÓLIDOS/MALLAS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D129AE1-794F-A312-B9DC-878214510B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5FDC6CE-FC34-C7C7-EED3-2AF6008A1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29" y="2056014"/>
            <a:ext cx="7149736" cy="2119771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6DB19369-E7FA-FE15-3676-BF719CE154D0}"/>
              </a:ext>
            </a:extLst>
          </p:cNvPr>
          <p:cNvSpPr txBox="1"/>
          <p:nvPr/>
        </p:nvSpPr>
        <p:spPr>
          <a:xfrm>
            <a:off x="416051" y="1028283"/>
            <a:ext cx="7993893" cy="7851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buNone/>
            </a:pPr>
            <a:r>
              <a:rPr lang="es-CL" sz="1050" dirty="0">
                <a:ea typeface="+mn-lt"/>
                <a:cs typeface="+mn-lt"/>
              </a:rPr>
              <a:t>En la Figura 1 , se muestra la frecuencia de registro de datos para sólidos y mallas , para las secciones A2, A1 y A0.</a:t>
            </a:r>
          </a:p>
          <a:p>
            <a:pPr algn="just">
              <a:buNone/>
            </a:pPr>
            <a:r>
              <a:rPr lang="es-CL" sz="1050" dirty="0">
                <a:ea typeface="+mn-lt"/>
                <a:cs typeface="+mn-lt"/>
              </a:rPr>
              <a:t>El valor central para las 3 plantas se encuentra en torno a las 2 horas, sin embargo, para la secciones A0 existe un rango mas amplio entre frecuencia mínima y máxima, entre 20 min y 4.5 hora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3C04EE7-E920-0530-F329-090DB88EDFC8}"/>
              </a:ext>
            </a:extLst>
          </p:cNvPr>
          <p:cNvSpPr txBox="1"/>
          <p:nvPr/>
        </p:nvSpPr>
        <p:spPr>
          <a:xfrm>
            <a:off x="2827310" y="4329468"/>
            <a:ext cx="3664858" cy="11893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buNone/>
            </a:pPr>
            <a:r>
              <a:rPr lang="es-CL" sz="700" b="1" dirty="0">
                <a:ea typeface="+mn-lt"/>
                <a:cs typeface="+mn-lt"/>
              </a:rPr>
              <a:t>Figura 1 </a:t>
            </a:r>
            <a:r>
              <a:rPr lang="es-CL" sz="700" dirty="0">
                <a:ea typeface="+mn-lt"/>
                <a:cs typeface="+mn-lt"/>
              </a:rPr>
              <a:t>– </a:t>
            </a:r>
            <a:r>
              <a:rPr lang="es-CL" sz="700" dirty="0" err="1">
                <a:ea typeface="+mn-lt"/>
                <a:cs typeface="+mn-lt"/>
              </a:rPr>
              <a:t>Boxplot</a:t>
            </a:r>
            <a:r>
              <a:rPr lang="es-CL" sz="700" dirty="0">
                <a:ea typeface="+mn-lt"/>
                <a:cs typeface="+mn-lt"/>
              </a:rPr>
              <a:t> – Frecuencia datos Sólidos y Malla - Julio a Octubre 2023</a:t>
            </a:r>
          </a:p>
        </p:txBody>
      </p:sp>
    </p:spTree>
    <p:extLst>
      <p:ext uri="{BB962C8B-B14F-4D97-AF65-F5344CB8AC3E}">
        <p14:creationId xmlns:p14="http://schemas.microsoft.com/office/powerpoint/2010/main" val="855552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4FB1795A-703D-BA3F-4283-D27178F4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sz="3600" dirty="0"/>
              <a:t>SEPTIEMBRE 2023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EF8F3C54-B988-FCFA-2E27-2A68419642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28073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2834DDEE-FD92-E533-60EC-6ED1DA8D27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17" y="238268"/>
            <a:ext cx="7661149" cy="454664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F16FFFB-2291-9D4D-3AF6-89BFE7B3FE6E}"/>
              </a:ext>
            </a:extLst>
          </p:cNvPr>
          <p:cNvSpPr txBox="1"/>
          <p:nvPr/>
        </p:nvSpPr>
        <p:spPr>
          <a:xfrm>
            <a:off x="7863840" y="365761"/>
            <a:ext cx="1203743" cy="10101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ES" sz="800" b="0" i="0" dirty="0">
                <a:effectLst/>
                <a:latin typeface="+mj-lt"/>
              </a:rPr>
              <a:t>En Septiembre, la malla en la sección A2 estuvo 8 veces sobre 35%, mientras que los sólidos estuvieron 46 veces sobre 45%.</a:t>
            </a:r>
            <a:endParaRPr lang="es-CL" sz="700" dirty="0">
              <a:latin typeface="+mj-lt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885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60C18B48-815E-2C26-F7F7-2B2802873C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920" y="239487"/>
            <a:ext cx="7607470" cy="4513230"/>
          </a:xfrm>
          <a:prstGeom prst="rect">
            <a:avLst/>
          </a:prstGeom>
        </p:spPr>
      </p:pic>
      <p:cxnSp>
        <p:nvCxnSpPr>
          <p:cNvPr id="10" name="Conector recto de flecha 9">
            <a:extLst>
              <a:ext uri="{FF2B5EF4-FFF2-40B4-BE49-F238E27FC236}">
                <a16:creationId xmlns:a16="http://schemas.microsoft.com/office/drawing/2014/main" id="{9F83858E-B25B-21A1-D8EC-6E6AFFDDBC4F}"/>
              </a:ext>
            </a:extLst>
          </p:cNvPr>
          <p:cNvCxnSpPr>
            <a:cxnSpLocks/>
          </p:cNvCxnSpPr>
          <p:nvPr/>
        </p:nvCxnSpPr>
        <p:spPr>
          <a:xfrm flipH="1" flipV="1">
            <a:off x="3252651" y="2690949"/>
            <a:ext cx="165463" cy="89262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de flecha 12">
            <a:extLst>
              <a:ext uri="{FF2B5EF4-FFF2-40B4-BE49-F238E27FC236}">
                <a16:creationId xmlns:a16="http://schemas.microsoft.com/office/drawing/2014/main" id="{29159166-55B9-C752-DB61-BAE501EE2D6D}"/>
              </a:ext>
            </a:extLst>
          </p:cNvPr>
          <p:cNvCxnSpPr>
            <a:cxnSpLocks/>
          </p:cNvCxnSpPr>
          <p:nvPr/>
        </p:nvCxnSpPr>
        <p:spPr>
          <a:xfrm flipH="1">
            <a:off x="3200400" y="3770811"/>
            <a:ext cx="174171" cy="32221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>
            <a:extLst>
              <a:ext uri="{FF2B5EF4-FFF2-40B4-BE49-F238E27FC236}">
                <a16:creationId xmlns:a16="http://schemas.microsoft.com/office/drawing/2014/main" id="{6FFD8BC7-0019-1267-5F5E-4CA809589A6E}"/>
              </a:ext>
            </a:extLst>
          </p:cNvPr>
          <p:cNvSpPr txBox="1"/>
          <p:nvPr/>
        </p:nvSpPr>
        <p:spPr>
          <a:xfrm>
            <a:off x="3287485" y="3592285"/>
            <a:ext cx="657498" cy="32221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No hay indicio de baja de tratamiento producto de malla alta.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ED2042A-BBA5-9EA4-6459-014BD0FF6FF7}"/>
              </a:ext>
            </a:extLst>
          </p:cNvPr>
          <p:cNvSpPr txBox="1"/>
          <p:nvPr/>
        </p:nvSpPr>
        <p:spPr>
          <a:xfrm>
            <a:off x="4974773" y="2749732"/>
            <a:ext cx="657498" cy="9361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Detención SAG 16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E3922EE-562F-95E8-004D-FBA871F62918}"/>
              </a:ext>
            </a:extLst>
          </p:cNvPr>
          <p:cNvSpPr txBox="1"/>
          <p:nvPr/>
        </p:nvSpPr>
        <p:spPr>
          <a:xfrm>
            <a:off x="5418910" y="3779520"/>
            <a:ext cx="799010" cy="17199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 el aumento de tratamiento </a:t>
            </a:r>
          </a:p>
        </p:txBody>
      </p:sp>
    </p:spTree>
    <p:extLst>
      <p:ext uri="{BB962C8B-B14F-4D97-AF65-F5344CB8AC3E}">
        <p14:creationId xmlns:p14="http://schemas.microsoft.com/office/powerpoint/2010/main" val="1380766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A220EC07-9487-5986-DC7E-2CF71EB9A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162" y="187571"/>
            <a:ext cx="7711675" cy="457275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8E6F6CF3-E098-FFED-0B52-4577376E25A1}"/>
              </a:ext>
            </a:extLst>
          </p:cNvPr>
          <p:cNvSpPr txBox="1"/>
          <p:nvPr/>
        </p:nvSpPr>
        <p:spPr>
          <a:xfrm>
            <a:off x="3661954" y="3653245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Disminución de tratamiento</a:t>
            </a:r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159AB281-0C5B-0C6D-43AF-F8094CB7B30E}"/>
              </a:ext>
            </a:extLst>
          </p:cNvPr>
          <p:cNvCxnSpPr/>
          <p:nvPr/>
        </p:nvCxnSpPr>
        <p:spPr>
          <a:xfrm flipH="1" flipV="1">
            <a:off x="3548743" y="2939143"/>
            <a:ext cx="278674" cy="71410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de flecha 9">
            <a:extLst>
              <a:ext uri="{FF2B5EF4-FFF2-40B4-BE49-F238E27FC236}">
                <a16:creationId xmlns:a16="http://schemas.microsoft.com/office/drawing/2014/main" id="{18108874-C1B5-3321-6E25-72BC7DF0EC3B}"/>
              </a:ext>
            </a:extLst>
          </p:cNvPr>
          <p:cNvCxnSpPr>
            <a:cxnSpLocks/>
          </p:cNvCxnSpPr>
          <p:nvPr/>
        </p:nvCxnSpPr>
        <p:spPr>
          <a:xfrm flipH="1">
            <a:off x="3548743" y="3840480"/>
            <a:ext cx="278674" cy="291737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DB9E10BE-4265-58D0-9FAC-0C2F5F5A6B0E}"/>
              </a:ext>
            </a:extLst>
          </p:cNvPr>
          <p:cNvSpPr txBox="1"/>
          <p:nvPr/>
        </p:nvSpPr>
        <p:spPr>
          <a:xfrm>
            <a:off x="6535782" y="3799113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n las condiciones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4FDADE8-F70B-11C6-1B1D-84A021D0AE26}"/>
              </a:ext>
            </a:extLst>
          </p:cNvPr>
          <p:cNvSpPr txBox="1"/>
          <p:nvPr/>
        </p:nvSpPr>
        <p:spPr>
          <a:xfrm>
            <a:off x="6535782" y="2478132"/>
            <a:ext cx="539932" cy="1872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CL" sz="500" b="1" dirty="0">
                <a:ea typeface="+mn-lt"/>
                <a:cs typeface="+mn-lt"/>
              </a:rPr>
              <a:t>Se mantienen las condiciones</a:t>
            </a:r>
          </a:p>
        </p:txBody>
      </p:sp>
    </p:spTree>
    <p:extLst>
      <p:ext uri="{BB962C8B-B14F-4D97-AF65-F5344CB8AC3E}">
        <p14:creationId xmlns:p14="http://schemas.microsoft.com/office/powerpoint/2010/main" val="1327174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4FB1795A-703D-BA3F-4283-D27178F4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sz="3600" dirty="0"/>
              <a:t>OCTUBRE</a:t>
            </a:r>
            <a:br>
              <a:rPr lang="es-CL" sz="3600" dirty="0"/>
            </a:br>
            <a:r>
              <a:rPr lang="es-CL" sz="3600" dirty="0"/>
              <a:t> 2023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EF8F3C54-B988-FCFA-2E27-2A68419642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890397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DFC018B-3B66-29AB-CD50-563ADC5ED1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05" y="302921"/>
            <a:ext cx="7646009" cy="453765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AAD09FF0-DD08-507E-3204-2F57D5113E7D}"/>
              </a:ext>
            </a:extLst>
          </p:cNvPr>
          <p:cNvSpPr txBox="1"/>
          <p:nvPr/>
        </p:nvSpPr>
        <p:spPr>
          <a:xfrm>
            <a:off x="7702614" y="413658"/>
            <a:ext cx="1384781" cy="9274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None/>
            </a:pPr>
            <a:r>
              <a:rPr lang="es-ES" sz="800" b="0" i="0" dirty="0">
                <a:effectLst/>
                <a:latin typeface="+mj-lt"/>
              </a:rPr>
              <a:t>En Octubre, la malla en la sección A2 estuvo 3 veces sobre 35%, </a:t>
            </a:r>
            <a:r>
              <a:rPr lang="es-ES" sz="800" dirty="0">
                <a:latin typeface="+mj-lt"/>
              </a:rPr>
              <a:t>mientras que los sólidos estuvieron 38 veces sobre 45%.</a:t>
            </a:r>
            <a:endParaRPr lang="es-CL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47305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Accen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NAME" val="Chevr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NAME" val="Chevr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IEx1uIMJqXPwHT7og11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NAME" val="Chevr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098AA"/>
      </a:lt1>
      <a:dk2>
        <a:srgbClr val="000000"/>
      </a:dk2>
      <a:lt2>
        <a:srgbClr val="000000"/>
      </a:lt2>
      <a:accent1>
        <a:srgbClr val="FAFAFA"/>
      </a:accent1>
      <a:accent2>
        <a:srgbClr val="E75300"/>
      </a:accent2>
      <a:accent3>
        <a:srgbClr val="F7A800"/>
      </a:accent3>
      <a:accent4>
        <a:srgbClr val="C33A32"/>
      </a:accent4>
      <a:accent5>
        <a:srgbClr val="787878"/>
      </a:accent5>
      <a:accent6>
        <a:srgbClr val="4D4D4D"/>
      </a:accent6>
      <a:hlink>
        <a:srgbClr val="0000FF"/>
      </a:hlink>
      <a:folHlink>
        <a:srgbClr val="800080"/>
      </a:folHlink>
    </a:clrScheme>
    <a:fontScheme name="CODELCO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98AA"/>
        </a:lt1>
        <a:dk2>
          <a:srgbClr val="000000"/>
        </a:dk2>
        <a:lt2>
          <a:srgbClr val="000000"/>
        </a:lt2>
        <a:accent1>
          <a:srgbClr val="FAFAFA"/>
        </a:accent1>
        <a:accent2>
          <a:srgbClr val="E75300"/>
        </a:accent2>
        <a:accent3>
          <a:srgbClr val="F7A800"/>
        </a:accent3>
        <a:accent4>
          <a:srgbClr val="C33A32"/>
        </a:accent4>
        <a:accent5>
          <a:srgbClr val="787878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A0931-CODELCO-TEMPLATE-18062020-JGA.potx" id="{39A9A61E-FAF0-4170-AAD8-888C951D5DED}" vid="{6A3C5BEB-2036-4DBB-A7D0-6B3DBCD9F141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98AA"/>
      </a:accent1>
      <a:accent2>
        <a:srgbClr val="E75300"/>
      </a:accent2>
      <a:accent3>
        <a:srgbClr val="F7A800"/>
      </a:accent3>
      <a:accent4>
        <a:srgbClr val="C33A32"/>
      </a:accent4>
      <a:accent5>
        <a:srgbClr val="787878"/>
      </a:accent5>
      <a:accent6>
        <a:srgbClr val="4D4D4D"/>
      </a:accent6>
      <a:hlink>
        <a:srgbClr val="0000FF"/>
      </a:hlink>
      <a:folHlink>
        <a:srgbClr val="800080"/>
      </a:folHlink>
    </a:clrScheme>
    <a:fontScheme name="CODELCO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>
            <a:lumMod val="95000"/>
          </a:schemeClr>
        </a:solidFill>
      </a:spPr>
      <a:bodyPr vert="horz" wrap="square" lIns="0" tIns="0" rIns="0" bIns="0" rtlCol="0" anchor="t" anchorCtr="0">
        <a:noAutofit/>
      </a:bodyPr>
      <a:lstStyle>
        <a:defPPr>
          <a:buNone/>
          <a:defRPr sz="700" dirty="0" smtClean="0">
            <a:ea typeface="+mn-lt"/>
            <a:cs typeface="+mn-lt"/>
          </a:defRPr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98AA"/>
        </a:accent1>
        <a:accent2>
          <a:srgbClr val="E75300"/>
        </a:accent2>
        <a:accent3>
          <a:srgbClr val="F7A800"/>
        </a:accent3>
        <a:accent4>
          <a:srgbClr val="C33A32"/>
        </a:accent4>
        <a:accent5>
          <a:srgbClr val="787878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A0931-CODELCO-TEMPLATE-18062020-JGA.potx" id="{39A9A61E-FAF0-4170-AAD8-888C951D5DED}" vid="{CEDFDC5C-6CC1-45C8-BCC7-7EAD3F080DF1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7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73E0CED-5366-475C-AD31-E7C51139C12F}">
  <we:reference id="wa200000113" version="1.0.0.0" store="es-ES" storeType="OMEX"/>
  <we:alternateReferences>
    <we:reference id="WA200000113" version="1.0.0.0" store="WA20000011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E73D09EF2577041802B09BEEA80C862" ma:contentTypeVersion="12" ma:contentTypeDescription="Crear nuevo documento." ma:contentTypeScope="" ma:versionID="279b2719fc4b7da26f5a3f6a83e9f5d5">
  <xsd:schema xmlns:xsd="http://www.w3.org/2001/XMLSchema" xmlns:xs="http://www.w3.org/2001/XMLSchema" xmlns:p="http://schemas.microsoft.com/office/2006/metadata/properties" xmlns:ns2="d09ae9db-a0c4-4530-b590-b487346e26a6" xmlns:ns3="b44b4208-573f-4371-8b2b-0bb215523837" targetNamespace="http://schemas.microsoft.com/office/2006/metadata/properties" ma:root="true" ma:fieldsID="4f257dce6e033fb1577e8844777ea9db" ns2:_="" ns3:_="">
    <xsd:import namespace="d09ae9db-a0c4-4530-b590-b487346e26a6"/>
    <xsd:import namespace="b44b4208-573f-4371-8b2b-0bb2155238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9ae9db-a0c4-4530-b590-b487346e26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4b4208-573f-4371-8b2b-0bb21552383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EB803A-AF90-4AA7-B8B3-94153FE1E3BF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b44b4208-573f-4371-8b2b-0bb215523837"/>
    <ds:schemaRef ds:uri="http://www.w3.org/XML/1998/namespace"/>
    <ds:schemaRef ds:uri="http://schemas.microsoft.com/office/2006/metadata/properties"/>
    <ds:schemaRef ds:uri="http://purl.org/dc/elements/1.1/"/>
    <ds:schemaRef ds:uri="d09ae9db-a0c4-4530-b590-b487346e26a6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B525AD8-3BE7-4FCC-8682-6508E546F7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9ae9db-a0c4-4530-b590-b487346e26a6"/>
    <ds:schemaRef ds:uri="b44b4208-573f-4371-8b2b-0bb2155238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41052A-AAC8-4E59-BD7E-DD5F6AB1897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038</TotalTime>
  <Words>339</Words>
  <Application>Microsoft Office PowerPoint</Application>
  <PresentationFormat>Presentación en pantalla (16:9)</PresentationFormat>
  <Paragraphs>44</Paragraphs>
  <Slides>13</Slides>
  <Notes>1</Notes>
  <HiddenSlides>1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2" baseType="lpstr">
      <vt:lpstr>Arial</vt:lpstr>
      <vt:lpstr>Calibri</vt:lpstr>
      <vt:lpstr>Montserrat</vt:lpstr>
      <vt:lpstr>Montserrat Light</vt:lpstr>
      <vt:lpstr>Segoe UI</vt:lpstr>
      <vt:lpstr>Wingdings</vt:lpstr>
      <vt:lpstr>Contrast</vt:lpstr>
      <vt:lpstr>White</vt:lpstr>
      <vt:lpstr>Diapositiva de think-cell</vt:lpstr>
      <vt:lpstr>Presentación de PowerPoint</vt:lpstr>
      <vt:lpstr>Presentación de PowerPoint</vt:lpstr>
      <vt:lpstr>FRECUENCIA SÓLIDOS/MALLAS</vt:lpstr>
      <vt:lpstr>SEPTIEMBRE 2023</vt:lpstr>
      <vt:lpstr>Presentación de PowerPoint</vt:lpstr>
      <vt:lpstr>Presentación de PowerPoint</vt:lpstr>
      <vt:lpstr>Presentación de PowerPoint</vt:lpstr>
      <vt:lpstr>OCTUBRE  2023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sa_trabajo_DET_20220304</dc:title>
  <dc:creator>Hasche Henriquez Juan (Codelco-Casa Matriz)</dc:creator>
  <cp:lastModifiedBy>Seguel Herrera Jaime (Codelco-Chuquicamata)</cp:lastModifiedBy>
  <cp:revision>476</cp:revision>
  <cp:lastPrinted>2018-01-16T01:03:43Z</cp:lastPrinted>
  <dcterms:created xsi:type="dcterms:W3CDTF">2018-01-12T17:02:57Z</dcterms:created>
  <dcterms:modified xsi:type="dcterms:W3CDTF">2023-11-07T14:5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73D09EF2577041802B09BEEA80C862</vt:lpwstr>
  </property>
  <property fmtid="{D5CDD505-2E9C-101B-9397-08002B2CF9AE}" pid="3" name="Order">
    <vt:r8>373700</vt:r8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xd_Signature">
    <vt:bool>false</vt:bool>
  </property>
  <property fmtid="{D5CDD505-2E9C-101B-9397-08002B2CF9AE}" pid="9" name="SharedWithUsers">
    <vt:lpwstr>27;#Huidobro Matamala Juan (Codelco-Chuquicamata);#13;#Paillacar Oyarzo Paulo Ignacio (Codelco-Casa Matriz);#12;#Allende Bustamante Jose (Codelco-Casa Matriz);#18;#López Peñafiel Cristian (Codelco-Casa Matriz);#36;#Carrillo Rojas Daniela (Codelco-Chuquica</vt:lpwstr>
  </property>
</Properties>
</file>